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265" r:id="rId3"/>
    <p:sldId id="267" r:id="rId4"/>
    <p:sldId id="268" r:id="rId5"/>
  </p:sldIdLst>
  <p:sldSz cx="12190413" cy="6859588"/>
  <p:notesSz cx="6858000" cy="9144000"/>
  <p:custDataLst>
    <p:tags r:id="rId7"/>
  </p:custDataLst>
  <p:defaultTextStyle>
    <a:defPPr>
      <a:defRPr lang="en-US"/>
    </a:defPPr>
    <a:lvl1pPr algn="l" defTabSz="108743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542925" indent="-85725" algn="l" defTabSz="108743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1087438" indent="-173038" algn="l" defTabSz="108743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631950" indent="-260350" algn="l" defTabSz="108743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2176463" indent="-347663" algn="l" defTabSz="108743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7612"/>
    <a:srgbClr val="868686"/>
    <a:srgbClr val="EE8A05"/>
    <a:srgbClr val="EB8B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4141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-1176" y="10"/>
      </p:cViewPr>
      <p:guideLst>
        <p:guide orient="horz" pos="781"/>
        <p:guide orient="horz" pos="3929"/>
        <p:guide pos="392"/>
        <p:guide pos="729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59D2A358-EE95-4167-A0C0-2E7ADE0D0550}" type="datetimeFigureOut">
              <a:rPr lang="en-IN"/>
              <a:pPr>
                <a:defRPr/>
              </a:pPr>
              <a:t>12-11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IN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IN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C08DABC9-D764-4A01-B16C-1083CD6B145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288493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IN" altLang="en-US" smtClean="0"/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874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874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874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874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31B3F55-AE0A-4811-AA2E-75CB936699CC}" type="slidenum">
              <a:rPr lang="en-IN" altLang="en-US" smtClean="0"/>
              <a:pPr eaLnBrk="1" hangingPunct="1">
                <a:spcBef>
                  <a:spcPct val="0"/>
                </a:spcBef>
              </a:pPr>
              <a:t>1</a:t>
            </a:fld>
            <a:endParaRPr lang="en-IN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99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 dirty="0"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026" name="Picture 2" descr="C:\Users\user004\Desktop\Picture1.jpg"/>
          <p:cNvPicPr>
            <a:picLocks noChangeAspect="1" noChangeArrowheads="1"/>
          </p:cNvPicPr>
          <p:nvPr userDrawn="1"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25"/>
                    </a14:imgEffect>
                    <a14:imgEffect>
                      <a14:saturation sat="170000"/>
                    </a14:imgEffect>
                    <a14:imgEffect>
                      <a14:brightnessContrast bright="-1000" contrast="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83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8337919" y="0"/>
            <a:ext cx="3234900" cy="981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88502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6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3738" y="143534"/>
            <a:ext cx="3243262" cy="63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54286" y="1672163"/>
            <a:ext cx="7218533" cy="1501716"/>
          </a:xfrm>
        </p:spPr>
        <p:txBody>
          <a:bodyPr lIns="0" tIns="0" rIns="0" bIns="0" anchor="ctr" anchorCtr="0">
            <a:noAutofit/>
          </a:bodyPr>
          <a:lstStyle>
            <a:lvl1pPr>
              <a:defRPr sz="4000" b="1" cap="small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7829" y="3441760"/>
            <a:ext cx="7174990" cy="384721"/>
          </a:xfr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544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pSp>
        <p:nvGrpSpPr>
          <p:cNvPr id="16" name="그룹 306">
            <a:extLst>
              <a:ext uri="{FF2B5EF4-FFF2-40B4-BE49-F238E27FC236}">
                <a16:creationId xmlns:a16="http://schemas.microsoft.com/office/drawing/2014/main" xmlns="" id="{131AD259-F8F4-4F44-BE22-97AC63E75308}"/>
              </a:ext>
            </a:extLst>
          </p:cNvPr>
          <p:cNvGrpSpPr/>
          <p:nvPr userDrawn="1"/>
        </p:nvGrpSpPr>
        <p:grpSpPr>
          <a:xfrm>
            <a:off x="1835420" y="1224874"/>
            <a:ext cx="8519572" cy="5012414"/>
            <a:chOff x="635001" y="1382713"/>
            <a:chExt cx="7869239" cy="4572001"/>
          </a:xfrm>
          <a:solidFill>
            <a:srgbClr val="EB8B11">
              <a:alpha val="10196"/>
            </a:srgbClr>
          </a:solidFill>
        </p:grpSpPr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xmlns="" id="{C0239E58-3FE8-454C-A2EE-9A11DBCBB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214" y="3267076"/>
              <a:ext cx="7478714" cy="2654301"/>
            </a:xfrm>
            <a:custGeom>
              <a:avLst/>
              <a:gdLst>
                <a:gd name="T0" fmla="*/ 1383 w 4711"/>
                <a:gd name="T1" fmla="*/ 1616 h 1672"/>
                <a:gd name="T2" fmla="*/ 4289 w 4711"/>
                <a:gd name="T3" fmla="*/ 1370 h 1672"/>
                <a:gd name="T4" fmla="*/ 4547 w 4711"/>
                <a:gd name="T5" fmla="*/ 1482 h 1672"/>
                <a:gd name="T6" fmla="*/ 4645 w 4711"/>
                <a:gd name="T7" fmla="*/ 1305 h 1672"/>
                <a:gd name="T8" fmla="*/ 4596 w 4711"/>
                <a:gd name="T9" fmla="*/ 1330 h 1672"/>
                <a:gd name="T10" fmla="*/ 4699 w 4711"/>
                <a:gd name="T11" fmla="*/ 1014 h 1672"/>
                <a:gd name="T12" fmla="*/ 2870 w 4711"/>
                <a:gd name="T13" fmla="*/ 1134 h 1672"/>
                <a:gd name="T14" fmla="*/ 4455 w 4711"/>
                <a:gd name="T15" fmla="*/ 918 h 1672"/>
                <a:gd name="T16" fmla="*/ 4359 w 4711"/>
                <a:gd name="T17" fmla="*/ 1140 h 1672"/>
                <a:gd name="T18" fmla="*/ 4144 w 4711"/>
                <a:gd name="T19" fmla="*/ 1286 h 1672"/>
                <a:gd name="T20" fmla="*/ 3936 w 4711"/>
                <a:gd name="T21" fmla="*/ 1271 h 1672"/>
                <a:gd name="T22" fmla="*/ 3802 w 4711"/>
                <a:gd name="T23" fmla="*/ 1080 h 1672"/>
                <a:gd name="T24" fmla="*/ 4059 w 4711"/>
                <a:gd name="T25" fmla="*/ 932 h 1672"/>
                <a:gd name="T26" fmla="*/ 4430 w 4711"/>
                <a:gd name="T27" fmla="*/ 909 h 1672"/>
                <a:gd name="T28" fmla="*/ 3982 w 4711"/>
                <a:gd name="T29" fmla="*/ 883 h 1672"/>
                <a:gd name="T30" fmla="*/ 3891 w 4711"/>
                <a:gd name="T31" fmla="*/ 883 h 1672"/>
                <a:gd name="T32" fmla="*/ 4388 w 4711"/>
                <a:gd name="T33" fmla="*/ 864 h 1672"/>
                <a:gd name="T34" fmla="*/ 4362 w 4711"/>
                <a:gd name="T35" fmla="*/ 825 h 1672"/>
                <a:gd name="T36" fmla="*/ 3994 w 4711"/>
                <a:gd name="T37" fmla="*/ 817 h 1672"/>
                <a:gd name="T38" fmla="*/ 4270 w 4711"/>
                <a:gd name="T39" fmla="*/ 855 h 1672"/>
                <a:gd name="T40" fmla="*/ 4132 w 4711"/>
                <a:gd name="T41" fmla="*/ 887 h 1672"/>
                <a:gd name="T42" fmla="*/ 1563 w 4711"/>
                <a:gd name="T43" fmla="*/ 787 h 1672"/>
                <a:gd name="T44" fmla="*/ 3886 w 4711"/>
                <a:gd name="T45" fmla="*/ 778 h 1672"/>
                <a:gd name="T46" fmla="*/ 3870 w 4711"/>
                <a:gd name="T47" fmla="*/ 845 h 1672"/>
                <a:gd name="T48" fmla="*/ 3987 w 4711"/>
                <a:gd name="T49" fmla="*/ 764 h 1672"/>
                <a:gd name="T50" fmla="*/ 3821 w 4711"/>
                <a:gd name="T51" fmla="*/ 885 h 1672"/>
                <a:gd name="T52" fmla="*/ 3860 w 4711"/>
                <a:gd name="T53" fmla="*/ 710 h 1672"/>
                <a:gd name="T54" fmla="*/ 3786 w 4711"/>
                <a:gd name="T55" fmla="*/ 726 h 1672"/>
                <a:gd name="T56" fmla="*/ 3331 w 4711"/>
                <a:gd name="T57" fmla="*/ 700 h 1672"/>
                <a:gd name="T58" fmla="*/ 3957 w 4711"/>
                <a:gd name="T59" fmla="*/ 677 h 1672"/>
                <a:gd name="T60" fmla="*/ 1245 w 4711"/>
                <a:gd name="T61" fmla="*/ 637 h 1672"/>
                <a:gd name="T62" fmla="*/ 1351 w 4711"/>
                <a:gd name="T63" fmla="*/ 529 h 1672"/>
                <a:gd name="T64" fmla="*/ 3942 w 4711"/>
                <a:gd name="T65" fmla="*/ 620 h 1672"/>
                <a:gd name="T66" fmla="*/ 3942 w 4711"/>
                <a:gd name="T67" fmla="*/ 602 h 1672"/>
                <a:gd name="T68" fmla="*/ 1173 w 4711"/>
                <a:gd name="T69" fmla="*/ 511 h 1672"/>
                <a:gd name="T70" fmla="*/ 1255 w 4711"/>
                <a:gd name="T71" fmla="*/ 515 h 1672"/>
                <a:gd name="T72" fmla="*/ 96 w 4711"/>
                <a:gd name="T73" fmla="*/ 454 h 1672"/>
                <a:gd name="T74" fmla="*/ 1088 w 4711"/>
                <a:gd name="T75" fmla="*/ 445 h 1672"/>
                <a:gd name="T76" fmla="*/ 1166 w 4711"/>
                <a:gd name="T77" fmla="*/ 429 h 1672"/>
                <a:gd name="T78" fmla="*/ 1149 w 4711"/>
                <a:gd name="T79" fmla="*/ 400 h 1672"/>
                <a:gd name="T80" fmla="*/ 2694 w 4711"/>
                <a:gd name="T81" fmla="*/ 262 h 1672"/>
                <a:gd name="T82" fmla="*/ 2256 w 4711"/>
                <a:gd name="T83" fmla="*/ 181 h 1672"/>
                <a:gd name="T84" fmla="*/ 2353 w 4711"/>
                <a:gd name="T85" fmla="*/ 119 h 1672"/>
                <a:gd name="T86" fmla="*/ 4183 w 4711"/>
                <a:gd name="T87" fmla="*/ 162 h 1672"/>
                <a:gd name="T88" fmla="*/ 4046 w 4711"/>
                <a:gd name="T89" fmla="*/ 288 h 1672"/>
                <a:gd name="T90" fmla="*/ 4128 w 4711"/>
                <a:gd name="T91" fmla="*/ 225 h 1672"/>
                <a:gd name="T92" fmla="*/ 2400 w 4711"/>
                <a:gd name="T93" fmla="*/ 78 h 1672"/>
                <a:gd name="T94" fmla="*/ 2425 w 4711"/>
                <a:gd name="T95" fmla="*/ 227 h 1672"/>
                <a:gd name="T96" fmla="*/ 2247 w 4711"/>
                <a:gd name="T97" fmla="*/ 148 h 1672"/>
                <a:gd name="T98" fmla="*/ 2167 w 4711"/>
                <a:gd name="T99" fmla="*/ 232 h 1672"/>
                <a:gd name="T100" fmla="*/ 2489 w 4711"/>
                <a:gd name="T101" fmla="*/ 332 h 1672"/>
                <a:gd name="T102" fmla="*/ 2720 w 4711"/>
                <a:gd name="T103" fmla="*/ 234 h 1672"/>
                <a:gd name="T104" fmla="*/ 2577 w 4711"/>
                <a:gd name="T105" fmla="*/ 157 h 1672"/>
                <a:gd name="T106" fmla="*/ 2533 w 4711"/>
                <a:gd name="T107" fmla="*/ 232 h 1672"/>
                <a:gd name="T108" fmla="*/ 1210 w 4711"/>
                <a:gd name="T109" fmla="*/ 78 h 1672"/>
                <a:gd name="T110" fmla="*/ 2798 w 4711"/>
                <a:gd name="T111" fmla="*/ 145 h 1672"/>
                <a:gd name="T112" fmla="*/ 2903 w 4711"/>
                <a:gd name="T113" fmla="*/ 147 h 1672"/>
                <a:gd name="T114" fmla="*/ 2943 w 4711"/>
                <a:gd name="T115" fmla="*/ 127 h 1672"/>
                <a:gd name="T116" fmla="*/ 1393 w 4711"/>
                <a:gd name="T117" fmla="*/ 66 h 1672"/>
                <a:gd name="T118" fmla="*/ 1028 w 4711"/>
                <a:gd name="T119" fmla="*/ 126 h 1672"/>
                <a:gd name="T120" fmla="*/ 1194 w 4711"/>
                <a:gd name="T121" fmla="*/ 89 h 1672"/>
                <a:gd name="T122" fmla="*/ 1076 w 4711"/>
                <a:gd name="T123" fmla="*/ 54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11" h="1672">
                  <a:moveTo>
                    <a:pt x="1290" y="1620"/>
                  </a:moveTo>
                  <a:lnTo>
                    <a:pt x="1304" y="1628"/>
                  </a:lnTo>
                  <a:lnTo>
                    <a:pt x="1318" y="1641"/>
                  </a:lnTo>
                  <a:lnTo>
                    <a:pt x="1332" y="1653"/>
                  </a:lnTo>
                  <a:lnTo>
                    <a:pt x="1348" y="1662"/>
                  </a:lnTo>
                  <a:lnTo>
                    <a:pt x="1348" y="1670"/>
                  </a:lnTo>
                  <a:lnTo>
                    <a:pt x="1339" y="1670"/>
                  </a:lnTo>
                  <a:lnTo>
                    <a:pt x="1330" y="1672"/>
                  </a:lnTo>
                  <a:lnTo>
                    <a:pt x="1316" y="1672"/>
                  </a:lnTo>
                  <a:lnTo>
                    <a:pt x="1304" y="1669"/>
                  </a:lnTo>
                  <a:lnTo>
                    <a:pt x="1297" y="1667"/>
                  </a:lnTo>
                  <a:lnTo>
                    <a:pt x="1294" y="1653"/>
                  </a:lnTo>
                  <a:lnTo>
                    <a:pt x="1290" y="1635"/>
                  </a:lnTo>
                  <a:lnTo>
                    <a:pt x="1290" y="1620"/>
                  </a:lnTo>
                  <a:close/>
                  <a:moveTo>
                    <a:pt x="1402" y="1590"/>
                  </a:moveTo>
                  <a:lnTo>
                    <a:pt x="1416" y="1593"/>
                  </a:lnTo>
                  <a:lnTo>
                    <a:pt x="1432" y="1599"/>
                  </a:lnTo>
                  <a:lnTo>
                    <a:pt x="1444" y="1604"/>
                  </a:lnTo>
                  <a:lnTo>
                    <a:pt x="1440" y="1604"/>
                  </a:lnTo>
                  <a:lnTo>
                    <a:pt x="1428" y="1611"/>
                  </a:lnTo>
                  <a:lnTo>
                    <a:pt x="1416" y="1616"/>
                  </a:lnTo>
                  <a:lnTo>
                    <a:pt x="1402" y="1620"/>
                  </a:lnTo>
                  <a:lnTo>
                    <a:pt x="1402" y="1613"/>
                  </a:lnTo>
                  <a:lnTo>
                    <a:pt x="1404" y="1611"/>
                  </a:lnTo>
                  <a:lnTo>
                    <a:pt x="1407" y="1609"/>
                  </a:lnTo>
                  <a:lnTo>
                    <a:pt x="1409" y="1607"/>
                  </a:lnTo>
                  <a:lnTo>
                    <a:pt x="1409" y="1606"/>
                  </a:lnTo>
                  <a:lnTo>
                    <a:pt x="1411" y="1604"/>
                  </a:lnTo>
                  <a:lnTo>
                    <a:pt x="1412" y="1600"/>
                  </a:lnTo>
                  <a:lnTo>
                    <a:pt x="1409" y="1600"/>
                  </a:lnTo>
                  <a:lnTo>
                    <a:pt x="1400" y="1609"/>
                  </a:lnTo>
                  <a:lnTo>
                    <a:pt x="1392" y="1614"/>
                  </a:lnTo>
                  <a:lnTo>
                    <a:pt x="1383" y="1616"/>
                  </a:lnTo>
                  <a:lnTo>
                    <a:pt x="1371" y="1620"/>
                  </a:lnTo>
                  <a:lnTo>
                    <a:pt x="1371" y="1604"/>
                  </a:lnTo>
                  <a:lnTo>
                    <a:pt x="1381" y="1600"/>
                  </a:lnTo>
                  <a:lnTo>
                    <a:pt x="1392" y="1595"/>
                  </a:lnTo>
                  <a:lnTo>
                    <a:pt x="1402" y="1590"/>
                  </a:lnTo>
                  <a:close/>
                  <a:moveTo>
                    <a:pt x="1374" y="1393"/>
                  </a:moveTo>
                  <a:lnTo>
                    <a:pt x="1378" y="1396"/>
                  </a:lnTo>
                  <a:lnTo>
                    <a:pt x="1381" y="1398"/>
                  </a:lnTo>
                  <a:lnTo>
                    <a:pt x="1383" y="1400"/>
                  </a:lnTo>
                  <a:lnTo>
                    <a:pt x="1385" y="1403"/>
                  </a:lnTo>
                  <a:lnTo>
                    <a:pt x="1385" y="1407"/>
                  </a:lnTo>
                  <a:lnTo>
                    <a:pt x="1386" y="1412"/>
                  </a:lnTo>
                  <a:lnTo>
                    <a:pt x="1378" y="1412"/>
                  </a:lnTo>
                  <a:lnTo>
                    <a:pt x="1376" y="1408"/>
                  </a:lnTo>
                  <a:lnTo>
                    <a:pt x="1374" y="1405"/>
                  </a:lnTo>
                  <a:lnTo>
                    <a:pt x="1374" y="1403"/>
                  </a:lnTo>
                  <a:lnTo>
                    <a:pt x="1372" y="1401"/>
                  </a:lnTo>
                  <a:lnTo>
                    <a:pt x="1374" y="1398"/>
                  </a:lnTo>
                  <a:lnTo>
                    <a:pt x="1374" y="1393"/>
                  </a:lnTo>
                  <a:close/>
                  <a:moveTo>
                    <a:pt x="4289" y="1370"/>
                  </a:moveTo>
                  <a:lnTo>
                    <a:pt x="4294" y="1384"/>
                  </a:lnTo>
                  <a:lnTo>
                    <a:pt x="4296" y="1400"/>
                  </a:lnTo>
                  <a:lnTo>
                    <a:pt x="4292" y="1415"/>
                  </a:lnTo>
                  <a:lnTo>
                    <a:pt x="4284" y="1424"/>
                  </a:lnTo>
                  <a:lnTo>
                    <a:pt x="4275" y="1429"/>
                  </a:lnTo>
                  <a:lnTo>
                    <a:pt x="4263" y="1435"/>
                  </a:lnTo>
                  <a:lnTo>
                    <a:pt x="4258" y="1414"/>
                  </a:lnTo>
                  <a:lnTo>
                    <a:pt x="4251" y="1393"/>
                  </a:lnTo>
                  <a:lnTo>
                    <a:pt x="4244" y="1374"/>
                  </a:lnTo>
                  <a:lnTo>
                    <a:pt x="4258" y="1374"/>
                  </a:lnTo>
                  <a:lnTo>
                    <a:pt x="4270" y="1381"/>
                  </a:lnTo>
                  <a:lnTo>
                    <a:pt x="4280" y="1379"/>
                  </a:lnTo>
                  <a:lnTo>
                    <a:pt x="4289" y="1370"/>
                  </a:lnTo>
                  <a:close/>
                  <a:moveTo>
                    <a:pt x="4577" y="1367"/>
                  </a:moveTo>
                  <a:lnTo>
                    <a:pt x="4580" y="1368"/>
                  </a:lnTo>
                  <a:lnTo>
                    <a:pt x="4584" y="1370"/>
                  </a:lnTo>
                  <a:lnTo>
                    <a:pt x="4586" y="1372"/>
                  </a:lnTo>
                  <a:lnTo>
                    <a:pt x="4587" y="1374"/>
                  </a:lnTo>
                  <a:lnTo>
                    <a:pt x="4589" y="1375"/>
                  </a:lnTo>
                  <a:lnTo>
                    <a:pt x="4593" y="1379"/>
                  </a:lnTo>
                  <a:lnTo>
                    <a:pt x="4593" y="1377"/>
                  </a:lnTo>
                  <a:lnTo>
                    <a:pt x="4594" y="1375"/>
                  </a:lnTo>
                  <a:lnTo>
                    <a:pt x="4596" y="1372"/>
                  </a:lnTo>
                  <a:lnTo>
                    <a:pt x="4596" y="1370"/>
                  </a:lnTo>
                  <a:lnTo>
                    <a:pt x="4598" y="1370"/>
                  </a:lnTo>
                  <a:lnTo>
                    <a:pt x="4600" y="1370"/>
                  </a:lnTo>
                  <a:lnTo>
                    <a:pt x="4600" y="1374"/>
                  </a:lnTo>
                  <a:lnTo>
                    <a:pt x="4601" y="1377"/>
                  </a:lnTo>
                  <a:lnTo>
                    <a:pt x="4603" y="1382"/>
                  </a:lnTo>
                  <a:lnTo>
                    <a:pt x="4603" y="1388"/>
                  </a:lnTo>
                  <a:lnTo>
                    <a:pt x="4603" y="1393"/>
                  </a:lnTo>
                  <a:lnTo>
                    <a:pt x="4591" y="1407"/>
                  </a:lnTo>
                  <a:lnTo>
                    <a:pt x="4580" y="1424"/>
                  </a:lnTo>
                  <a:lnTo>
                    <a:pt x="4584" y="1435"/>
                  </a:lnTo>
                  <a:lnTo>
                    <a:pt x="4582" y="1438"/>
                  </a:lnTo>
                  <a:lnTo>
                    <a:pt x="4577" y="1442"/>
                  </a:lnTo>
                  <a:lnTo>
                    <a:pt x="4572" y="1443"/>
                  </a:lnTo>
                  <a:lnTo>
                    <a:pt x="4567" y="1445"/>
                  </a:lnTo>
                  <a:lnTo>
                    <a:pt x="4561" y="1449"/>
                  </a:lnTo>
                  <a:lnTo>
                    <a:pt x="4558" y="1450"/>
                  </a:lnTo>
                  <a:lnTo>
                    <a:pt x="4554" y="1456"/>
                  </a:lnTo>
                  <a:lnTo>
                    <a:pt x="4554" y="1461"/>
                  </a:lnTo>
                  <a:lnTo>
                    <a:pt x="4553" y="1466"/>
                  </a:lnTo>
                  <a:lnTo>
                    <a:pt x="4553" y="1471"/>
                  </a:lnTo>
                  <a:lnTo>
                    <a:pt x="4551" y="1478"/>
                  </a:lnTo>
                  <a:lnTo>
                    <a:pt x="4547" y="1482"/>
                  </a:lnTo>
                  <a:lnTo>
                    <a:pt x="4542" y="1485"/>
                  </a:lnTo>
                  <a:lnTo>
                    <a:pt x="4537" y="1489"/>
                  </a:lnTo>
                  <a:lnTo>
                    <a:pt x="4532" y="1492"/>
                  </a:lnTo>
                  <a:lnTo>
                    <a:pt x="4526" y="1497"/>
                  </a:lnTo>
                  <a:lnTo>
                    <a:pt x="4519" y="1497"/>
                  </a:lnTo>
                  <a:lnTo>
                    <a:pt x="4511" y="1491"/>
                  </a:lnTo>
                  <a:lnTo>
                    <a:pt x="4502" y="1485"/>
                  </a:lnTo>
                  <a:lnTo>
                    <a:pt x="4495" y="1480"/>
                  </a:lnTo>
                  <a:lnTo>
                    <a:pt x="4488" y="1470"/>
                  </a:lnTo>
                  <a:lnTo>
                    <a:pt x="4493" y="1466"/>
                  </a:lnTo>
                  <a:lnTo>
                    <a:pt x="4495" y="1461"/>
                  </a:lnTo>
                  <a:lnTo>
                    <a:pt x="4497" y="1457"/>
                  </a:lnTo>
                  <a:lnTo>
                    <a:pt x="4498" y="1452"/>
                  </a:lnTo>
                  <a:lnTo>
                    <a:pt x="4500" y="1447"/>
                  </a:lnTo>
                  <a:lnTo>
                    <a:pt x="4504" y="1443"/>
                  </a:lnTo>
                  <a:lnTo>
                    <a:pt x="4514" y="1440"/>
                  </a:lnTo>
                  <a:lnTo>
                    <a:pt x="4525" y="1438"/>
                  </a:lnTo>
                  <a:lnTo>
                    <a:pt x="4535" y="1435"/>
                  </a:lnTo>
                  <a:lnTo>
                    <a:pt x="4540" y="1429"/>
                  </a:lnTo>
                  <a:lnTo>
                    <a:pt x="4549" y="1417"/>
                  </a:lnTo>
                  <a:lnTo>
                    <a:pt x="4556" y="1403"/>
                  </a:lnTo>
                  <a:lnTo>
                    <a:pt x="4565" y="1389"/>
                  </a:lnTo>
                  <a:lnTo>
                    <a:pt x="4572" y="1375"/>
                  </a:lnTo>
                  <a:lnTo>
                    <a:pt x="4577" y="1367"/>
                  </a:lnTo>
                  <a:close/>
                  <a:moveTo>
                    <a:pt x="4570" y="1239"/>
                  </a:moveTo>
                  <a:lnTo>
                    <a:pt x="4577" y="1239"/>
                  </a:lnTo>
                  <a:lnTo>
                    <a:pt x="4593" y="1255"/>
                  </a:lnTo>
                  <a:lnTo>
                    <a:pt x="4607" y="1269"/>
                  </a:lnTo>
                  <a:lnTo>
                    <a:pt x="4621" y="1285"/>
                  </a:lnTo>
                  <a:lnTo>
                    <a:pt x="4631" y="1305"/>
                  </a:lnTo>
                  <a:lnTo>
                    <a:pt x="4636" y="1305"/>
                  </a:lnTo>
                  <a:lnTo>
                    <a:pt x="4642" y="1305"/>
                  </a:lnTo>
                  <a:lnTo>
                    <a:pt x="4645" y="1305"/>
                  </a:lnTo>
                  <a:lnTo>
                    <a:pt x="4647" y="1305"/>
                  </a:lnTo>
                  <a:lnTo>
                    <a:pt x="4650" y="1305"/>
                  </a:lnTo>
                  <a:lnTo>
                    <a:pt x="4654" y="1302"/>
                  </a:lnTo>
                  <a:lnTo>
                    <a:pt x="4656" y="1299"/>
                  </a:lnTo>
                  <a:lnTo>
                    <a:pt x="4657" y="1293"/>
                  </a:lnTo>
                  <a:lnTo>
                    <a:pt x="4661" y="1293"/>
                  </a:lnTo>
                  <a:lnTo>
                    <a:pt x="4661" y="1316"/>
                  </a:lnTo>
                  <a:lnTo>
                    <a:pt x="4659" y="1321"/>
                  </a:lnTo>
                  <a:lnTo>
                    <a:pt x="4657" y="1326"/>
                  </a:lnTo>
                  <a:lnTo>
                    <a:pt x="4656" y="1332"/>
                  </a:lnTo>
                  <a:lnTo>
                    <a:pt x="4654" y="1335"/>
                  </a:lnTo>
                  <a:lnTo>
                    <a:pt x="4642" y="1335"/>
                  </a:lnTo>
                  <a:lnTo>
                    <a:pt x="4642" y="1347"/>
                  </a:lnTo>
                  <a:lnTo>
                    <a:pt x="4631" y="1358"/>
                  </a:lnTo>
                  <a:lnTo>
                    <a:pt x="4622" y="1368"/>
                  </a:lnTo>
                  <a:lnTo>
                    <a:pt x="4612" y="1379"/>
                  </a:lnTo>
                  <a:lnTo>
                    <a:pt x="4612" y="1374"/>
                  </a:lnTo>
                  <a:lnTo>
                    <a:pt x="4610" y="1370"/>
                  </a:lnTo>
                  <a:lnTo>
                    <a:pt x="4610" y="1367"/>
                  </a:lnTo>
                  <a:lnTo>
                    <a:pt x="4610" y="1361"/>
                  </a:lnTo>
                  <a:lnTo>
                    <a:pt x="4612" y="1358"/>
                  </a:lnTo>
                  <a:lnTo>
                    <a:pt x="4612" y="1354"/>
                  </a:lnTo>
                  <a:lnTo>
                    <a:pt x="4612" y="1351"/>
                  </a:lnTo>
                  <a:lnTo>
                    <a:pt x="4610" y="1349"/>
                  </a:lnTo>
                  <a:lnTo>
                    <a:pt x="4607" y="1347"/>
                  </a:lnTo>
                  <a:lnTo>
                    <a:pt x="4603" y="1346"/>
                  </a:lnTo>
                  <a:lnTo>
                    <a:pt x="4600" y="1344"/>
                  </a:lnTo>
                  <a:lnTo>
                    <a:pt x="4596" y="1342"/>
                  </a:lnTo>
                  <a:lnTo>
                    <a:pt x="4593" y="1340"/>
                  </a:lnTo>
                  <a:lnTo>
                    <a:pt x="4591" y="1339"/>
                  </a:lnTo>
                  <a:lnTo>
                    <a:pt x="4591" y="1337"/>
                  </a:lnTo>
                  <a:lnTo>
                    <a:pt x="4593" y="1335"/>
                  </a:lnTo>
                  <a:lnTo>
                    <a:pt x="4596" y="1330"/>
                  </a:lnTo>
                  <a:lnTo>
                    <a:pt x="4601" y="1326"/>
                  </a:lnTo>
                  <a:lnTo>
                    <a:pt x="4607" y="1321"/>
                  </a:lnTo>
                  <a:lnTo>
                    <a:pt x="4612" y="1316"/>
                  </a:lnTo>
                  <a:lnTo>
                    <a:pt x="4605" y="1309"/>
                  </a:lnTo>
                  <a:lnTo>
                    <a:pt x="4598" y="1297"/>
                  </a:lnTo>
                  <a:lnTo>
                    <a:pt x="4587" y="1279"/>
                  </a:lnTo>
                  <a:lnTo>
                    <a:pt x="4579" y="1264"/>
                  </a:lnTo>
                  <a:lnTo>
                    <a:pt x="4574" y="1250"/>
                  </a:lnTo>
                  <a:lnTo>
                    <a:pt x="4570" y="1239"/>
                  </a:lnTo>
                  <a:close/>
                  <a:moveTo>
                    <a:pt x="4507" y="1056"/>
                  </a:moveTo>
                  <a:lnTo>
                    <a:pt x="4516" y="1056"/>
                  </a:lnTo>
                  <a:lnTo>
                    <a:pt x="4532" y="1068"/>
                  </a:lnTo>
                  <a:lnTo>
                    <a:pt x="4551" y="1079"/>
                  </a:lnTo>
                  <a:lnTo>
                    <a:pt x="4551" y="1089"/>
                  </a:lnTo>
                  <a:lnTo>
                    <a:pt x="4539" y="1089"/>
                  </a:lnTo>
                  <a:lnTo>
                    <a:pt x="4530" y="1082"/>
                  </a:lnTo>
                  <a:lnTo>
                    <a:pt x="4521" y="1075"/>
                  </a:lnTo>
                  <a:lnTo>
                    <a:pt x="4514" y="1066"/>
                  </a:lnTo>
                  <a:lnTo>
                    <a:pt x="4507" y="1056"/>
                  </a:lnTo>
                  <a:close/>
                  <a:moveTo>
                    <a:pt x="4692" y="995"/>
                  </a:moveTo>
                  <a:lnTo>
                    <a:pt x="4696" y="995"/>
                  </a:lnTo>
                  <a:lnTo>
                    <a:pt x="4699" y="997"/>
                  </a:lnTo>
                  <a:lnTo>
                    <a:pt x="4699" y="997"/>
                  </a:lnTo>
                  <a:lnTo>
                    <a:pt x="4701" y="998"/>
                  </a:lnTo>
                  <a:lnTo>
                    <a:pt x="4701" y="1000"/>
                  </a:lnTo>
                  <a:lnTo>
                    <a:pt x="4703" y="1002"/>
                  </a:lnTo>
                  <a:lnTo>
                    <a:pt x="4704" y="1005"/>
                  </a:lnTo>
                  <a:lnTo>
                    <a:pt x="4708" y="1011"/>
                  </a:lnTo>
                  <a:lnTo>
                    <a:pt x="4710" y="1017"/>
                  </a:lnTo>
                  <a:lnTo>
                    <a:pt x="4711" y="1024"/>
                  </a:lnTo>
                  <a:lnTo>
                    <a:pt x="4704" y="1024"/>
                  </a:lnTo>
                  <a:lnTo>
                    <a:pt x="4704" y="1017"/>
                  </a:lnTo>
                  <a:lnTo>
                    <a:pt x="4699" y="1014"/>
                  </a:lnTo>
                  <a:lnTo>
                    <a:pt x="4697" y="1009"/>
                  </a:lnTo>
                  <a:lnTo>
                    <a:pt x="4696" y="1005"/>
                  </a:lnTo>
                  <a:lnTo>
                    <a:pt x="4694" y="1000"/>
                  </a:lnTo>
                  <a:lnTo>
                    <a:pt x="4692" y="995"/>
                  </a:lnTo>
                  <a:close/>
                  <a:moveTo>
                    <a:pt x="4532" y="974"/>
                  </a:moveTo>
                  <a:lnTo>
                    <a:pt x="4535" y="974"/>
                  </a:lnTo>
                  <a:lnTo>
                    <a:pt x="4537" y="976"/>
                  </a:lnTo>
                  <a:lnTo>
                    <a:pt x="4537" y="977"/>
                  </a:lnTo>
                  <a:lnTo>
                    <a:pt x="4539" y="977"/>
                  </a:lnTo>
                  <a:lnTo>
                    <a:pt x="4540" y="977"/>
                  </a:lnTo>
                  <a:lnTo>
                    <a:pt x="4542" y="979"/>
                  </a:lnTo>
                  <a:lnTo>
                    <a:pt x="4544" y="984"/>
                  </a:lnTo>
                  <a:lnTo>
                    <a:pt x="4544" y="990"/>
                  </a:lnTo>
                  <a:lnTo>
                    <a:pt x="4546" y="993"/>
                  </a:lnTo>
                  <a:lnTo>
                    <a:pt x="4547" y="997"/>
                  </a:lnTo>
                  <a:lnTo>
                    <a:pt x="4549" y="1000"/>
                  </a:lnTo>
                  <a:lnTo>
                    <a:pt x="4551" y="1005"/>
                  </a:lnTo>
                  <a:lnTo>
                    <a:pt x="4539" y="1005"/>
                  </a:lnTo>
                  <a:lnTo>
                    <a:pt x="4537" y="997"/>
                  </a:lnTo>
                  <a:lnTo>
                    <a:pt x="4533" y="991"/>
                  </a:lnTo>
                  <a:lnTo>
                    <a:pt x="4532" y="984"/>
                  </a:lnTo>
                  <a:lnTo>
                    <a:pt x="4532" y="974"/>
                  </a:lnTo>
                  <a:close/>
                  <a:moveTo>
                    <a:pt x="2907" y="967"/>
                  </a:moveTo>
                  <a:lnTo>
                    <a:pt x="2907" y="974"/>
                  </a:lnTo>
                  <a:lnTo>
                    <a:pt x="2915" y="993"/>
                  </a:lnTo>
                  <a:lnTo>
                    <a:pt x="2915" y="1014"/>
                  </a:lnTo>
                  <a:lnTo>
                    <a:pt x="2910" y="1033"/>
                  </a:lnTo>
                  <a:lnTo>
                    <a:pt x="2901" y="1052"/>
                  </a:lnTo>
                  <a:lnTo>
                    <a:pt x="2891" y="1070"/>
                  </a:lnTo>
                  <a:lnTo>
                    <a:pt x="2882" y="1087"/>
                  </a:lnTo>
                  <a:lnTo>
                    <a:pt x="2875" y="1101"/>
                  </a:lnTo>
                  <a:lnTo>
                    <a:pt x="2872" y="1119"/>
                  </a:lnTo>
                  <a:lnTo>
                    <a:pt x="2870" y="1134"/>
                  </a:lnTo>
                  <a:lnTo>
                    <a:pt x="2868" y="1147"/>
                  </a:lnTo>
                  <a:lnTo>
                    <a:pt x="2861" y="1157"/>
                  </a:lnTo>
                  <a:lnTo>
                    <a:pt x="2849" y="1166"/>
                  </a:lnTo>
                  <a:lnTo>
                    <a:pt x="2849" y="1162"/>
                  </a:lnTo>
                  <a:lnTo>
                    <a:pt x="2842" y="1161"/>
                  </a:lnTo>
                  <a:lnTo>
                    <a:pt x="2837" y="1159"/>
                  </a:lnTo>
                  <a:lnTo>
                    <a:pt x="2832" y="1155"/>
                  </a:lnTo>
                  <a:lnTo>
                    <a:pt x="2828" y="1150"/>
                  </a:lnTo>
                  <a:lnTo>
                    <a:pt x="2826" y="1143"/>
                  </a:lnTo>
                  <a:lnTo>
                    <a:pt x="2819" y="1129"/>
                  </a:lnTo>
                  <a:lnTo>
                    <a:pt x="2818" y="1115"/>
                  </a:lnTo>
                  <a:lnTo>
                    <a:pt x="2823" y="1103"/>
                  </a:lnTo>
                  <a:lnTo>
                    <a:pt x="2828" y="1089"/>
                  </a:lnTo>
                  <a:lnTo>
                    <a:pt x="2833" y="1075"/>
                  </a:lnTo>
                  <a:lnTo>
                    <a:pt x="2833" y="1066"/>
                  </a:lnTo>
                  <a:lnTo>
                    <a:pt x="2832" y="1052"/>
                  </a:lnTo>
                  <a:lnTo>
                    <a:pt x="2830" y="1038"/>
                  </a:lnTo>
                  <a:lnTo>
                    <a:pt x="2830" y="1024"/>
                  </a:lnTo>
                  <a:lnTo>
                    <a:pt x="2849" y="1024"/>
                  </a:lnTo>
                  <a:lnTo>
                    <a:pt x="2854" y="1016"/>
                  </a:lnTo>
                  <a:lnTo>
                    <a:pt x="2865" y="1005"/>
                  </a:lnTo>
                  <a:lnTo>
                    <a:pt x="2875" y="993"/>
                  </a:lnTo>
                  <a:lnTo>
                    <a:pt x="2887" y="981"/>
                  </a:lnTo>
                  <a:lnTo>
                    <a:pt x="2898" y="972"/>
                  </a:lnTo>
                  <a:lnTo>
                    <a:pt x="2907" y="967"/>
                  </a:lnTo>
                  <a:close/>
                  <a:moveTo>
                    <a:pt x="4455" y="913"/>
                  </a:moveTo>
                  <a:lnTo>
                    <a:pt x="4469" y="918"/>
                  </a:lnTo>
                  <a:lnTo>
                    <a:pt x="4469" y="925"/>
                  </a:lnTo>
                  <a:lnTo>
                    <a:pt x="4458" y="925"/>
                  </a:lnTo>
                  <a:lnTo>
                    <a:pt x="4458" y="921"/>
                  </a:lnTo>
                  <a:lnTo>
                    <a:pt x="4457" y="920"/>
                  </a:lnTo>
                  <a:lnTo>
                    <a:pt x="4457" y="918"/>
                  </a:lnTo>
                  <a:lnTo>
                    <a:pt x="4455" y="918"/>
                  </a:lnTo>
                  <a:lnTo>
                    <a:pt x="4455" y="916"/>
                  </a:lnTo>
                  <a:lnTo>
                    <a:pt x="4455" y="913"/>
                  </a:lnTo>
                  <a:close/>
                  <a:moveTo>
                    <a:pt x="4205" y="909"/>
                  </a:moveTo>
                  <a:lnTo>
                    <a:pt x="4209" y="909"/>
                  </a:lnTo>
                  <a:lnTo>
                    <a:pt x="4210" y="918"/>
                  </a:lnTo>
                  <a:lnTo>
                    <a:pt x="4212" y="930"/>
                  </a:lnTo>
                  <a:lnTo>
                    <a:pt x="4217" y="944"/>
                  </a:lnTo>
                  <a:lnTo>
                    <a:pt x="4221" y="956"/>
                  </a:lnTo>
                  <a:lnTo>
                    <a:pt x="4224" y="963"/>
                  </a:lnTo>
                  <a:lnTo>
                    <a:pt x="4226" y="965"/>
                  </a:lnTo>
                  <a:lnTo>
                    <a:pt x="4231" y="967"/>
                  </a:lnTo>
                  <a:lnTo>
                    <a:pt x="4235" y="967"/>
                  </a:lnTo>
                  <a:lnTo>
                    <a:pt x="4240" y="969"/>
                  </a:lnTo>
                  <a:lnTo>
                    <a:pt x="4244" y="969"/>
                  </a:lnTo>
                  <a:lnTo>
                    <a:pt x="4247" y="970"/>
                  </a:lnTo>
                  <a:lnTo>
                    <a:pt x="4247" y="976"/>
                  </a:lnTo>
                  <a:lnTo>
                    <a:pt x="4251" y="988"/>
                  </a:lnTo>
                  <a:lnTo>
                    <a:pt x="4254" y="1002"/>
                  </a:lnTo>
                  <a:lnTo>
                    <a:pt x="4259" y="1019"/>
                  </a:lnTo>
                  <a:lnTo>
                    <a:pt x="4263" y="1031"/>
                  </a:lnTo>
                  <a:lnTo>
                    <a:pt x="4266" y="1040"/>
                  </a:lnTo>
                  <a:lnTo>
                    <a:pt x="4275" y="1040"/>
                  </a:lnTo>
                  <a:lnTo>
                    <a:pt x="4280" y="1042"/>
                  </a:lnTo>
                  <a:lnTo>
                    <a:pt x="4286" y="1044"/>
                  </a:lnTo>
                  <a:lnTo>
                    <a:pt x="4289" y="1047"/>
                  </a:lnTo>
                  <a:lnTo>
                    <a:pt x="4292" y="1052"/>
                  </a:lnTo>
                  <a:lnTo>
                    <a:pt x="4301" y="1065"/>
                  </a:lnTo>
                  <a:lnTo>
                    <a:pt x="4305" y="1082"/>
                  </a:lnTo>
                  <a:lnTo>
                    <a:pt x="4324" y="1082"/>
                  </a:lnTo>
                  <a:lnTo>
                    <a:pt x="4331" y="1100"/>
                  </a:lnTo>
                  <a:lnTo>
                    <a:pt x="4341" y="1112"/>
                  </a:lnTo>
                  <a:lnTo>
                    <a:pt x="4350" y="1124"/>
                  </a:lnTo>
                  <a:lnTo>
                    <a:pt x="4359" y="1140"/>
                  </a:lnTo>
                  <a:lnTo>
                    <a:pt x="4362" y="1166"/>
                  </a:lnTo>
                  <a:lnTo>
                    <a:pt x="4361" y="1187"/>
                  </a:lnTo>
                  <a:lnTo>
                    <a:pt x="4355" y="1208"/>
                  </a:lnTo>
                  <a:lnTo>
                    <a:pt x="4347" y="1227"/>
                  </a:lnTo>
                  <a:lnTo>
                    <a:pt x="4338" y="1248"/>
                  </a:lnTo>
                  <a:lnTo>
                    <a:pt x="4327" y="1271"/>
                  </a:lnTo>
                  <a:lnTo>
                    <a:pt x="4324" y="1285"/>
                  </a:lnTo>
                  <a:lnTo>
                    <a:pt x="4319" y="1299"/>
                  </a:lnTo>
                  <a:lnTo>
                    <a:pt x="4315" y="1314"/>
                  </a:lnTo>
                  <a:lnTo>
                    <a:pt x="4310" y="1326"/>
                  </a:lnTo>
                  <a:lnTo>
                    <a:pt x="4301" y="1335"/>
                  </a:lnTo>
                  <a:lnTo>
                    <a:pt x="4291" y="1340"/>
                  </a:lnTo>
                  <a:lnTo>
                    <a:pt x="4279" y="1346"/>
                  </a:lnTo>
                  <a:lnTo>
                    <a:pt x="4266" y="1351"/>
                  </a:lnTo>
                  <a:lnTo>
                    <a:pt x="4258" y="1354"/>
                  </a:lnTo>
                  <a:lnTo>
                    <a:pt x="4247" y="1346"/>
                  </a:lnTo>
                  <a:lnTo>
                    <a:pt x="4235" y="1335"/>
                  </a:lnTo>
                  <a:lnTo>
                    <a:pt x="4226" y="1342"/>
                  </a:lnTo>
                  <a:lnTo>
                    <a:pt x="4216" y="1346"/>
                  </a:lnTo>
                  <a:lnTo>
                    <a:pt x="4203" y="1344"/>
                  </a:lnTo>
                  <a:lnTo>
                    <a:pt x="4190" y="1342"/>
                  </a:lnTo>
                  <a:lnTo>
                    <a:pt x="4174" y="1340"/>
                  </a:lnTo>
                  <a:lnTo>
                    <a:pt x="4167" y="1305"/>
                  </a:lnTo>
                  <a:lnTo>
                    <a:pt x="4162" y="1304"/>
                  </a:lnTo>
                  <a:lnTo>
                    <a:pt x="4156" y="1302"/>
                  </a:lnTo>
                  <a:lnTo>
                    <a:pt x="4151" y="1300"/>
                  </a:lnTo>
                  <a:lnTo>
                    <a:pt x="4148" y="1297"/>
                  </a:lnTo>
                  <a:lnTo>
                    <a:pt x="4144" y="1295"/>
                  </a:lnTo>
                  <a:lnTo>
                    <a:pt x="4142" y="1293"/>
                  </a:lnTo>
                  <a:lnTo>
                    <a:pt x="4142" y="1292"/>
                  </a:lnTo>
                  <a:lnTo>
                    <a:pt x="4144" y="1290"/>
                  </a:lnTo>
                  <a:lnTo>
                    <a:pt x="4144" y="1288"/>
                  </a:lnTo>
                  <a:lnTo>
                    <a:pt x="4144" y="1286"/>
                  </a:lnTo>
                  <a:lnTo>
                    <a:pt x="4142" y="1285"/>
                  </a:lnTo>
                  <a:lnTo>
                    <a:pt x="4141" y="1283"/>
                  </a:lnTo>
                  <a:lnTo>
                    <a:pt x="4135" y="1281"/>
                  </a:lnTo>
                  <a:lnTo>
                    <a:pt x="4134" y="1283"/>
                  </a:lnTo>
                  <a:lnTo>
                    <a:pt x="4134" y="1285"/>
                  </a:lnTo>
                  <a:lnTo>
                    <a:pt x="4134" y="1285"/>
                  </a:lnTo>
                  <a:lnTo>
                    <a:pt x="4132" y="1286"/>
                  </a:lnTo>
                  <a:lnTo>
                    <a:pt x="4130" y="1286"/>
                  </a:lnTo>
                  <a:lnTo>
                    <a:pt x="4128" y="1286"/>
                  </a:lnTo>
                  <a:lnTo>
                    <a:pt x="4128" y="1281"/>
                  </a:lnTo>
                  <a:lnTo>
                    <a:pt x="4123" y="1281"/>
                  </a:lnTo>
                  <a:lnTo>
                    <a:pt x="4123" y="1278"/>
                  </a:lnTo>
                  <a:lnTo>
                    <a:pt x="4130" y="1274"/>
                  </a:lnTo>
                  <a:lnTo>
                    <a:pt x="4135" y="1269"/>
                  </a:lnTo>
                  <a:lnTo>
                    <a:pt x="4139" y="1264"/>
                  </a:lnTo>
                  <a:lnTo>
                    <a:pt x="4135" y="1264"/>
                  </a:lnTo>
                  <a:lnTo>
                    <a:pt x="4135" y="1258"/>
                  </a:lnTo>
                  <a:lnTo>
                    <a:pt x="4127" y="1267"/>
                  </a:lnTo>
                  <a:lnTo>
                    <a:pt x="4118" y="1272"/>
                  </a:lnTo>
                  <a:lnTo>
                    <a:pt x="4104" y="1278"/>
                  </a:lnTo>
                  <a:lnTo>
                    <a:pt x="4099" y="1267"/>
                  </a:lnTo>
                  <a:lnTo>
                    <a:pt x="4092" y="1257"/>
                  </a:lnTo>
                  <a:lnTo>
                    <a:pt x="4083" y="1248"/>
                  </a:lnTo>
                  <a:lnTo>
                    <a:pt x="4071" y="1241"/>
                  </a:lnTo>
                  <a:lnTo>
                    <a:pt x="4055" y="1239"/>
                  </a:lnTo>
                  <a:lnTo>
                    <a:pt x="4045" y="1236"/>
                  </a:lnTo>
                  <a:lnTo>
                    <a:pt x="4031" y="1234"/>
                  </a:lnTo>
                  <a:lnTo>
                    <a:pt x="4011" y="1236"/>
                  </a:lnTo>
                  <a:lnTo>
                    <a:pt x="3992" y="1237"/>
                  </a:lnTo>
                  <a:lnTo>
                    <a:pt x="3973" y="1241"/>
                  </a:lnTo>
                  <a:lnTo>
                    <a:pt x="3956" y="1244"/>
                  </a:lnTo>
                  <a:lnTo>
                    <a:pt x="3943" y="1248"/>
                  </a:lnTo>
                  <a:lnTo>
                    <a:pt x="3936" y="1271"/>
                  </a:lnTo>
                  <a:lnTo>
                    <a:pt x="3919" y="1271"/>
                  </a:lnTo>
                  <a:lnTo>
                    <a:pt x="3903" y="1269"/>
                  </a:lnTo>
                  <a:lnTo>
                    <a:pt x="3886" y="1271"/>
                  </a:lnTo>
                  <a:lnTo>
                    <a:pt x="3874" y="1274"/>
                  </a:lnTo>
                  <a:lnTo>
                    <a:pt x="3861" y="1279"/>
                  </a:lnTo>
                  <a:lnTo>
                    <a:pt x="3851" y="1285"/>
                  </a:lnTo>
                  <a:lnTo>
                    <a:pt x="3839" y="1286"/>
                  </a:lnTo>
                  <a:lnTo>
                    <a:pt x="3825" y="1286"/>
                  </a:lnTo>
                  <a:lnTo>
                    <a:pt x="3821" y="1279"/>
                  </a:lnTo>
                  <a:lnTo>
                    <a:pt x="3818" y="1274"/>
                  </a:lnTo>
                  <a:lnTo>
                    <a:pt x="3812" y="1269"/>
                  </a:lnTo>
                  <a:lnTo>
                    <a:pt x="3809" y="1264"/>
                  </a:lnTo>
                  <a:lnTo>
                    <a:pt x="3818" y="1251"/>
                  </a:lnTo>
                  <a:lnTo>
                    <a:pt x="3819" y="1236"/>
                  </a:lnTo>
                  <a:lnTo>
                    <a:pt x="3818" y="1218"/>
                  </a:lnTo>
                  <a:lnTo>
                    <a:pt x="3811" y="1201"/>
                  </a:lnTo>
                  <a:lnTo>
                    <a:pt x="3804" y="1182"/>
                  </a:lnTo>
                  <a:lnTo>
                    <a:pt x="3795" y="1164"/>
                  </a:lnTo>
                  <a:lnTo>
                    <a:pt x="3790" y="1148"/>
                  </a:lnTo>
                  <a:lnTo>
                    <a:pt x="3786" y="1136"/>
                  </a:lnTo>
                  <a:lnTo>
                    <a:pt x="3790" y="1136"/>
                  </a:lnTo>
                  <a:lnTo>
                    <a:pt x="3793" y="1138"/>
                  </a:lnTo>
                  <a:lnTo>
                    <a:pt x="3795" y="1138"/>
                  </a:lnTo>
                  <a:lnTo>
                    <a:pt x="3797" y="1140"/>
                  </a:lnTo>
                  <a:lnTo>
                    <a:pt x="3797" y="1140"/>
                  </a:lnTo>
                  <a:lnTo>
                    <a:pt x="3799" y="1138"/>
                  </a:lnTo>
                  <a:lnTo>
                    <a:pt x="3800" y="1136"/>
                  </a:lnTo>
                  <a:lnTo>
                    <a:pt x="3802" y="1133"/>
                  </a:lnTo>
                  <a:lnTo>
                    <a:pt x="3793" y="1124"/>
                  </a:lnTo>
                  <a:lnTo>
                    <a:pt x="3790" y="1113"/>
                  </a:lnTo>
                  <a:lnTo>
                    <a:pt x="3786" y="1101"/>
                  </a:lnTo>
                  <a:lnTo>
                    <a:pt x="3795" y="1091"/>
                  </a:lnTo>
                  <a:lnTo>
                    <a:pt x="3802" y="1080"/>
                  </a:lnTo>
                  <a:lnTo>
                    <a:pt x="3809" y="1070"/>
                  </a:lnTo>
                  <a:lnTo>
                    <a:pt x="3819" y="1061"/>
                  </a:lnTo>
                  <a:lnTo>
                    <a:pt x="3832" y="1056"/>
                  </a:lnTo>
                  <a:lnTo>
                    <a:pt x="3840" y="1056"/>
                  </a:lnTo>
                  <a:lnTo>
                    <a:pt x="3854" y="1054"/>
                  </a:lnTo>
                  <a:lnTo>
                    <a:pt x="3872" y="1051"/>
                  </a:lnTo>
                  <a:lnTo>
                    <a:pt x="3888" y="1047"/>
                  </a:lnTo>
                  <a:lnTo>
                    <a:pt x="3902" y="1044"/>
                  </a:lnTo>
                  <a:lnTo>
                    <a:pt x="3907" y="1031"/>
                  </a:lnTo>
                  <a:lnTo>
                    <a:pt x="3915" y="1017"/>
                  </a:lnTo>
                  <a:lnTo>
                    <a:pt x="3926" y="1007"/>
                  </a:lnTo>
                  <a:lnTo>
                    <a:pt x="3940" y="1002"/>
                  </a:lnTo>
                  <a:lnTo>
                    <a:pt x="3940" y="990"/>
                  </a:lnTo>
                  <a:lnTo>
                    <a:pt x="3947" y="986"/>
                  </a:lnTo>
                  <a:lnTo>
                    <a:pt x="3956" y="977"/>
                  </a:lnTo>
                  <a:lnTo>
                    <a:pt x="3966" y="969"/>
                  </a:lnTo>
                  <a:lnTo>
                    <a:pt x="3977" y="962"/>
                  </a:lnTo>
                  <a:lnTo>
                    <a:pt x="3987" y="956"/>
                  </a:lnTo>
                  <a:lnTo>
                    <a:pt x="3994" y="960"/>
                  </a:lnTo>
                  <a:lnTo>
                    <a:pt x="3996" y="962"/>
                  </a:lnTo>
                  <a:lnTo>
                    <a:pt x="3996" y="965"/>
                  </a:lnTo>
                  <a:lnTo>
                    <a:pt x="3996" y="969"/>
                  </a:lnTo>
                  <a:lnTo>
                    <a:pt x="3998" y="974"/>
                  </a:lnTo>
                  <a:lnTo>
                    <a:pt x="4003" y="976"/>
                  </a:lnTo>
                  <a:lnTo>
                    <a:pt x="4008" y="976"/>
                  </a:lnTo>
                  <a:lnTo>
                    <a:pt x="4011" y="977"/>
                  </a:lnTo>
                  <a:lnTo>
                    <a:pt x="4017" y="979"/>
                  </a:lnTo>
                  <a:lnTo>
                    <a:pt x="4020" y="963"/>
                  </a:lnTo>
                  <a:lnTo>
                    <a:pt x="4025" y="955"/>
                  </a:lnTo>
                  <a:lnTo>
                    <a:pt x="4032" y="949"/>
                  </a:lnTo>
                  <a:lnTo>
                    <a:pt x="4041" y="944"/>
                  </a:lnTo>
                  <a:lnTo>
                    <a:pt x="4050" y="941"/>
                  </a:lnTo>
                  <a:lnTo>
                    <a:pt x="4059" y="932"/>
                  </a:lnTo>
                  <a:lnTo>
                    <a:pt x="4055" y="930"/>
                  </a:lnTo>
                  <a:lnTo>
                    <a:pt x="4055" y="928"/>
                  </a:lnTo>
                  <a:lnTo>
                    <a:pt x="4053" y="927"/>
                  </a:lnTo>
                  <a:lnTo>
                    <a:pt x="4052" y="925"/>
                  </a:lnTo>
                  <a:lnTo>
                    <a:pt x="4066" y="925"/>
                  </a:lnTo>
                  <a:lnTo>
                    <a:pt x="4080" y="932"/>
                  </a:lnTo>
                  <a:lnTo>
                    <a:pt x="4095" y="934"/>
                  </a:lnTo>
                  <a:lnTo>
                    <a:pt x="4111" y="934"/>
                  </a:lnTo>
                  <a:lnTo>
                    <a:pt x="4128" y="932"/>
                  </a:lnTo>
                  <a:lnTo>
                    <a:pt x="4128" y="941"/>
                  </a:lnTo>
                  <a:lnTo>
                    <a:pt x="4116" y="956"/>
                  </a:lnTo>
                  <a:lnTo>
                    <a:pt x="4109" y="979"/>
                  </a:lnTo>
                  <a:lnTo>
                    <a:pt x="4121" y="986"/>
                  </a:lnTo>
                  <a:lnTo>
                    <a:pt x="4137" y="995"/>
                  </a:lnTo>
                  <a:lnTo>
                    <a:pt x="4153" y="1004"/>
                  </a:lnTo>
                  <a:lnTo>
                    <a:pt x="4169" y="1009"/>
                  </a:lnTo>
                  <a:lnTo>
                    <a:pt x="4181" y="1009"/>
                  </a:lnTo>
                  <a:lnTo>
                    <a:pt x="4190" y="995"/>
                  </a:lnTo>
                  <a:lnTo>
                    <a:pt x="4195" y="972"/>
                  </a:lnTo>
                  <a:lnTo>
                    <a:pt x="4196" y="949"/>
                  </a:lnTo>
                  <a:lnTo>
                    <a:pt x="4200" y="927"/>
                  </a:lnTo>
                  <a:lnTo>
                    <a:pt x="4205" y="909"/>
                  </a:lnTo>
                  <a:close/>
                  <a:moveTo>
                    <a:pt x="4439" y="897"/>
                  </a:moveTo>
                  <a:lnTo>
                    <a:pt x="4443" y="901"/>
                  </a:lnTo>
                  <a:lnTo>
                    <a:pt x="4446" y="904"/>
                  </a:lnTo>
                  <a:lnTo>
                    <a:pt x="4450" y="906"/>
                  </a:lnTo>
                  <a:lnTo>
                    <a:pt x="4450" y="913"/>
                  </a:lnTo>
                  <a:lnTo>
                    <a:pt x="4443" y="913"/>
                  </a:lnTo>
                  <a:lnTo>
                    <a:pt x="4441" y="913"/>
                  </a:lnTo>
                  <a:lnTo>
                    <a:pt x="4439" y="911"/>
                  </a:lnTo>
                  <a:lnTo>
                    <a:pt x="4437" y="911"/>
                  </a:lnTo>
                  <a:lnTo>
                    <a:pt x="4436" y="911"/>
                  </a:lnTo>
                  <a:lnTo>
                    <a:pt x="4430" y="909"/>
                  </a:lnTo>
                  <a:lnTo>
                    <a:pt x="4432" y="906"/>
                  </a:lnTo>
                  <a:lnTo>
                    <a:pt x="4432" y="902"/>
                  </a:lnTo>
                  <a:lnTo>
                    <a:pt x="4432" y="902"/>
                  </a:lnTo>
                  <a:lnTo>
                    <a:pt x="4432" y="901"/>
                  </a:lnTo>
                  <a:lnTo>
                    <a:pt x="4434" y="901"/>
                  </a:lnTo>
                  <a:lnTo>
                    <a:pt x="4436" y="901"/>
                  </a:lnTo>
                  <a:lnTo>
                    <a:pt x="4439" y="897"/>
                  </a:lnTo>
                  <a:close/>
                  <a:moveTo>
                    <a:pt x="3867" y="897"/>
                  </a:moveTo>
                  <a:lnTo>
                    <a:pt x="3874" y="899"/>
                  </a:lnTo>
                  <a:lnTo>
                    <a:pt x="3879" y="899"/>
                  </a:lnTo>
                  <a:lnTo>
                    <a:pt x="3884" y="899"/>
                  </a:lnTo>
                  <a:lnTo>
                    <a:pt x="3888" y="901"/>
                  </a:lnTo>
                  <a:lnTo>
                    <a:pt x="3893" y="902"/>
                  </a:lnTo>
                  <a:lnTo>
                    <a:pt x="3893" y="909"/>
                  </a:lnTo>
                  <a:lnTo>
                    <a:pt x="3889" y="909"/>
                  </a:lnTo>
                  <a:lnTo>
                    <a:pt x="3889" y="913"/>
                  </a:lnTo>
                  <a:lnTo>
                    <a:pt x="3884" y="911"/>
                  </a:lnTo>
                  <a:lnTo>
                    <a:pt x="3879" y="909"/>
                  </a:lnTo>
                  <a:lnTo>
                    <a:pt x="3874" y="906"/>
                  </a:lnTo>
                  <a:lnTo>
                    <a:pt x="3870" y="902"/>
                  </a:lnTo>
                  <a:lnTo>
                    <a:pt x="3867" y="897"/>
                  </a:lnTo>
                  <a:close/>
                  <a:moveTo>
                    <a:pt x="4443" y="887"/>
                  </a:moveTo>
                  <a:lnTo>
                    <a:pt x="4455" y="887"/>
                  </a:lnTo>
                  <a:lnTo>
                    <a:pt x="4462" y="909"/>
                  </a:lnTo>
                  <a:lnTo>
                    <a:pt x="4455" y="909"/>
                  </a:lnTo>
                  <a:lnTo>
                    <a:pt x="4455" y="906"/>
                  </a:lnTo>
                  <a:lnTo>
                    <a:pt x="4450" y="902"/>
                  </a:lnTo>
                  <a:lnTo>
                    <a:pt x="4448" y="899"/>
                  </a:lnTo>
                  <a:lnTo>
                    <a:pt x="4446" y="895"/>
                  </a:lnTo>
                  <a:lnTo>
                    <a:pt x="4444" y="892"/>
                  </a:lnTo>
                  <a:lnTo>
                    <a:pt x="4443" y="887"/>
                  </a:lnTo>
                  <a:close/>
                  <a:moveTo>
                    <a:pt x="3963" y="883"/>
                  </a:moveTo>
                  <a:lnTo>
                    <a:pt x="3982" y="883"/>
                  </a:lnTo>
                  <a:lnTo>
                    <a:pt x="3982" y="887"/>
                  </a:lnTo>
                  <a:lnTo>
                    <a:pt x="3978" y="887"/>
                  </a:lnTo>
                  <a:lnTo>
                    <a:pt x="3966" y="895"/>
                  </a:lnTo>
                  <a:lnTo>
                    <a:pt x="3952" y="904"/>
                  </a:lnTo>
                  <a:lnTo>
                    <a:pt x="3940" y="913"/>
                  </a:lnTo>
                  <a:lnTo>
                    <a:pt x="3936" y="913"/>
                  </a:lnTo>
                  <a:lnTo>
                    <a:pt x="3935" y="911"/>
                  </a:lnTo>
                  <a:lnTo>
                    <a:pt x="3935" y="911"/>
                  </a:lnTo>
                  <a:lnTo>
                    <a:pt x="3933" y="911"/>
                  </a:lnTo>
                  <a:lnTo>
                    <a:pt x="3931" y="909"/>
                  </a:lnTo>
                  <a:lnTo>
                    <a:pt x="3928" y="909"/>
                  </a:lnTo>
                  <a:lnTo>
                    <a:pt x="3928" y="906"/>
                  </a:lnTo>
                  <a:lnTo>
                    <a:pt x="3945" y="895"/>
                  </a:lnTo>
                  <a:lnTo>
                    <a:pt x="3963" y="883"/>
                  </a:lnTo>
                  <a:close/>
                  <a:moveTo>
                    <a:pt x="3917" y="878"/>
                  </a:moveTo>
                  <a:lnTo>
                    <a:pt x="3921" y="881"/>
                  </a:lnTo>
                  <a:lnTo>
                    <a:pt x="3922" y="881"/>
                  </a:lnTo>
                  <a:lnTo>
                    <a:pt x="3922" y="881"/>
                  </a:lnTo>
                  <a:lnTo>
                    <a:pt x="3922" y="883"/>
                  </a:lnTo>
                  <a:lnTo>
                    <a:pt x="3922" y="883"/>
                  </a:lnTo>
                  <a:lnTo>
                    <a:pt x="3922" y="887"/>
                  </a:lnTo>
                  <a:lnTo>
                    <a:pt x="3924" y="890"/>
                  </a:lnTo>
                  <a:lnTo>
                    <a:pt x="3917" y="890"/>
                  </a:lnTo>
                  <a:lnTo>
                    <a:pt x="3905" y="894"/>
                  </a:lnTo>
                  <a:lnTo>
                    <a:pt x="3891" y="894"/>
                  </a:lnTo>
                  <a:lnTo>
                    <a:pt x="3879" y="890"/>
                  </a:lnTo>
                  <a:lnTo>
                    <a:pt x="3879" y="888"/>
                  </a:lnTo>
                  <a:lnTo>
                    <a:pt x="3881" y="888"/>
                  </a:lnTo>
                  <a:lnTo>
                    <a:pt x="3881" y="888"/>
                  </a:lnTo>
                  <a:lnTo>
                    <a:pt x="3881" y="888"/>
                  </a:lnTo>
                  <a:lnTo>
                    <a:pt x="3881" y="888"/>
                  </a:lnTo>
                  <a:lnTo>
                    <a:pt x="3882" y="887"/>
                  </a:lnTo>
                  <a:lnTo>
                    <a:pt x="3891" y="883"/>
                  </a:lnTo>
                  <a:lnTo>
                    <a:pt x="3900" y="883"/>
                  </a:lnTo>
                  <a:lnTo>
                    <a:pt x="3908" y="883"/>
                  </a:lnTo>
                  <a:lnTo>
                    <a:pt x="3917" y="878"/>
                  </a:lnTo>
                  <a:close/>
                  <a:moveTo>
                    <a:pt x="3851" y="878"/>
                  </a:moveTo>
                  <a:lnTo>
                    <a:pt x="3858" y="880"/>
                  </a:lnTo>
                  <a:lnTo>
                    <a:pt x="3861" y="881"/>
                  </a:lnTo>
                  <a:lnTo>
                    <a:pt x="3865" y="883"/>
                  </a:lnTo>
                  <a:lnTo>
                    <a:pt x="3868" y="887"/>
                  </a:lnTo>
                  <a:lnTo>
                    <a:pt x="3870" y="890"/>
                  </a:lnTo>
                  <a:lnTo>
                    <a:pt x="3867" y="890"/>
                  </a:lnTo>
                  <a:lnTo>
                    <a:pt x="3858" y="894"/>
                  </a:lnTo>
                  <a:lnTo>
                    <a:pt x="3847" y="894"/>
                  </a:lnTo>
                  <a:lnTo>
                    <a:pt x="3835" y="894"/>
                  </a:lnTo>
                  <a:lnTo>
                    <a:pt x="3835" y="887"/>
                  </a:lnTo>
                  <a:lnTo>
                    <a:pt x="3840" y="885"/>
                  </a:lnTo>
                  <a:lnTo>
                    <a:pt x="3846" y="883"/>
                  </a:lnTo>
                  <a:lnTo>
                    <a:pt x="3847" y="881"/>
                  </a:lnTo>
                  <a:lnTo>
                    <a:pt x="3851" y="878"/>
                  </a:lnTo>
                  <a:close/>
                  <a:moveTo>
                    <a:pt x="4411" y="871"/>
                  </a:moveTo>
                  <a:lnTo>
                    <a:pt x="4418" y="874"/>
                  </a:lnTo>
                  <a:lnTo>
                    <a:pt x="4422" y="876"/>
                  </a:lnTo>
                  <a:lnTo>
                    <a:pt x="4427" y="880"/>
                  </a:lnTo>
                  <a:lnTo>
                    <a:pt x="4430" y="883"/>
                  </a:lnTo>
                  <a:lnTo>
                    <a:pt x="4432" y="888"/>
                  </a:lnTo>
                  <a:lnTo>
                    <a:pt x="4436" y="894"/>
                  </a:lnTo>
                  <a:lnTo>
                    <a:pt x="4430" y="894"/>
                  </a:lnTo>
                  <a:lnTo>
                    <a:pt x="4427" y="890"/>
                  </a:lnTo>
                  <a:lnTo>
                    <a:pt x="4422" y="887"/>
                  </a:lnTo>
                  <a:lnTo>
                    <a:pt x="4418" y="883"/>
                  </a:lnTo>
                  <a:lnTo>
                    <a:pt x="4415" y="878"/>
                  </a:lnTo>
                  <a:lnTo>
                    <a:pt x="4411" y="871"/>
                  </a:lnTo>
                  <a:close/>
                  <a:moveTo>
                    <a:pt x="4385" y="864"/>
                  </a:moveTo>
                  <a:lnTo>
                    <a:pt x="4388" y="864"/>
                  </a:lnTo>
                  <a:lnTo>
                    <a:pt x="4390" y="866"/>
                  </a:lnTo>
                  <a:lnTo>
                    <a:pt x="4392" y="866"/>
                  </a:lnTo>
                  <a:lnTo>
                    <a:pt x="4394" y="867"/>
                  </a:lnTo>
                  <a:lnTo>
                    <a:pt x="4394" y="869"/>
                  </a:lnTo>
                  <a:lnTo>
                    <a:pt x="4397" y="871"/>
                  </a:lnTo>
                  <a:lnTo>
                    <a:pt x="4401" y="871"/>
                  </a:lnTo>
                  <a:lnTo>
                    <a:pt x="4401" y="874"/>
                  </a:lnTo>
                  <a:lnTo>
                    <a:pt x="4395" y="873"/>
                  </a:lnTo>
                  <a:lnTo>
                    <a:pt x="4392" y="871"/>
                  </a:lnTo>
                  <a:lnTo>
                    <a:pt x="4390" y="869"/>
                  </a:lnTo>
                  <a:lnTo>
                    <a:pt x="4388" y="867"/>
                  </a:lnTo>
                  <a:lnTo>
                    <a:pt x="4385" y="864"/>
                  </a:lnTo>
                  <a:close/>
                  <a:moveTo>
                    <a:pt x="4081" y="845"/>
                  </a:moveTo>
                  <a:lnTo>
                    <a:pt x="4094" y="848"/>
                  </a:lnTo>
                  <a:lnTo>
                    <a:pt x="4094" y="855"/>
                  </a:lnTo>
                  <a:lnTo>
                    <a:pt x="4085" y="860"/>
                  </a:lnTo>
                  <a:lnTo>
                    <a:pt x="4085" y="860"/>
                  </a:lnTo>
                  <a:lnTo>
                    <a:pt x="4083" y="862"/>
                  </a:lnTo>
                  <a:lnTo>
                    <a:pt x="4083" y="862"/>
                  </a:lnTo>
                  <a:lnTo>
                    <a:pt x="4083" y="862"/>
                  </a:lnTo>
                  <a:lnTo>
                    <a:pt x="4083" y="862"/>
                  </a:lnTo>
                  <a:lnTo>
                    <a:pt x="4081" y="864"/>
                  </a:lnTo>
                  <a:lnTo>
                    <a:pt x="4081" y="845"/>
                  </a:lnTo>
                  <a:close/>
                  <a:moveTo>
                    <a:pt x="4362" y="825"/>
                  </a:moveTo>
                  <a:lnTo>
                    <a:pt x="4373" y="832"/>
                  </a:lnTo>
                  <a:lnTo>
                    <a:pt x="4380" y="843"/>
                  </a:lnTo>
                  <a:lnTo>
                    <a:pt x="4385" y="855"/>
                  </a:lnTo>
                  <a:lnTo>
                    <a:pt x="4382" y="855"/>
                  </a:lnTo>
                  <a:lnTo>
                    <a:pt x="4382" y="860"/>
                  </a:lnTo>
                  <a:lnTo>
                    <a:pt x="4369" y="855"/>
                  </a:lnTo>
                  <a:lnTo>
                    <a:pt x="4366" y="846"/>
                  </a:lnTo>
                  <a:lnTo>
                    <a:pt x="4364" y="838"/>
                  </a:lnTo>
                  <a:lnTo>
                    <a:pt x="4362" y="825"/>
                  </a:lnTo>
                  <a:close/>
                  <a:moveTo>
                    <a:pt x="4331" y="825"/>
                  </a:moveTo>
                  <a:lnTo>
                    <a:pt x="4340" y="825"/>
                  </a:lnTo>
                  <a:lnTo>
                    <a:pt x="4340" y="845"/>
                  </a:lnTo>
                  <a:lnTo>
                    <a:pt x="4305" y="855"/>
                  </a:lnTo>
                  <a:lnTo>
                    <a:pt x="4299" y="853"/>
                  </a:lnTo>
                  <a:lnTo>
                    <a:pt x="4294" y="852"/>
                  </a:lnTo>
                  <a:lnTo>
                    <a:pt x="4287" y="850"/>
                  </a:lnTo>
                  <a:lnTo>
                    <a:pt x="4282" y="848"/>
                  </a:lnTo>
                  <a:lnTo>
                    <a:pt x="4282" y="841"/>
                  </a:lnTo>
                  <a:lnTo>
                    <a:pt x="4303" y="839"/>
                  </a:lnTo>
                  <a:lnTo>
                    <a:pt x="4319" y="834"/>
                  </a:lnTo>
                  <a:lnTo>
                    <a:pt x="4331" y="825"/>
                  </a:lnTo>
                  <a:close/>
                  <a:moveTo>
                    <a:pt x="3966" y="810"/>
                  </a:moveTo>
                  <a:lnTo>
                    <a:pt x="3982" y="810"/>
                  </a:lnTo>
                  <a:lnTo>
                    <a:pt x="3984" y="812"/>
                  </a:lnTo>
                  <a:lnTo>
                    <a:pt x="3984" y="812"/>
                  </a:lnTo>
                  <a:lnTo>
                    <a:pt x="3984" y="812"/>
                  </a:lnTo>
                  <a:lnTo>
                    <a:pt x="3984" y="812"/>
                  </a:lnTo>
                  <a:lnTo>
                    <a:pt x="3984" y="812"/>
                  </a:lnTo>
                  <a:lnTo>
                    <a:pt x="3985" y="813"/>
                  </a:lnTo>
                  <a:lnTo>
                    <a:pt x="3985" y="820"/>
                  </a:lnTo>
                  <a:lnTo>
                    <a:pt x="3966" y="820"/>
                  </a:lnTo>
                  <a:lnTo>
                    <a:pt x="3966" y="810"/>
                  </a:lnTo>
                  <a:close/>
                  <a:moveTo>
                    <a:pt x="3994" y="806"/>
                  </a:moveTo>
                  <a:lnTo>
                    <a:pt x="4032" y="810"/>
                  </a:lnTo>
                  <a:lnTo>
                    <a:pt x="4032" y="813"/>
                  </a:lnTo>
                  <a:lnTo>
                    <a:pt x="4034" y="817"/>
                  </a:lnTo>
                  <a:lnTo>
                    <a:pt x="4034" y="820"/>
                  </a:lnTo>
                  <a:lnTo>
                    <a:pt x="4036" y="825"/>
                  </a:lnTo>
                  <a:lnTo>
                    <a:pt x="4032" y="825"/>
                  </a:lnTo>
                  <a:lnTo>
                    <a:pt x="4022" y="819"/>
                  </a:lnTo>
                  <a:lnTo>
                    <a:pt x="4010" y="817"/>
                  </a:lnTo>
                  <a:lnTo>
                    <a:pt x="3994" y="817"/>
                  </a:lnTo>
                  <a:lnTo>
                    <a:pt x="3994" y="806"/>
                  </a:lnTo>
                  <a:close/>
                  <a:moveTo>
                    <a:pt x="4312" y="798"/>
                  </a:moveTo>
                  <a:lnTo>
                    <a:pt x="4331" y="798"/>
                  </a:lnTo>
                  <a:lnTo>
                    <a:pt x="4340" y="808"/>
                  </a:lnTo>
                  <a:lnTo>
                    <a:pt x="4347" y="819"/>
                  </a:lnTo>
                  <a:lnTo>
                    <a:pt x="4350" y="832"/>
                  </a:lnTo>
                  <a:lnTo>
                    <a:pt x="4347" y="832"/>
                  </a:lnTo>
                  <a:lnTo>
                    <a:pt x="4338" y="824"/>
                  </a:lnTo>
                  <a:lnTo>
                    <a:pt x="4329" y="815"/>
                  </a:lnTo>
                  <a:lnTo>
                    <a:pt x="4319" y="808"/>
                  </a:lnTo>
                  <a:lnTo>
                    <a:pt x="4312" y="798"/>
                  </a:lnTo>
                  <a:close/>
                  <a:moveTo>
                    <a:pt x="4057" y="777"/>
                  </a:moveTo>
                  <a:lnTo>
                    <a:pt x="4067" y="777"/>
                  </a:lnTo>
                  <a:lnTo>
                    <a:pt x="4081" y="778"/>
                  </a:lnTo>
                  <a:lnTo>
                    <a:pt x="4085" y="791"/>
                  </a:lnTo>
                  <a:lnTo>
                    <a:pt x="4090" y="801"/>
                  </a:lnTo>
                  <a:lnTo>
                    <a:pt x="4097" y="810"/>
                  </a:lnTo>
                  <a:lnTo>
                    <a:pt x="4097" y="813"/>
                  </a:lnTo>
                  <a:lnTo>
                    <a:pt x="4100" y="813"/>
                  </a:lnTo>
                  <a:lnTo>
                    <a:pt x="4100" y="810"/>
                  </a:lnTo>
                  <a:lnTo>
                    <a:pt x="4109" y="801"/>
                  </a:lnTo>
                  <a:lnTo>
                    <a:pt x="4118" y="796"/>
                  </a:lnTo>
                  <a:lnTo>
                    <a:pt x="4130" y="792"/>
                  </a:lnTo>
                  <a:lnTo>
                    <a:pt x="4148" y="791"/>
                  </a:lnTo>
                  <a:lnTo>
                    <a:pt x="4162" y="799"/>
                  </a:lnTo>
                  <a:lnTo>
                    <a:pt x="4179" y="806"/>
                  </a:lnTo>
                  <a:lnTo>
                    <a:pt x="4200" y="813"/>
                  </a:lnTo>
                  <a:lnTo>
                    <a:pt x="4217" y="824"/>
                  </a:lnTo>
                  <a:lnTo>
                    <a:pt x="4231" y="834"/>
                  </a:lnTo>
                  <a:lnTo>
                    <a:pt x="4238" y="848"/>
                  </a:lnTo>
                  <a:lnTo>
                    <a:pt x="4251" y="850"/>
                  </a:lnTo>
                  <a:lnTo>
                    <a:pt x="4259" y="853"/>
                  </a:lnTo>
                  <a:lnTo>
                    <a:pt x="4270" y="855"/>
                  </a:lnTo>
                  <a:lnTo>
                    <a:pt x="4270" y="864"/>
                  </a:lnTo>
                  <a:lnTo>
                    <a:pt x="4268" y="864"/>
                  </a:lnTo>
                  <a:lnTo>
                    <a:pt x="4265" y="866"/>
                  </a:lnTo>
                  <a:lnTo>
                    <a:pt x="4261" y="866"/>
                  </a:lnTo>
                  <a:lnTo>
                    <a:pt x="4259" y="867"/>
                  </a:lnTo>
                  <a:lnTo>
                    <a:pt x="4258" y="869"/>
                  </a:lnTo>
                  <a:lnTo>
                    <a:pt x="4259" y="869"/>
                  </a:lnTo>
                  <a:lnTo>
                    <a:pt x="4263" y="871"/>
                  </a:lnTo>
                  <a:lnTo>
                    <a:pt x="4275" y="888"/>
                  </a:lnTo>
                  <a:lnTo>
                    <a:pt x="4292" y="902"/>
                  </a:lnTo>
                  <a:lnTo>
                    <a:pt x="4312" y="913"/>
                  </a:lnTo>
                  <a:lnTo>
                    <a:pt x="4312" y="921"/>
                  </a:lnTo>
                  <a:lnTo>
                    <a:pt x="4289" y="921"/>
                  </a:lnTo>
                  <a:lnTo>
                    <a:pt x="4286" y="918"/>
                  </a:lnTo>
                  <a:lnTo>
                    <a:pt x="4282" y="916"/>
                  </a:lnTo>
                  <a:lnTo>
                    <a:pt x="4279" y="916"/>
                  </a:lnTo>
                  <a:lnTo>
                    <a:pt x="4275" y="916"/>
                  </a:lnTo>
                  <a:lnTo>
                    <a:pt x="4272" y="915"/>
                  </a:lnTo>
                  <a:lnTo>
                    <a:pt x="4266" y="913"/>
                  </a:lnTo>
                  <a:lnTo>
                    <a:pt x="4261" y="909"/>
                  </a:lnTo>
                  <a:lnTo>
                    <a:pt x="4258" y="906"/>
                  </a:lnTo>
                  <a:lnTo>
                    <a:pt x="4254" y="899"/>
                  </a:lnTo>
                  <a:lnTo>
                    <a:pt x="4251" y="894"/>
                  </a:lnTo>
                  <a:lnTo>
                    <a:pt x="4247" y="890"/>
                  </a:lnTo>
                  <a:lnTo>
                    <a:pt x="4233" y="883"/>
                  </a:lnTo>
                  <a:lnTo>
                    <a:pt x="4223" y="883"/>
                  </a:lnTo>
                  <a:lnTo>
                    <a:pt x="4210" y="887"/>
                  </a:lnTo>
                  <a:lnTo>
                    <a:pt x="4198" y="894"/>
                  </a:lnTo>
                  <a:lnTo>
                    <a:pt x="4186" y="897"/>
                  </a:lnTo>
                  <a:lnTo>
                    <a:pt x="4174" y="890"/>
                  </a:lnTo>
                  <a:lnTo>
                    <a:pt x="4162" y="887"/>
                  </a:lnTo>
                  <a:lnTo>
                    <a:pt x="4149" y="885"/>
                  </a:lnTo>
                  <a:lnTo>
                    <a:pt x="4132" y="887"/>
                  </a:lnTo>
                  <a:lnTo>
                    <a:pt x="4134" y="880"/>
                  </a:lnTo>
                  <a:lnTo>
                    <a:pt x="4135" y="874"/>
                  </a:lnTo>
                  <a:lnTo>
                    <a:pt x="4137" y="871"/>
                  </a:lnTo>
                  <a:lnTo>
                    <a:pt x="4139" y="867"/>
                  </a:lnTo>
                  <a:lnTo>
                    <a:pt x="4141" y="864"/>
                  </a:lnTo>
                  <a:lnTo>
                    <a:pt x="4139" y="860"/>
                  </a:lnTo>
                  <a:lnTo>
                    <a:pt x="4130" y="845"/>
                  </a:lnTo>
                  <a:lnTo>
                    <a:pt x="4118" y="836"/>
                  </a:lnTo>
                  <a:lnTo>
                    <a:pt x="4104" y="832"/>
                  </a:lnTo>
                  <a:lnTo>
                    <a:pt x="4088" y="827"/>
                  </a:lnTo>
                  <a:lnTo>
                    <a:pt x="4073" y="824"/>
                  </a:lnTo>
                  <a:lnTo>
                    <a:pt x="4060" y="817"/>
                  </a:lnTo>
                  <a:lnTo>
                    <a:pt x="4052" y="806"/>
                  </a:lnTo>
                  <a:lnTo>
                    <a:pt x="4055" y="805"/>
                  </a:lnTo>
                  <a:lnTo>
                    <a:pt x="4057" y="805"/>
                  </a:lnTo>
                  <a:lnTo>
                    <a:pt x="4059" y="803"/>
                  </a:lnTo>
                  <a:lnTo>
                    <a:pt x="4059" y="803"/>
                  </a:lnTo>
                  <a:lnTo>
                    <a:pt x="4060" y="801"/>
                  </a:lnTo>
                  <a:lnTo>
                    <a:pt x="4062" y="798"/>
                  </a:lnTo>
                  <a:lnTo>
                    <a:pt x="4052" y="796"/>
                  </a:lnTo>
                  <a:lnTo>
                    <a:pt x="4041" y="791"/>
                  </a:lnTo>
                  <a:lnTo>
                    <a:pt x="4032" y="787"/>
                  </a:lnTo>
                  <a:lnTo>
                    <a:pt x="4032" y="778"/>
                  </a:lnTo>
                  <a:lnTo>
                    <a:pt x="4046" y="777"/>
                  </a:lnTo>
                  <a:lnTo>
                    <a:pt x="4057" y="777"/>
                  </a:lnTo>
                  <a:close/>
                  <a:moveTo>
                    <a:pt x="1543" y="756"/>
                  </a:moveTo>
                  <a:lnTo>
                    <a:pt x="1536" y="768"/>
                  </a:lnTo>
                  <a:lnTo>
                    <a:pt x="1531" y="768"/>
                  </a:lnTo>
                  <a:lnTo>
                    <a:pt x="1531" y="771"/>
                  </a:lnTo>
                  <a:lnTo>
                    <a:pt x="1542" y="775"/>
                  </a:lnTo>
                  <a:lnTo>
                    <a:pt x="1552" y="780"/>
                  </a:lnTo>
                  <a:lnTo>
                    <a:pt x="1559" y="785"/>
                  </a:lnTo>
                  <a:lnTo>
                    <a:pt x="1563" y="787"/>
                  </a:lnTo>
                  <a:lnTo>
                    <a:pt x="1564" y="785"/>
                  </a:lnTo>
                  <a:lnTo>
                    <a:pt x="1564" y="784"/>
                  </a:lnTo>
                  <a:lnTo>
                    <a:pt x="1564" y="784"/>
                  </a:lnTo>
                  <a:lnTo>
                    <a:pt x="1566" y="782"/>
                  </a:lnTo>
                  <a:lnTo>
                    <a:pt x="1566" y="778"/>
                  </a:lnTo>
                  <a:lnTo>
                    <a:pt x="1559" y="778"/>
                  </a:lnTo>
                  <a:lnTo>
                    <a:pt x="1557" y="778"/>
                  </a:lnTo>
                  <a:lnTo>
                    <a:pt x="1556" y="777"/>
                  </a:lnTo>
                  <a:lnTo>
                    <a:pt x="1554" y="777"/>
                  </a:lnTo>
                  <a:lnTo>
                    <a:pt x="1550" y="777"/>
                  </a:lnTo>
                  <a:lnTo>
                    <a:pt x="1547" y="775"/>
                  </a:lnTo>
                  <a:lnTo>
                    <a:pt x="1547" y="756"/>
                  </a:lnTo>
                  <a:lnTo>
                    <a:pt x="1543" y="756"/>
                  </a:lnTo>
                  <a:close/>
                  <a:moveTo>
                    <a:pt x="3952" y="743"/>
                  </a:moveTo>
                  <a:lnTo>
                    <a:pt x="3954" y="743"/>
                  </a:lnTo>
                  <a:lnTo>
                    <a:pt x="3954" y="745"/>
                  </a:lnTo>
                  <a:lnTo>
                    <a:pt x="3954" y="747"/>
                  </a:lnTo>
                  <a:lnTo>
                    <a:pt x="3956" y="747"/>
                  </a:lnTo>
                  <a:lnTo>
                    <a:pt x="3956" y="749"/>
                  </a:lnTo>
                  <a:lnTo>
                    <a:pt x="3959" y="749"/>
                  </a:lnTo>
                  <a:lnTo>
                    <a:pt x="3957" y="750"/>
                  </a:lnTo>
                  <a:lnTo>
                    <a:pt x="3957" y="750"/>
                  </a:lnTo>
                  <a:lnTo>
                    <a:pt x="3957" y="750"/>
                  </a:lnTo>
                  <a:lnTo>
                    <a:pt x="3957" y="750"/>
                  </a:lnTo>
                  <a:lnTo>
                    <a:pt x="3956" y="750"/>
                  </a:lnTo>
                  <a:lnTo>
                    <a:pt x="3956" y="752"/>
                  </a:lnTo>
                  <a:lnTo>
                    <a:pt x="3950" y="757"/>
                  </a:lnTo>
                  <a:lnTo>
                    <a:pt x="3945" y="763"/>
                  </a:lnTo>
                  <a:lnTo>
                    <a:pt x="3940" y="768"/>
                  </a:lnTo>
                  <a:lnTo>
                    <a:pt x="3921" y="766"/>
                  </a:lnTo>
                  <a:lnTo>
                    <a:pt x="3905" y="766"/>
                  </a:lnTo>
                  <a:lnTo>
                    <a:pt x="3886" y="768"/>
                  </a:lnTo>
                  <a:lnTo>
                    <a:pt x="3886" y="778"/>
                  </a:lnTo>
                  <a:lnTo>
                    <a:pt x="3889" y="780"/>
                  </a:lnTo>
                  <a:lnTo>
                    <a:pt x="3889" y="782"/>
                  </a:lnTo>
                  <a:lnTo>
                    <a:pt x="3891" y="784"/>
                  </a:lnTo>
                  <a:lnTo>
                    <a:pt x="3893" y="787"/>
                  </a:lnTo>
                  <a:lnTo>
                    <a:pt x="3912" y="780"/>
                  </a:lnTo>
                  <a:lnTo>
                    <a:pt x="3931" y="775"/>
                  </a:lnTo>
                  <a:lnTo>
                    <a:pt x="3931" y="784"/>
                  </a:lnTo>
                  <a:lnTo>
                    <a:pt x="3928" y="784"/>
                  </a:lnTo>
                  <a:lnTo>
                    <a:pt x="3922" y="787"/>
                  </a:lnTo>
                  <a:lnTo>
                    <a:pt x="3915" y="791"/>
                  </a:lnTo>
                  <a:lnTo>
                    <a:pt x="3908" y="794"/>
                  </a:lnTo>
                  <a:lnTo>
                    <a:pt x="3914" y="806"/>
                  </a:lnTo>
                  <a:lnTo>
                    <a:pt x="3921" y="817"/>
                  </a:lnTo>
                  <a:lnTo>
                    <a:pt x="3924" y="827"/>
                  </a:lnTo>
                  <a:lnTo>
                    <a:pt x="3928" y="845"/>
                  </a:lnTo>
                  <a:lnTo>
                    <a:pt x="3924" y="845"/>
                  </a:lnTo>
                  <a:lnTo>
                    <a:pt x="3924" y="848"/>
                  </a:lnTo>
                  <a:lnTo>
                    <a:pt x="3921" y="846"/>
                  </a:lnTo>
                  <a:lnTo>
                    <a:pt x="3919" y="846"/>
                  </a:lnTo>
                  <a:lnTo>
                    <a:pt x="3919" y="846"/>
                  </a:lnTo>
                  <a:lnTo>
                    <a:pt x="3919" y="845"/>
                  </a:lnTo>
                  <a:lnTo>
                    <a:pt x="3917" y="845"/>
                  </a:lnTo>
                  <a:lnTo>
                    <a:pt x="3907" y="834"/>
                  </a:lnTo>
                  <a:lnTo>
                    <a:pt x="3898" y="822"/>
                  </a:lnTo>
                  <a:lnTo>
                    <a:pt x="3889" y="810"/>
                  </a:lnTo>
                  <a:lnTo>
                    <a:pt x="3889" y="848"/>
                  </a:lnTo>
                  <a:lnTo>
                    <a:pt x="3874" y="848"/>
                  </a:lnTo>
                  <a:lnTo>
                    <a:pt x="3874" y="846"/>
                  </a:lnTo>
                  <a:lnTo>
                    <a:pt x="3872" y="846"/>
                  </a:lnTo>
                  <a:lnTo>
                    <a:pt x="3872" y="846"/>
                  </a:lnTo>
                  <a:lnTo>
                    <a:pt x="3872" y="846"/>
                  </a:lnTo>
                  <a:lnTo>
                    <a:pt x="3872" y="845"/>
                  </a:lnTo>
                  <a:lnTo>
                    <a:pt x="3870" y="845"/>
                  </a:lnTo>
                  <a:lnTo>
                    <a:pt x="3872" y="832"/>
                  </a:lnTo>
                  <a:lnTo>
                    <a:pt x="3870" y="825"/>
                  </a:lnTo>
                  <a:lnTo>
                    <a:pt x="3867" y="819"/>
                  </a:lnTo>
                  <a:lnTo>
                    <a:pt x="3863" y="810"/>
                  </a:lnTo>
                  <a:lnTo>
                    <a:pt x="3863" y="801"/>
                  </a:lnTo>
                  <a:lnTo>
                    <a:pt x="3868" y="791"/>
                  </a:lnTo>
                  <a:lnTo>
                    <a:pt x="3875" y="777"/>
                  </a:lnTo>
                  <a:lnTo>
                    <a:pt x="3882" y="764"/>
                  </a:lnTo>
                  <a:lnTo>
                    <a:pt x="3889" y="754"/>
                  </a:lnTo>
                  <a:lnTo>
                    <a:pt x="3893" y="749"/>
                  </a:lnTo>
                  <a:lnTo>
                    <a:pt x="3910" y="754"/>
                  </a:lnTo>
                  <a:lnTo>
                    <a:pt x="3921" y="754"/>
                  </a:lnTo>
                  <a:lnTo>
                    <a:pt x="3929" y="752"/>
                  </a:lnTo>
                  <a:lnTo>
                    <a:pt x="3940" y="749"/>
                  </a:lnTo>
                  <a:lnTo>
                    <a:pt x="3950" y="743"/>
                  </a:lnTo>
                  <a:lnTo>
                    <a:pt x="3952" y="743"/>
                  </a:lnTo>
                  <a:close/>
                  <a:moveTo>
                    <a:pt x="3989" y="740"/>
                  </a:moveTo>
                  <a:lnTo>
                    <a:pt x="3996" y="743"/>
                  </a:lnTo>
                  <a:lnTo>
                    <a:pt x="3999" y="745"/>
                  </a:lnTo>
                  <a:lnTo>
                    <a:pt x="4003" y="749"/>
                  </a:lnTo>
                  <a:lnTo>
                    <a:pt x="4004" y="752"/>
                  </a:lnTo>
                  <a:lnTo>
                    <a:pt x="4004" y="759"/>
                  </a:lnTo>
                  <a:lnTo>
                    <a:pt x="4004" y="768"/>
                  </a:lnTo>
                  <a:lnTo>
                    <a:pt x="4001" y="770"/>
                  </a:lnTo>
                  <a:lnTo>
                    <a:pt x="3999" y="771"/>
                  </a:lnTo>
                  <a:lnTo>
                    <a:pt x="3999" y="773"/>
                  </a:lnTo>
                  <a:lnTo>
                    <a:pt x="3999" y="775"/>
                  </a:lnTo>
                  <a:lnTo>
                    <a:pt x="3999" y="777"/>
                  </a:lnTo>
                  <a:lnTo>
                    <a:pt x="3999" y="778"/>
                  </a:lnTo>
                  <a:lnTo>
                    <a:pt x="3998" y="780"/>
                  </a:lnTo>
                  <a:lnTo>
                    <a:pt x="3994" y="784"/>
                  </a:lnTo>
                  <a:lnTo>
                    <a:pt x="3994" y="775"/>
                  </a:lnTo>
                  <a:lnTo>
                    <a:pt x="3987" y="764"/>
                  </a:lnTo>
                  <a:lnTo>
                    <a:pt x="3987" y="752"/>
                  </a:lnTo>
                  <a:lnTo>
                    <a:pt x="3989" y="740"/>
                  </a:lnTo>
                  <a:close/>
                  <a:moveTo>
                    <a:pt x="3533" y="691"/>
                  </a:moveTo>
                  <a:lnTo>
                    <a:pt x="3566" y="695"/>
                  </a:lnTo>
                  <a:lnTo>
                    <a:pt x="3579" y="710"/>
                  </a:lnTo>
                  <a:lnTo>
                    <a:pt x="3593" y="719"/>
                  </a:lnTo>
                  <a:lnTo>
                    <a:pt x="3607" y="728"/>
                  </a:lnTo>
                  <a:lnTo>
                    <a:pt x="3624" y="736"/>
                  </a:lnTo>
                  <a:lnTo>
                    <a:pt x="3629" y="740"/>
                  </a:lnTo>
                  <a:lnTo>
                    <a:pt x="3629" y="742"/>
                  </a:lnTo>
                  <a:lnTo>
                    <a:pt x="3631" y="742"/>
                  </a:lnTo>
                  <a:lnTo>
                    <a:pt x="3638" y="749"/>
                  </a:lnTo>
                  <a:lnTo>
                    <a:pt x="3650" y="763"/>
                  </a:lnTo>
                  <a:lnTo>
                    <a:pt x="3661" y="778"/>
                  </a:lnTo>
                  <a:lnTo>
                    <a:pt x="3673" y="796"/>
                  </a:lnTo>
                  <a:lnTo>
                    <a:pt x="3690" y="810"/>
                  </a:lnTo>
                  <a:lnTo>
                    <a:pt x="3687" y="827"/>
                  </a:lnTo>
                  <a:lnTo>
                    <a:pt x="3687" y="848"/>
                  </a:lnTo>
                  <a:lnTo>
                    <a:pt x="3701" y="850"/>
                  </a:lnTo>
                  <a:lnTo>
                    <a:pt x="3710" y="853"/>
                  </a:lnTo>
                  <a:lnTo>
                    <a:pt x="3716" y="859"/>
                  </a:lnTo>
                  <a:lnTo>
                    <a:pt x="3725" y="864"/>
                  </a:lnTo>
                  <a:lnTo>
                    <a:pt x="3736" y="864"/>
                  </a:lnTo>
                  <a:lnTo>
                    <a:pt x="3744" y="860"/>
                  </a:lnTo>
                  <a:lnTo>
                    <a:pt x="3751" y="857"/>
                  </a:lnTo>
                  <a:lnTo>
                    <a:pt x="3758" y="855"/>
                  </a:lnTo>
                  <a:lnTo>
                    <a:pt x="3774" y="860"/>
                  </a:lnTo>
                  <a:lnTo>
                    <a:pt x="3792" y="867"/>
                  </a:lnTo>
                  <a:lnTo>
                    <a:pt x="3809" y="876"/>
                  </a:lnTo>
                  <a:lnTo>
                    <a:pt x="3825" y="883"/>
                  </a:lnTo>
                  <a:lnTo>
                    <a:pt x="3823" y="883"/>
                  </a:lnTo>
                  <a:lnTo>
                    <a:pt x="3821" y="885"/>
                  </a:lnTo>
                  <a:lnTo>
                    <a:pt x="3821" y="885"/>
                  </a:lnTo>
                  <a:lnTo>
                    <a:pt x="3819" y="885"/>
                  </a:lnTo>
                  <a:lnTo>
                    <a:pt x="3816" y="887"/>
                  </a:lnTo>
                  <a:lnTo>
                    <a:pt x="3806" y="890"/>
                  </a:lnTo>
                  <a:lnTo>
                    <a:pt x="3786" y="890"/>
                  </a:lnTo>
                  <a:lnTo>
                    <a:pt x="3764" y="887"/>
                  </a:lnTo>
                  <a:lnTo>
                    <a:pt x="3741" y="881"/>
                  </a:lnTo>
                  <a:lnTo>
                    <a:pt x="3716" y="876"/>
                  </a:lnTo>
                  <a:lnTo>
                    <a:pt x="3697" y="871"/>
                  </a:lnTo>
                  <a:lnTo>
                    <a:pt x="3682" y="864"/>
                  </a:lnTo>
                  <a:lnTo>
                    <a:pt x="3675" y="860"/>
                  </a:lnTo>
                  <a:lnTo>
                    <a:pt x="3678" y="857"/>
                  </a:lnTo>
                  <a:lnTo>
                    <a:pt x="3678" y="857"/>
                  </a:lnTo>
                  <a:lnTo>
                    <a:pt x="3680" y="855"/>
                  </a:lnTo>
                  <a:lnTo>
                    <a:pt x="3682" y="852"/>
                  </a:lnTo>
                  <a:lnTo>
                    <a:pt x="3661" y="846"/>
                  </a:lnTo>
                  <a:lnTo>
                    <a:pt x="3643" y="836"/>
                  </a:lnTo>
                  <a:lnTo>
                    <a:pt x="3627" y="820"/>
                  </a:lnTo>
                  <a:lnTo>
                    <a:pt x="3615" y="803"/>
                  </a:lnTo>
                  <a:lnTo>
                    <a:pt x="3603" y="784"/>
                  </a:lnTo>
                  <a:lnTo>
                    <a:pt x="3593" y="764"/>
                  </a:lnTo>
                  <a:lnTo>
                    <a:pt x="3582" y="749"/>
                  </a:lnTo>
                  <a:lnTo>
                    <a:pt x="3572" y="736"/>
                  </a:lnTo>
                  <a:lnTo>
                    <a:pt x="3561" y="728"/>
                  </a:lnTo>
                  <a:lnTo>
                    <a:pt x="3549" y="717"/>
                  </a:lnTo>
                  <a:lnTo>
                    <a:pt x="3538" y="707"/>
                  </a:lnTo>
                  <a:lnTo>
                    <a:pt x="3533" y="691"/>
                  </a:lnTo>
                  <a:close/>
                  <a:moveTo>
                    <a:pt x="3832" y="672"/>
                  </a:moveTo>
                  <a:lnTo>
                    <a:pt x="3842" y="675"/>
                  </a:lnTo>
                  <a:lnTo>
                    <a:pt x="3854" y="682"/>
                  </a:lnTo>
                  <a:lnTo>
                    <a:pt x="3865" y="693"/>
                  </a:lnTo>
                  <a:lnTo>
                    <a:pt x="3870" y="702"/>
                  </a:lnTo>
                  <a:lnTo>
                    <a:pt x="3865" y="705"/>
                  </a:lnTo>
                  <a:lnTo>
                    <a:pt x="3860" y="710"/>
                  </a:lnTo>
                  <a:lnTo>
                    <a:pt x="3854" y="714"/>
                  </a:lnTo>
                  <a:lnTo>
                    <a:pt x="3847" y="717"/>
                  </a:lnTo>
                  <a:lnTo>
                    <a:pt x="3853" y="733"/>
                  </a:lnTo>
                  <a:lnTo>
                    <a:pt x="3860" y="745"/>
                  </a:lnTo>
                  <a:lnTo>
                    <a:pt x="3867" y="759"/>
                  </a:lnTo>
                  <a:lnTo>
                    <a:pt x="3861" y="761"/>
                  </a:lnTo>
                  <a:lnTo>
                    <a:pt x="3858" y="761"/>
                  </a:lnTo>
                  <a:lnTo>
                    <a:pt x="3856" y="761"/>
                  </a:lnTo>
                  <a:lnTo>
                    <a:pt x="3856" y="761"/>
                  </a:lnTo>
                  <a:lnTo>
                    <a:pt x="3854" y="763"/>
                  </a:lnTo>
                  <a:lnTo>
                    <a:pt x="3853" y="764"/>
                  </a:lnTo>
                  <a:lnTo>
                    <a:pt x="3851" y="768"/>
                  </a:lnTo>
                  <a:lnTo>
                    <a:pt x="3842" y="784"/>
                  </a:lnTo>
                  <a:lnTo>
                    <a:pt x="3837" y="803"/>
                  </a:lnTo>
                  <a:lnTo>
                    <a:pt x="3828" y="820"/>
                  </a:lnTo>
                  <a:lnTo>
                    <a:pt x="3823" y="824"/>
                  </a:lnTo>
                  <a:lnTo>
                    <a:pt x="3818" y="824"/>
                  </a:lnTo>
                  <a:lnTo>
                    <a:pt x="3812" y="825"/>
                  </a:lnTo>
                  <a:lnTo>
                    <a:pt x="3806" y="825"/>
                  </a:lnTo>
                  <a:lnTo>
                    <a:pt x="3795" y="819"/>
                  </a:lnTo>
                  <a:lnTo>
                    <a:pt x="3785" y="817"/>
                  </a:lnTo>
                  <a:lnTo>
                    <a:pt x="3772" y="817"/>
                  </a:lnTo>
                  <a:lnTo>
                    <a:pt x="3760" y="815"/>
                  </a:lnTo>
                  <a:lnTo>
                    <a:pt x="3748" y="810"/>
                  </a:lnTo>
                  <a:lnTo>
                    <a:pt x="3736" y="794"/>
                  </a:lnTo>
                  <a:lnTo>
                    <a:pt x="3727" y="773"/>
                  </a:lnTo>
                  <a:lnTo>
                    <a:pt x="3725" y="749"/>
                  </a:lnTo>
                  <a:lnTo>
                    <a:pt x="3734" y="745"/>
                  </a:lnTo>
                  <a:lnTo>
                    <a:pt x="3741" y="745"/>
                  </a:lnTo>
                  <a:lnTo>
                    <a:pt x="3748" y="747"/>
                  </a:lnTo>
                  <a:lnTo>
                    <a:pt x="3755" y="743"/>
                  </a:lnTo>
                  <a:lnTo>
                    <a:pt x="3764" y="729"/>
                  </a:lnTo>
                  <a:lnTo>
                    <a:pt x="3786" y="726"/>
                  </a:lnTo>
                  <a:lnTo>
                    <a:pt x="3790" y="723"/>
                  </a:lnTo>
                  <a:lnTo>
                    <a:pt x="3793" y="719"/>
                  </a:lnTo>
                  <a:lnTo>
                    <a:pt x="3793" y="717"/>
                  </a:lnTo>
                  <a:lnTo>
                    <a:pt x="3795" y="716"/>
                  </a:lnTo>
                  <a:lnTo>
                    <a:pt x="3795" y="714"/>
                  </a:lnTo>
                  <a:lnTo>
                    <a:pt x="3795" y="712"/>
                  </a:lnTo>
                  <a:lnTo>
                    <a:pt x="3797" y="710"/>
                  </a:lnTo>
                  <a:lnTo>
                    <a:pt x="3797" y="710"/>
                  </a:lnTo>
                  <a:lnTo>
                    <a:pt x="3800" y="710"/>
                  </a:lnTo>
                  <a:lnTo>
                    <a:pt x="3806" y="710"/>
                  </a:lnTo>
                  <a:lnTo>
                    <a:pt x="3812" y="710"/>
                  </a:lnTo>
                  <a:lnTo>
                    <a:pt x="3816" y="698"/>
                  </a:lnTo>
                  <a:lnTo>
                    <a:pt x="3821" y="689"/>
                  </a:lnTo>
                  <a:lnTo>
                    <a:pt x="3826" y="681"/>
                  </a:lnTo>
                  <a:lnTo>
                    <a:pt x="3832" y="672"/>
                  </a:lnTo>
                  <a:close/>
                  <a:moveTo>
                    <a:pt x="3329" y="649"/>
                  </a:moveTo>
                  <a:lnTo>
                    <a:pt x="3339" y="656"/>
                  </a:lnTo>
                  <a:lnTo>
                    <a:pt x="3345" y="668"/>
                  </a:lnTo>
                  <a:lnTo>
                    <a:pt x="3345" y="686"/>
                  </a:lnTo>
                  <a:lnTo>
                    <a:pt x="3345" y="688"/>
                  </a:lnTo>
                  <a:lnTo>
                    <a:pt x="3346" y="688"/>
                  </a:lnTo>
                  <a:lnTo>
                    <a:pt x="3348" y="689"/>
                  </a:lnTo>
                  <a:lnTo>
                    <a:pt x="3348" y="689"/>
                  </a:lnTo>
                  <a:lnTo>
                    <a:pt x="3348" y="691"/>
                  </a:lnTo>
                  <a:lnTo>
                    <a:pt x="3348" y="695"/>
                  </a:lnTo>
                  <a:lnTo>
                    <a:pt x="3345" y="695"/>
                  </a:lnTo>
                  <a:lnTo>
                    <a:pt x="3341" y="696"/>
                  </a:lnTo>
                  <a:lnTo>
                    <a:pt x="3339" y="700"/>
                  </a:lnTo>
                  <a:lnTo>
                    <a:pt x="3336" y="702"/>
                  </a:lnTo>
                  <a:lnTo>
                    <a:pt x="3334" y="702"/>
                  </a:lnTo>
                  <a:lnTo>
                    <a:pt x="3332" y="700"/>
                  </a:lnTo>
                  <a:lnTo>
                    <a:pt x="3331" y="700"/>
                  </a:lnTo>
                  <a:lnTo>
                    <a:pt x="3331" y="700"/>
                  </a:lnTo>
                  <a:lnTo>
                    <a:pt x="3329" y="698"/>
                  </a:lnTo>
                  <a:lnTo>
                    <a:pt x="3322" y="684"/>
                  </a:lnTo>
                  <a:lnTo>
                    <a:pt x="3322" y="663"/>
                  </a:lnTo>
                  <a:lnTo>
                    <a:pt x="3324" y="660"/>
                  </a:lnTo>
                  <a:lnTo>
                    <a:pt x="3326" y="658"/>
                  </a:lnTo>
                  <a:lnTo>
                    <a:pt x="3327" y="654"/>
                  </a:lnTo>
                  <a:lnTo>
                    <a:pt x="3329" y="649"/>
                  </a:lnTo>
                  <a:close/>
                  <a:moveTo>
                    <a:pt x="3956" y="628"/>
                  </a:moveTo>
                  <a:lnTo>
                    <a:pt x="3964" y="637"/>
                  </a:lnTo>
                  <a:lnTo>
                    <a:pt x="3970" y="647"/>
                  </a:lnTo>
                  <a:lnTo>
                    <a:pt x="3970" y="663"/>
                  </a:lnTo>
                  <a:lnTo>
                    <a:pt x="3971" y="667"/>
                  </a:lnTo>
                  <a:lnTo>
                    <a:pt x="3973" y="667"/>
                  </a:lnTo>
                  <a:lnTo>
                    <a:pt x="3973" y="668"/>
                  </a:lnTo>
                  <a:lnTo>
                    <a:pt x="3973" y="668"/>
                  </a:lnTo>
                  <a:lnTo>
                    <a:pt x="3971" y="668"/>
                  </a:lnTo>
                  <a:lnTo>
                    <a:pt x="3970" y="672"/>
                  </a:lnTo>
                  <a:lnTo>
                    <a:pt x="3970" y="675"/>
                  </a:lnTo>
                  <a:lnTo>
                    <a:pt x="3968" y="675"/>
                  </a:lnTo>
                  <a:lnTo>
                    <a:pt x="3968" y="677"/>
                  </a:lnTo>
                  <a:lnTo>
                    <a:pt x="3968" y="677"/>
                  </a:lnTo>
                  <a:lnTo>
                    <a:pt x="3968" y="677"/>
                  </a:lnTo>
                  <a:lnTo>
                    <a:pt x="3966" y="677"/>
                  </a:lnTo>
                  <a:lnTo>
                    <a:pt x="3963" y="679"/>
                  </a:lnTo>
                  <a:lnTo>
                    <a:pt x="3961" y="675"/>
                  </a:lnTo>
                  <a:lnTo>
                    <a:pt x="3961" y="674"/>
                  </a:lnTo>
                  <a:lnTo>
                    <a:pt x="3961" y="674"/>
                  </a:lnTo>
                  <a:lnTo>
                    <a:pt x="3961" y="674"/>
                  </a:lnTo>
                  <a:lnTo>
                    <a:pt x="3959" y="674"/>
                  </a:lnTo>
                  <a:lnTo>
                    <a:pt x="3957" y="674"/>
                  </a:lnTo>
                  <a:lnTo>
                    <a:pt x="3956" y="672"/>
                  </a:lnTo>
                  <a:lnTo>
                    <a:pt x="3956" y="675"/>
                  </a:lnTo>
                  <a:lnTo>
                    <a:pt x="3957" y="677"/>
                  </a:lnTo>
                  <a:lnTo>
                    <a:pt x="3959" y="679"/>
                  </a:lnTo>
                  <a:lnTo>
                    <a:pt x="3961" y="681"/>
                  </a:lnTo>
                  <a:lnTo>
                    <a:pt x="3961" y="681"/>
                  </a:lnTo>
                  <a:lnTo>
                    <a:pt x="3959" y="682"/>
                  </a:lnTo>
                  <a:lnTo>
                    <a:pt x="3959" y="684"/>
                  </a:lnTo>
                  <a:lnTo>
                    <a:pt x="3959" y="686"/>
                  </a:lnTo>
                  <a:lnTo>
                    <a:pt x="3959" y="691"/>
                  </a:lnTo>
                  <a:lnTo>
                    <a:pt x="3950" y="691"/>
                  </a:lnTo>
                  <a:lnTo>
                    <a:pt x="3950" y="686"/>
                  </a:lnTo>
                  <a:lnTo>
                    <a:pt x="3945" y="684"/>
                  </a:lnTo>
                  <a:lnTo>
                    <a:pt x="3940" y="681"/>
                  </a:lnTo>
                  <a:lnTo>
                    <a:pt x="3938" y="677"/>
                  </a:lnTo>
                  <a:lnTo>
                    <a:pt x="3936" y="672"/>
                  </a:lnTo>
                  <a:lnTo>
                    <a:pt x="3935" y="667"/>
                  </a:lnTo>
                  <a:lnTo>
                    <a:pt x="3931" y="660"/>
                  </a:lnTo>
                  <a:lnTo>
                    <a:pt x="3926" y="663"/>
                  </a:lnTo>
                  <a:lnTo>
                    <a:pt x="3919" y="667"/>
                  </a:lnTo>
                  <a:lnTo>
                    <a:pt x="3912" y="668"/>
                  </a:lnTo>
                  <a:lnTo>
                    <a:pt x="3905" y="672"/>
                  </a:lnTo>
                  <a:lnTo>
                    <a:pt x="3905" y="663"/>
                  </a:lnTo>
                  <a:lnTo>
                    <a:pt x="3907" y="661"/>
                  </a:lnTo>
                  <a:lnTo>
                    <a:pt x="3907" y="661"/>
                  </a:lnTo>
                  <a:lnTo>
                    <a:pt x="3907" y="660"/>
                  </a:lnTo>
                  <a:lnTo>
                    <a:pt x="3908" y="660"/>
                  </a:lnTo>
                  <a:lnTo>
                    <a:pt x="3908" y="656"/>
                  </a:lnTo>
                  <a:lnTo>
                    <a:pt x="3922" y="651"/>
                  </a:lnTo>
                  <a:lnTo>
                    <a:pt x="3935" y="647"/>
                  </a:lnTo>
                  <a:lnTo>
                    <a:pt x="3947" y="640"/>
                  </a:lnTo>
                  <a:lnTo>
                    <a:pt x="3956" y="628"/>
                  </a:lnTo>
                  <a:close/>
                  <a:moveTo>
                    <a:pt x="1243" y="628"/>
                  </a:moveTo>
                  <a:lnTo>
                    <a:pt x="1245" y="633"/>
                  </a:lnTo>
                  <a:lnTo>
                    <a:pt x="1245" y="635"/>
                  </a:lnTo>
                  <a:lnTo>
                    <a:pt x="1245" y="637"/>
                  </a:lnTo>
                  <a:lnTo>
                    <a:pt x="1245" y="637"/>
                  </a:lnTo>
                  <a:lnTo>
                    <a:pt x="1247" y="639"/>
                  </a:lnTo>
                  <a:lnTo>
                    <a:pt x="1248" y="639"/>
                  </a:lnTo>
                  <a:lnTo>
                    <a:pt x="1252" y="640"/>
                  </a:lnTo>
                  <a:lnTo>
                    <a:pt x="1252" y="633"/>
                  </a:lnTo>
                  <a:lnTo>
                    <a:pt x="1243" y="628"/>
                  </a:lnTo>
                  <a:close/>
                  <a:moveTo>
                    <a:pt x="3870" y="609"/>
                  </a:moveTo>
                  <a:lnTo>
                    <a:pt x="3874" y="613"/>
                  </a:lnTo>
                  <a:lnTo>
                    <a:pt x="3875" y="613"/>
                  </a:lnTo>
                  <a:lnTo>
                    <a:pt x="3877" y="613"/>
                  </a:lnTo>
                  <a:lnTo>
                    <a:pt x="3877" y="614"/>
                  </a:lnTo>
                  <a:lnTo>
                    <a:pt x="3877" y="614"/>
                  </a:lnTo>
                  <a:lnTo>
                    <a:pt x="3877" y="618"/>
                  </a:lnTo>
                  <a:lnTo>
                    <a:pt x="3879" y="621"/>
                  </a:lnTo>
                  <a:lnTo>
                    <a:pt x="3868" y="630"/>
                  </a:lnTo>
                  <a:lnTo>
                    <a:pt x="3861" y="639"/>
                  </a:lnTo>
                  <a:lnTo>
                    <a:pt x="3853" y="646"/>
                  </a:lnTo>
                  <a:lnTo>
                    <a:pt x="3840" y="653"/>
                  </a:lnTo>
                  <a:lnTo>
                    <a:pt x="3840" y="649"/>
                  </a:lnTo>
                  <a:lnTo>
                    <a:pt x="3851" y="637"/>
                  </a:lnTo>
                  <a:lnTo>
                    <a:pt x="3863" y="625"/>
                  </a:lnTo>
                  <a:lnTo>
                    <a:pt x="3870" y="609"/>
                  </a:lnTo>
                  <a:close/>
                  <a:moveTo>
                    <a:pt x="1371" y="517"/>
                  </a:moveTo>
                  <a:lnTo>
                    <a:pt x="1378" y="518"/>
                  </a:lnTo>
                  <a:lnTo>
                    <a:pt x="1386" y="522"/>
                  </a:lnTo>
                  <a:lnTo>
                    <a:pt x="1383" y="524"/>
                  </a:lnTo>
                  <a:lnTo>
                    <a:pt x="1381" y="527"/>
                  </a:lnTo>
                  <a:lnTo>
                    <a:pt x="1378" y="529"/>
                  </a:lnTo>
                  <a:lnTo>
                    <a:pt x="1372" y="529"/>
                  </a:lnTo>
                  <a:lnTo>
                    <a:pt x="1367" y="527"/>
                  </a:lnTo>
                  <a:lnTo>
                    <a:pt x="1362" y="527"/>
                  </a:lnTo>
                  <a:lnTo>
                    <a:pt x="1357" y="527"/>
                  </a:lnTo>
                  <a:lnTo>
                    <a:pt x="1351" y="529"/>
                  </a:lnTo>
                  <a:lnTo>
                    <a:pt x="1351" y="518"/>
                  </a:lnTo>
                  <a:lnTo>
                    <a:pt x="1364" y="517"/>
                  </a:lnTo>
                  <a:lnTo>
                    <a:pt x="1371" y="517"/>
                  </a:lnTo>
                  <a:close/>
                  <a:moveTo>
                    <a:pt x="3912" y="506"/>
                  </a:moveTo>
                  <a:lnTo>
                    <a:pt x="3912" y="524"/>
                  </a:lnTo>
                  <a:lnTo>
                    <a:pt x="3910" y="536"/>
                  </a:lnTo>
                  <a:lnTo>
                    <a:pt x="3907" y="546"/>
                  </a:lnTo>
                  <a:lnTo>
                    <a:pt x="3905" y="564"/>
                  </a:lnTo>
                  <a:lnTo>
                    <a:pt x="3908" y="564"/>
                  </a:lnTo>
                  <a:lnTo>
                    <a:pt x="3908" y="567"/>
                  </a:lnTo>
                  <a:lnTo>
                    <a:pt x="3915" y="567"/>
                  </a:lnTo>
                  <a:lnTo>
                    <a:pt x="3919" y="567"/>
                  </a:lnTo>
                  <a:lnTo>
                    <a:pt x="3922" y="567"/>
                  </a:lnTo>
                  <a:lnTo>
                    <a:pt x="3926" y="569"/>
                  </a:lnTo>
                  <a:lnTo>
                    <a:pt x="3929" y="571"/>
                  </a:lnTo>
                  <a:lnTo>
                    <a:pt x="3936" y="572"/>
                  </a:lnTo>
                  <a:lnTo>
                    <a:pt x="3940" y="585"/>
                  </a:lnTo>
                  <a:lnTo>
                    <a:pt x="3947" y="593"/>
                  </a:lnTo>
                  <a:lnTo>
                    <a:pt x="3956" y="602"/>
                  </a:lnTo>
                  <a:lnTo>
                    <a:pt x="3963" y="614"/>
                  </a:lnTo>
                  <a:lnTo>
                    <a:pt x="3957" y="616"/>
                  </a:lnTo>
                  <a:lnTo>
                    <a:pt x="3954" y="618"/>
                  </a:lnTo>
                  <a:lnTo>
                    <a:pt x="3952" y="618"/>
                  </a:lnTo>
                  <a:lnTo>
                    <a:pt x="3952" y="620"/>
                  </a:lnTo>
                  <a:lnTo>
                    <a:pt x="3952" y="621"/>
                  </a:lnTo>
                  <a:lnTo>
                    <a:pt x="3952" y="621"/>
                  </a:lnTo>
                  <a:lnTo>
                    <a:pt x="3952" y="623"/>
                  </a:lnTo>
                  <a:lnTo>
                    <a:pt x="3949" y="623"/>
                  </a:lnTo>
                  <a:lnTo>
                    <a:pt x="3943" y="625"/>
                  </a:lnTo>
                  <a:lnTo>
                    <a:pt x="3942" y="621"/>
                  </a:lnTo>
                  <a:lnTo>
                    <a:pt x="3942" y="621"/>
                  </a:lnTo>
                  <a:lnTo>
                    <a:pt x="3942" y="620"/>
                  </a:lnTo>
                  <a:lnTo>
                    <a:pt x="3942" y="620"/>
                  </a:lnTo>
                  <a:lnTo>
                    <a:pt x="3940" y="620"/>
                  </a:lnTo>
                  <a:lnTo>
                    <a:pt x="3938" y="620"/>
                  </a:lnTo>
                  <a:lnTo>
                    <a:pt x="3936" y="618"/>
                  </a:lnTo>
                  <a:lnTo>
                    <a:pt x="3933" y="625"/>
                  </a:lnTo>
                  <a:lnTo>
                    <a:pt x="3931" y="630"/>
                  </a:lnTo>
                  <a:lnTo>
                    <a:pt x="3928" y="635"/>
                  </a:lnTo>
                  <a:lnTo>
                    <a:pt x="3922" y="637"/>
                  </a:lnTo>
                  <a:lnTo>
                    <a:pt x="3917" y="640"/>
                  </a:lnTo>
                  <a:lnTo>
                    <a:pt x="3917" y="637"/>
                  </a:lnTo>
                  <a:lnTo>
                    <a:pt x="3914" y="633"/>
                  </a:lnTo>
                  <a:lnTo>
                    <a:pt x="3914" y="630"/>
                  </a:lnTo>
                  <a:lnTo>
                    <a:pt x="3914" y="628"/>
                  </a:lnTo>
                  <a:lnTo>
                    <a:pt x="3914" y="627"/>
                  </a:lnTo>
                  <a:lnTo>
                    <a:pt x="3914" y="627"/>
                  </a:lnTo>
                  <a:lnTo>
                    <a:pt x="3914" y="625"/>
                  </a:lnTo>
                  <a:lnTo>
                    <a:pt x="3912" y="623"/>
                  </a:lnTo>
                  <a:lnTo>
                    <a:pt x="3910" y="623"/>
                  </a:lnTo>
                  <a:lnTo>
                    <a:pt x="3905" y="621"/>
                  </a:lnTo>
                  <a:lnTo>
                    <a:pt x="3905" y="616"/>
                  </a:lnTo>
                  <a:lnTo>
                    <a:pt x="3905" y="611"/>
                  </a:lnTo>
                  <a:lnTo>
                    <a:pt x="3907" y="607"/>
                  </a:lnTo>
                  <a:lnTo>
                    <a:pt x="3907" y="606"/>
                  </a:lnTo>
                  <a:lnTo>
                    <a:pt x="3908" y="604"/>
                  </a:lnTo>
                  <a:lnTo>
                    <a:pt x="3912" y="604"/>
                  </a:lnTo>
                  <a:lnTo>
                    <a:pt x="3917" y="602"/>
                  </a:lnTo>
                  <a:lnTo>
                    <a:pt x="3924" y="602"/>
                  </a:lnTo>
                  <a:lnTo>
                    <a:pt x="3924" y="614"/>
                  </a:lnTo>
                  <a:lnTo>
                    <a:pt x="3936" y="614"/>
                  </a:lnTo>
                  <a:lnTo>
                    <a:pt x="3936" y="611"/>
                  </a:lnTo>
                  <a:lnTo>
                    <a:pt x="3938" y="607"/>
                  </a:lnTo>
                  <a:lnTo>
                    <a:pt x="3940" y="606"/>
                  </a:lnTo>
                  <a:lnTo>
                    <a:pt x="3940" y="604"/>
                  </a:lnTo>
                  <a:lnTo>
                    <a:pt x="3942" y="602"/>
                  </a:lnTo>
                  <a:lnTo>
                    <a:pt x="3943" y="599"/>
                  </a:lnTo>
                  <a:lnTo>
                    <a:pt x="3940" y="599"/>
                  </a:lnTo>
                  <a:lnTo>
                    <a:pt x="3922" y="585"/>
                  </a:lnTo>
                  <a:lnTo>
                    <a:pt x="3902" y="576"/>
                  </a:lnTo>
                  <a:lnTo>
                    <a:pt x="3902" y="583"/>
                  </a:lnTo>
                  <a:lnTo>
                    <a:pt x="3900" y="588"/>
                  </a:lnTo>
                  <a:lnTo>
                    <a:pt x="3898" y="593"/>
                  </a:lnTo>
                  <a:lnTo>
                    <a:pt x="3898" y="599"/>
                  </a:lnTo>
                  <a:lnTo>
                    <a:pt x="3896" y="597"/>
                  </a:lnTo>
                  <a:lnTo>
                    <a:pt x="3895" y="595"/>
                  </a:lnTo>
                  <a:lnTo>
                    <a:pt x="3895" y="595"/>
                  </a:lnTo>
                  <a:lnTo>
                    <a:pt x="3895" y="593"/>
                  </a:lnTo>
                  <a:lnTo>
                    <a:pt x="3893" y="592"/>
                  </a:lnTo>
                  <a:lnTo>
                    <a:pt x="3888" y="579"/>
                  </a:lnTo>
                  <a:lnTo>
                    <a:pt x="3882" y="564"/>
                  </a:lnTo>
                  <a:lnTo>
                    <a:pt x="3881" y="544"/>
                  </a:lnTo>
                  <a:lnTo>
                    <a:pt x="3882" y="527"/>
                  </a:lnTo>
                  <a:lnTo>
                    <a:pt x="3889" y="510"/>
                  </a:lnTo>
                  <a:lnTo>
                    <a:pt x="3895" y="508"/>
                  </a:lnTo>
                  <a:lnTo>
                    <a:pt x="3900" y="506"/>
                  </a:lnTo>
                  <a:lnTo>
                    <a:pt x="3905" y="506"/>
                  </a:lnTo>
                  <a:lnTo>
                    <a:pt x="3912" y="506"/>
                  </a:lnTo>
                  <a:close/>
                  <a:moveTo>
                    <a:pt x="1306" y="506"/>
                  </a:moveTo>
                  <a:lnTo>
                    <a:pt x="1313" y="506"/>
                  </a:lnTo>
                  <a:lnTo>
                    <a:pt x="1320" y="508"/>
                  </a:lnTo>
                  <a:lnTo>
                    <a:pt x="1327" y="508"/>
                  </a:lnTo>
                  <a:lnTo>
                    <a:pt x="1332" y="510"/>
                  </a:lnTo>
                  <a:lnTo>
                    <a:pt x="1332" y="518"/>
                  </a:lnTo>
                  <a:lnTo>
                    <a:pt x="1306" y="518"/>
                  </a:lnTo>
                  <a:lnTo>
                    <a:pt x="1306" y="506"/>
                  </a:lnTo>
                  <a:close/>
                  <a:moveTo>
                    <a:pt x="1159" y="506"/>
                  </a:moveTo>
                  <a:lnTo>
                    <a:pt x="1168" y="508"/>
                  </a:lnTo>
                  <a:lnTo>
                    <a:pt x="1173" y="511"/>
                  </a:lnTo>
                  <a:lnTo>
                    <a:pt x="1180" y="515"/>
                  </a:lnTo>
                  <a:lnTo>
                    <a:pt x="1186" y="518"/>
                  </a:lnTo>
                  <a:lnTo>
                    <a:pt x="1186" y="522"/>
                  </a:lnTo>
                  <a:lnTo>
                    <a:pt x="1179" y="522"/>
                  </a:lnTo>
                  <a:lnTo>
                    <a:pt x="1173" y="524"/>
                  </a:lnTo>
                  <a:lnTo>
                    <a:pt x="1168" y="525"/>
                  </a:lnTo>
                  <a:lnTo>
                    <a:pt x="1165" y="524"/>
                  </a:lnTo>
                  <a:lnTo>
                    <a:pt x="1158" y="524"/>
                  </a:lnTo>
                  <a:lnTo>
                    <a:pt x="1152" y="522"/>
                  </a:lnTo>
                  <a:lnTo>
                    <a:pt x="1152" y="510"/>
                  </a:lnTo>
                  <a:lnTo>
                    <a:pt x="1154" y="510"/>
                  </a:lnTo>
                  <a:lnTo>
                    <a:pt x="1156" y="508"/>
                  </a:lnTo>
                  <a:lnTo>
                    <a:pt x="1158" y="508"/>
                  </a:lnTo>
                  <a:lnTo>
                    <a:pt x="1158" y="508"/>
                  </a:lnTo>
                  <a:lnTo>
                    <a:pt x="1159" y="506"/>
                  </a:lnTo>
                  <a:close/>
                  <a:moveTo>
                    <a:pt x="1220" y="490"/>
                  </a:moveTo>
                  <a:lnTo>
                    <a:pt x="1241" y="492"/>
                  </a:lnTo>
                  <a:lnTo>
                    <a:pt x="1259" y="496"/>
                  </a:lnTo>
                  <a:lnTo>
                    <a:pt x="1273" y="501"/>
                  </a:lnTo>
                  <a:lnTo>
                    <a:pt x="1290" y="506"/>
                  </a:lnTo>
                  <a:lnTo>
                    <a:pt x="1290" y="515"/>
                  </a:lnTo>
                  <a:lnTo>
                    <a:pt x="1283" y="515"/>
                  </a:lnTo>
                  <a:lnTo>
                    <a:pt x="1280" y="517"/>
                  </a:lnTo>
                  <a:lnTo>
                    <a:pt x="1275" y="518"/>
                  </a:lnTo>
                  <a:lnTo>
                    <a:pt x="1271" y="520"/>
                  </a:lnTo>
                  <a:lnTo>
                    <a:pt x="1268" y="522"/>
                  </a:lnTo>
                  <a:lnTo>
                    <a:pt x="1262" y="522"/>
                  </a:lnTo>
                  <a:lnTo>
                    <a:pt x="1262" y="520"/>
                  </a:lnTo>
                  <a:lnTo>
                    <a:pt x="1262" y="518"/>
                  </a:lnTo>
                  <a:lnTo>
                    <a:pt x="1261" y="517"/>
                  </a:lnTo>
                  <a:lnTo>
                    <a:pt x="1259" y="515"/>
                  </a:lnTo>
                  <a:lnTo>
                    <a:pt x="1257" y="513"/>
                  </a:lnTo>
                  <a:lnTo>
                    <a:pt x="1255" y="515"/>
                  </a:lnTo>
                  <a:lnTo>
                    <a:pt x="1252" y="525"/>
                  </a:lnTo>
                  <a:lnTo>
                    <a:pt x="1247" y="525"/>
                  </a:lnTo>
                  <a:lnTo>
                    <a:pt x="1234" y="524"/>
                  </a:lnTo>
                  <a:lnTo>
                    <a:pt x="1220" y="522"/>
                  </a:lnTo>
                  <a:lnTo>
                    <a:pt x="1210" y="522"/>
                  </a:lnTo>
                  <a:lnTo>
                    <a:pt x="1205" y="510"/>
                  </a:lnTo>
                  <a:lnTo>
                    <a:pt x="1214" y="510"/>
                  </a:lnTo>
                  <a:lnTo>
                    <a:pt x="1220" y="510"/>
                  </a:lnTo>
                  <a:lnTo>
                    <a:pt x="1227" y="508"/>
                  </a:lnTo>
                  <a:lnTo>
                    <a:pt x="1233" y="506"/>
                  </a:lnTo>
                  <a:lnTo>
                    <a:pt x="1229" y="504"/>
                  </a:lnTo>
                  <a:lnTo>
                    <a:pt x="1226" y="501"/>
                  </a:lnTo>
                  <a:lnTo>
                    <a:pt x="1224" y="499"/>
                  </a:lnTo>
                  <a:lnTo>
                    <a:pt x="1222" y="496"/>
                  </a:lnTo>
                  <a:lnTo>
                    <a:pt x="1220" y="490"/>
                  </a:lnTo>
                  <a:close/>
                  <a:moveTo>
                    <a:pt x="100" y="452"/>
                  </a:moveTo>
                  <a:lnTo>
                    <a:pt x="116" y="457"/>
                  </a:lnTo>
                  <a:lnTo>
                    <a:pt x="128" y="464"/>
                  </a:lnTo>
                  <a:lnTo>
                    <a:pt x="142" y="471"/>
                  </a:lnTo>
                  <a:lnTo>
                    <a:pt x="142" y="475"/>
                  </a:lnTo>
                  <a:lnTo>
                    <a:pt x="138" y="475"/>
                  </a:lnTo>
                  <a:lnTo>
                    <a:pt x="126" y="483"/>
                  </a:lnTo>
                  <a:lnTo>
                    <a:pt x="114" y="485"/>
                  </a:lnTo>
                  <a:lnTo>
                    <a:pt x="103" y="487"/>
                  </a:lnTo>
                  <a:lnTo>
                    <a:pt x="91" y="490"/>
                  </a:lnTo>
                  <a:lnTo>
                    <a:pt x="91" y="487"/>
                  </a:lnTo>
                  <a:lnTo>
                    <a:pt x="88" y="487"/>
                  </a:lnTo>
                  <a:lnTo>
                    <a:pt x="91" y="478"/>
                  </a:lnTo>
                  <a:lnTo>
                    <a:pt x="91" y="469"/>
                  </a:lnTo>
                  <a:lnTo>
                    <a:pt x="91" y="457"/>
                  </a:lnTo>
                  <a:lnTo>
                    <a:pt x="95" y="455"/>
                  </a:lnTo>
                  <a:lnTo>
                    <a:pt x="96" y="455"/>
                  </a:lnTo>
                  <a:lnTo>
                    <a:pt x="96" y="454"/>
                  </a:lnTo>
                  <a:lnTo>
                    <a:pt x="98" y="454"/>
                  </a:lnTo>
                  <a:lnTo>
                    <a:pt x="100" y="452"/>
                  </a:lnTo>
                  <a:close/>
                  <a:moveTo>
                    <a:pt x="1098" y="441"/>
                  </a:moveTo>
                  <a:lnTo>
                    <a:pt x="1126" y="447"/>
                  </a:lnTo>
                  <a:lnTo>
                    <a:pt x="1151" y="455"/>
                  </a:lnTo>
                  <a:lnTo>
                    <a:pt x="1170" y="464"/>
                  </a:lnTo>
                  <a:lnTo>
                    <a:pt x="1189" y="473"/>
                  </a:lnTo>
                  <a:lnTo>
                    <a:pt x="1210" y="483"/>
                  </a:lnTo>
                  <a:lnTo>
                    <a:pt x="1210" y="490"/>
                  </a:lnTo>
                  <a:lnTo>
                    <a:pt x="1201" y="490"/>
                  </a:lnTo>
                  <a:lnTo>
                    <a:pt x="1191" y="494"/>
                  </a:lnTo>
                  <a:lnTo>
                    <a:pt x="1179" y="497"/>
                  </a:lnTo>
                  <a:lnTo>
                    <a:pt x="1166" y="499"/>
                  </a:lnTo>
                  <a:lnTo>
                    <a:pt x="1168" y="496"/>
                  </a:lnTo>
                  <a:lnTo>
                    <a:pt x="1168" y="492"/>
                  </a:lnTo>
                  <a:lnTo>
                    <a:pt x="1168" y="490"/>
                  </a:lnTo>
                  <a:lnTo>
                    <a:pt x="1168" y="489"/>
                  </a:lnTo>
                  <a:lnTo>
                    <a:pt x="1168" y="487"/>
                  </a:lnTo>
                  <a:lnTo>
                    <a:pt x="1166" y="483"/>
                  </a:lnTo>
                  <a:lnTo>
                    <a:pt x="1140" y="476"/>
                  </a:lnTo>
                  <a:lnTo>
                    <a:pt x="1116" y="464"/>
                  </a:lnTo>
                  <a:lnTo>
                    <a:pt x="1090" y="452"/>
                  </a:lnTo>
                  <a:lnTo>
                    <a:pt x="1084" y="457"/>
                  </a:lnTo>
                  <a:lnTo>
                    <a:pt x="1081" y="462"/>
                  </a:lnTo>
                  <a:lnTo>
                    <a:pt x="1076" y="468"/>
                  </a:lnTo>
                  <a:lnTo>
                    <a:pt x="1070" y="466"/>
                  </a:lnTo>
                  <a:lnTo>
                    <a:pt x="1063" y="462"/>
                  </a:lnTo>
                  <a:lnTo>
                    <a:pt x="1060" y="461"/>
                  </a:lnTo>
                  <a:lnTo>
                    <a:pt x="1067" y="461"/>
                  </a:lnTo>
                  <a:lnTo>
                    <a:pt x="1072" y="454"/>
                  </a:lnTo>
                  <a:lnTo>
                    <a:pt x="1077" y="450"/>
                  </a:lnTo>
                  <a:lnTo>
                    <a:pt x="1083" y="445"/>
                  </a:lnTo>
                  <a:lnTo>
                    <a:pt x="1088" y="445"/>
                  </a:lnTo>
                  <a:lnTo>
                    <a:pt x="1091" y="443"/>
                  </a:lnTo>
                  <a:lnTo>
                    <a:pt x="1095" y="443"/>
                  </a:lnTo>
                  <a:lnTo>
                    <a:pt x="1098" y="441"/>
                  </a:lnTo>
                  <a:close/>
                  <a:moveTo>
                    <a:pt x="77" y="433"/>
                  </a:moveTo>
                  <a:lnTo>
                    <a:pt x="91" y="438"/>
                  </a:lnTo>
                  <a:lnTo>
                    <a:pt x="91" y="441"/>
                  </a:lnTo>
                  <a:lnTo>
                    <a:pt x="88" y="441"/>
                  </a:lnTo>
                  <a:lnTo>
                    <a:pt x="77" y="445"/>
                  </a:lnTo>
                  <a:lnTo>
                    <a:pt x="67" y="445"/>
                  </a:lnTo>
                  <a:lnTo>
                    <a:pt x="58" y="445"/>
                  </a:lnTo>
                  <a:lnTo>
                    <a:pt x="58" y="438"/>
                  </a:lnTo>
                  <a:lnTo>
                    <a:pt x="63" y="436"/>
                  </a:lnTo>
                  <a:lnTo>
                    <a:pt x="68" y="436"/>
                  </a:lnTo>
                  <a:lnTo>
                    <a:pt x="72" y="435"/>
                  </a:lnTo>
                  <a:lnTo>
                    <a:pt x="77" y="433"/>
                  </a:lnTo>
                  <a:close/>
                  <a:moveTo>
                    <a:pt x="0" y="417"/>
                  </a:moveTo>
                  <a:lnTo>
                    <a:pt x="6" y="419"/>
                  </a:lnTo>
                  <a:lnTo>
                    <a:pt x="13" y="419"/>
                  </a:lnTo>
                  <a:lnTo>
                    <a:pt x="16" y="419"/>
                  </a:lnTo>
                  <a:lnTo>
                    <a:pt x="21" y="421"/>
                  </a:lnTo>
                  <a:lnTo>
                    <a:pt x="27" y="422"/>
                  </a:lnTo>
                  <a:lnTo>
                    <a:pt x="27" y="429"/>
                  </a:lnTo>
                  <a:lnTo>
                    <a:pt x="23" y="429"/>
                  </a:lnTo>
                  <a:lnTo>
                    <a:pt x="18" y="431"/>
                  </a:lnTo>
                  <a:lnTo>
                    <a:pt x="13" y="433"/>
                  </a:lnTo>
                  <a:lnTo>
                    <a:pt x="7" y="433"/>
                  </a:lnTo>
                  <a:lnTo>
                    <a:pt x="0" y="433"/>
                  </a:lnTo>
                  <a:lnTo>
                    <a:pt x="0" y="417"/>
                  </a:lnTo>
                  <a:close/>
                  <a:moveTo>
                    <a:pt x="1152" y="414"/>
                  </a:moveTo>
                  <a:lnTo>
                    <a:pt x="1158" y="417"/>
                  </a:lnTo>
                  <a:lnTo>
                    <a:pt x="1161" y="421"/>
                  </a:lnTo>
                  <a:lnTo>
                    <a:pt x="1165" y="424"/>
                  </a:lnTo>
                  <a:lnTo>
                    <a:pt x="1166" y="429"/>
                  </a:lnTo>
                  <a:lnTo>
                    <a:pt x="1166" y="438"/>
                  </a:lnTo>
                  <a:lnTo>
                    <a:pt x="1159" y="438"/>
                  </a:lnTo>
                  <a:lnTo>
                    <a:pt x="1158" y="433"/>
                  </a:lnTo>
                  <a:lnTo>
                    <a:pt x="1156" y="431"/>
                  </a:lnTo>
                  <a:lnTo>
                    <a:pt x="1154" y="428"/>
                  </a:lnTo>
                  <a:lnTo>
                    <a:pt x="1152" y="424"/>
                  </a:lnTo>
                  <a:lnTo>
                    <a:pt x="1152" y="421"/>
                  </a:lnTo>
                  <a:lnTo>
                    <a:pt x="1152" y="414"/>
                  </a:lnTo>
                  <a:close/>
                  <a:moveTo>
                    <a:pt x="3905" y="407"/>
                  </a:moveTo>
                  <a:lnTo>
                    <a:pt x="3908" y="410"/>
                  </a:lnTo>
                  <a:lnTo>
                    <a:pt x="3910" y="414"/>
                  </a:lnTo>
                  <a:lnTo>
                    <a:pt x="3912" y="417"/>
                  </a:lnTo>
                  <a:lnTo>
                    <a:pt x="3912" y="422"/>
                  </a:lnTo>
                  <a:lnTo>
                    <a:pt x="3912" y="429"/>
                  </a:lnTo>
                  <a:lnTo>
                    <a:pt x="3898" y="464"/>
                  </a:lnTo>
                  <a:lnTo>
                    <a:pt x="3891" y="455"/>
                  </a:lnTo>
                  <a:lnTo>
                    <a:pt x="3888" y="447"/>
                  </a:lnTo>
                  <a:lnTo>
                    <a:pt x="3886" y="433"/>
                  </a:lnTo>
                  <a:lnTo>
                    <a:pt x="3905" y="407"/>
                  </a:lnTo>
                  <a:close/>
                  <a:moveTo>
                    <a:pt x="1144" y="391"/>
                  </a:moveTo>
                  <a:lnTo>
                    <a:pt x="1166" y="391"/>
                  </a:lnTo>
                  <a:lnTo>
                    <a:pt x="1168" y="394"/>
                  </a:lnTo>
                  <a:lnTo>
                    <a:pt x="1172" y="396"/>
                  </a:lnTo>
                  <a:lnTo>
                    <a:pt x="1172" y="398"/>
                  </a:lnTo>
                  <a:lnTo>
                    <a:pt x="1173" y="400"/>
                  </a:lnTo>
                  <a:lnTo>
                    <a:pt x="1173" y="401"/>
                  </a:lnTo>
                  <a:lnTo>
                    <a:pt x="1172" y="403"/>
                  </a:lnTo>
                  <a:lnTo>
                    <a:pt x="1172" y="407"/>
                  </a:lnTo>
                  <a:lnTo>
                    <a:pt x="1166" y="403"/>
                  </a:lnTo>
                  <a:lnTo>
                    <a:pt x="1161" y="401"/>
                  </a:lnTo>
                  <a:lnTo>
                    <a:pt x="1156" y="401"/>
                  </a:lnTo>
                  <a:lnTo>
                    <a:pt x="1152" y="400"/>
                  </a:lnTo>
                  <a:lnTo>
                    <a:pt x="1149" y="400"/>
                  </a:lnTo>
                  <a:lnTo>
                    <a:pt x="1145" y="398"/>
                  </a:lnTo>
                  <a:lnTo>
                    <a:pt x="1144" y="394"/>
                  </a:lnTo>
                  <a:lnTo>
                    <a:pt x="1144" y="391"/>
                  </a:lnTo>
                  <a:close/>
                  <a:moveTo>
                    <a:pt x="4017" y="326"/>
                  </a:moveTo>
                  <a:lnTo>
                    <a:pt x="4020" y="328"/>
                  </a:lnTo>
                  <a:lnTo>
                    <a:pt x="4022" y="328"/>
                  </a:lnTo>
                  <a:lnTo>
                    <a:pt x="4022" y="328"/>
                  </a:lnTo>
                  <a:lnTo>
                    <a:pt x="4022" y="330"/>
                  </a:lnTo>
                  <a:lnTo>
                    <a:pt x="4022" y="330"/>
                  </a:lnTo>
                  <a:lnTo>
                    <a:pt x="4024" y="333"/>
                  </a:lnTo>
                  <a:lnTo>
                    <a:pt x="4024" y="337"/>
                  </a:lnTo>
                  <a:lnTo>
                    <a:pt x="4022" y="342"/>
                  </a:lnTo>
                  <a:lnTo>
                    <a:pt x="4018" y="347"/>
                  </a:lnTo>
                  <a:lnTo>
                    <a:pt x="4017" y="352"/>
                  </a:lnTo>
                  <a:lnTo>
                    <a:pt x="4008" y="352"/>
                  </a:lnTo>
                  <a:lnTo>
                    <a:pt x="4008" y="340"/>
                  </a:lnTo>
                  <a:lnTo>
                    <a:pt x="4011" y="339"/>
                  </a:lnTo>
                  <a:lnTo>
                    <a:pt x="4013" y="335"/>
                  </a:lnTo>
                  <a:lnTo>
                    <a:pt x="4015" y="332"/>
                  </a:lnTo>
                  <a:lnTo>
                    <a:pt x="4017" y="326"/>
                  </a:lnTo>
                  <a:close/>
                  <a:moveTo>
                    <a:pt x="3970" y="279"/>
                  </a:moveTo>
                  <a:lnTo>
                    <a:pt x="3982" y="279"/>
                  </a:lnTo>
                  <a:lnTo>
                    <a:pt x="3982" y="291"/>
                  </a:lnTo>
                  <a:lnTo>
                    <a:pt x="3966" y="291"/>
                  </a:lnTo>
                  <a:lnTo>
                    <a:pt x="3966" y="283"/>
                  </a:lnTo>
                  <a:lnTo>
                    <a:pt x="3970" y="283"/>
                  </a:lnTo>
                  <a:lnTo>
                    <a:pt x="3970" y="279"/>
                  </a:lnTo>
                  <a:close/>
                  <a:moveTo>
                    <a:pt x="2699" y="246"/>
                  </a:moveTo>
                  <a:lnTo>
                    <a:pt x="2708" y="246"/>
                  </a:lnTo>
                  <a:lnTo>
                    <a:pt x="2704" y="251"/>
                  </a:lnTo>
                  <a:lnTo>
                    <a:pt x="2701" y="255"/>
                  </a:lnTo>
                  <a:lnTo>
                    <a:pt x="2697" y="258"/>
                  </a:lnTo>
                  <a:lnTo>
                    <a:pt x="2694" y="262"/>
                  </a:lnTo>
                  <a:lnTo>
                    <a:pt x="2688" y="265"/>
                  </a:lnTo>
                  <a:lnTo>
                    <a:pt x="2685" y="265"/>
                  </a:lnTo>
                  <a:lnTo>
                    <a:pt x="2685" y="267"/>
                  </a:lnTo>
                  <a:lnTo>
                    <a:pt x="2683" y="267"/>
                  </a:lnTo>
                  <a:lnTo>
                    <a:pt x="2680" y="267"/>
                  </a:lnTo>
                  <a:lnTo>
                    <a:pt x="2676" y="269"/>
                  </a:lnTo>
                  <a:lnTo>
                    <a:pt x="2673" y="256"/>
                  </a:lnTo>
                  <a:lnTo>
                    <a:pt x="2680" y="255"/>
                  </a:lnTo>
                  <a:lnTo>
                    <a:pt x="2687" y="251"/>
                  </a:lnTo>
                  <a:lnTo>
                    <a:pt x="2694" y="249"/>
                  </a:lnTo>
                  <a:lnTo>
                    <a:pt x="2699" y="246"/>
                  </a:lnTo>
                  <a:close/>
                  <a:moveTo>
                    <a:pt x="2554" y="241"/>
                  </a:moveTo>
                  <a:lnTo>
                    <a:pt x="2563" y="244"/>
                  </a:lnTo>
                  <a:lnTo>
                    <a:pt x="2573" y="248"/>
                  </a:lnTo>
                  <a:lnTo>
                    <a:pt x="2585" y="251"/>
                  </a:lnTo>
                  <a:lnTo>
                    <a:pt x="2592" y="256"/>
                  </a:lnTo>
                  <a:lnTo>
                    <a:pt x="2564" y="256"/>
                  </a:lnTo>
                  <a:lnTo>
                    <a:pt x="2561" y="255"/>
                  </a:lnTo>
                  <a:lnTo>
                    <a:pt x="2559" y="255"/>
                  </a:lnTo>
                  <a:lnTo>
                    <a:pt x="2556" y="253"/>
                  </a:lnTo>
                  <a:lnTo>
                    <a:pt x="2549" y="253"/>
                  </a:lnTo>
                  <a:lnTo>
                    <a:pt x="2549" y="249"/>
                  </a:lnTo>
                  <a:lnTo>
                    <a:pt x="2551" y="248"/>
                  </a:lnTo>
                  <a:lnTo>
                    <a:pt x="2552" y="246"/>
                  </a:lnTo>
                  <a:lnTo>
                    <a:pt x="2552" y="246"/>
                  </a:lnTo>
                  <a:lnTo>
                    <a:pt x="2552" y="244"/>
                  </a:lnTo>
                  <a:lnTo>
                    <a:pt x="2554" y="241"/>
                  </a:lnTo>
                  <a:close/>
                  <a:moveTo>
                    <a:pt x="2242" y="173"/>
                  </a:moveTo>
                  <a:lnTo>
                    <a:pt x="2266" y="173"/>
                  </a:lnTo>
                  <a:lnTo>
                    <a:pt x="2266" y="176"/>
                  </a:lnTo>
                  <a:lnTo>
                    <a:pt x="2261" y="178"/>
                  </a:lnTo>
                  <a:lnTo>
                    <a:pt x="2259" y="180"/>
                  </a:lnTo>
                  <a:lnTo>
                    <a:pt x="2256" y="181"/>
                  </a:lnTo>
                  <a:lnTo>
                    <a:pt x="2252" y="183"/>
                  </a:lnTo>
                  <a:lnTo>
                    <a:pt x="2247" y="183"/>
                  </a:lnTo>
                  <a:lnTo>
                    <a:pt x="2242" y="173"/>
                  </a:lnTo>
                  <a:close/>
                  <a:moveTo>
                    <a:pt x="2612" y="153"/>
                  </a:moveTo>
                  <a:lnTo>
                    <a:pt x="2610" y="155"/>
                  </a:lnTo>
                  <a:lnTo>
                    <a:pt x="2608" y="157"/>
                  </a:lnTo>
                  <a:lnTo>
                    <a:pt x="2606" y="157"/>
                  </a:lnTo>
                  <a:lnTo>
                    <a:pt x="2606" y="159"/>
                  </a:lnTo>
                  <a:lnTo>
                    <a:pt x="2605" y="160"/>
                  </a:lnTo>
                  <a:lnTo>
                    <a:pt x="2603" y="164"/>
                  </a:lnTo>
                  <a:lnTo>
                    <a:pt x="2606" y="164"/>
                  </a:lnTo>
                  <a:lnTo>
                    <a:pt x="2612" y="162"/>
                  </a:lnTo>
                  <a:lnTo>
                    <a:pt x="2615" y="160"/>
                  </a:lnTo>
                  <a:lnTo>
                    <a:pt x="2619" y="159"/>
                  </a:lnTo>
                  <a:lnTo>
                    <a:pt x="2622" y="157"/>
                  </a:lnTo>
                  <a:lnTo>
                    <a:pt x="2626" y="153"/>
                  </a:lnTo>
                  <a:lnTo>
                    <a:pt x="2612" y="153"/>
                  </a:lnTo>
                  <a:close/>
                  <a:moveTo>
                    <a:pt x="2362" y="153"/>
                  </a:moveTo>
                  <a:lnTo>
                    <a:pt x="2364" y="169"/>
                  </a:lnTo>
                  <a:lnTo>
                    <a:pt x="2366" y="188"/>
                  </a:lnTo>
                  <a:lnTo>
                    <a:pt x="2357" y="188"/>
                  </a:lnTo>
                  <a:lnTo>
                    <a:pt x="2355" y="190"/>
                  </a:lnTo>
                  <a:lnTo>
                    <a:pt x="2352" y="190"/>
                  </a:lnTo>
                  <a:lnTo>
                    <a:pt x="2348" y="190"/>
                  </a:lnTo>
                  <a:lnTo>
                    <a:pt x="2343" y="192"/>
                  </a:lnTo>
                  <a:lnTo>
                    <a:pt x="2341" y="178"/>
                  </a:lnTo>
                  <a:lnTo>
                    <a:pt x="2341" y="164"/>
                  </a:lnTo>
                  <a:lnTo>
                    <a:pt x="2343" y="157"/>
                  </a:lnTo>
                  <a:lnTo>
                    <a:pt x="2346" y="155"/>
                  </a:lnTo>
                  <a:lnTo>
                    <a:pt x="2350" y="153"/>
                  </a:lnTo>
                  <a:lnTo>
                    <a:pt x="2355" y="153"/>
                  </a:lnTo>
                  <a:lnTo>
                    <a:pt x="2362" y="153"/>
                  </a:lnTo>
                  <a:close/>
                  <a:moveTo>
                    <a:pt x="2353" y="119"/>
                  </a:moveTo>
                  <a:lnTo>
                    <a:pt x="2362" y="119"/>
                  </a:lnTo>
                  <a:lnTo>
                    <a:pt x="2360" y="126"/>
                  </a:lnTo>
                  <a:lnTo>
                    <a:pt x="2360" y="131"/>
                  </a:lnTo>
                  <a:lnTo>
                    <a:pt x="2360" y="136"/>
                  </a:lnTo>
                  <a:lnTo>
                    <a:pt x="2359" y="140"/>
                  </a:lnTo>
                  <a:lnTo>
                    <a:pt x="2357" y="145"/>
                  </a:lnTo>
                  <a:lnTo>
                    <a:pt x="2350" y="145"/>
                  </a:lnTo>
                  <a:lnTo>
                    <a:pt x="2350" y="138"/>
                  </a:lnTo>
                  <a:lnTo>
                    <a:pt x="2352" y="131"/>
                  </a:lnTo>
                  <a:lnTo>
                    <a:pt x="2352" y="124"/>
                  </a:lnTo>
                  <a:lnTo>
                    <a:pt x="2353" y="119"/>
                  </a:lnTo>
                  <a:close/>
                  <a:moveTo>
                    <a:pt x="4193" y="71"/>
                  </a:moveTo>
                  <a:lnTo>
                    <a:pt x="4202" y="84"/>
                  </a:lnTo>
                  <a:lnTo>
                    <a:pt x="4210" y="91"/>
                  </a:lnTo>
                  <a:lnTo>
                    <a:pt x="4221" y="94"/>
                  </a:lnTo>
                  <a:lnTo>
                    <a:pt x="4228" y="98"/>
                  </a:lnTo>
                  <a:lnTo>
                    <a:pt x="4235" y="103"/>
                  </a:lnTo>
                  <a:lnTo>
                    <a:pt x="4237" y="106"/>
                  </a:lnTo>
                  <a:lnTo>
                    <a:pt x="4238" y="110"/>
                  </a:lnTo>
                  <a:lnTo>
                    <a:pt x="4238" y="113"/>
                  </a:lnTo>
                  <a:lnTo>
                    <a:pt x="4238" y="119"/>
                  </a:lnTo>
                  <a:lnTo>
                    <a:pt x="4226" y="122"/>
                  </a:lnTo>
                  <a:lnTo>
                    <a:pt x="4217" y="129"/>
                  </a:lnTo>
                  <a:lnTo>
                    <a:pt x="4210" y="136"/>
                  </a:lnTo>
                  <a:lnTo>
                    <a:pt x="4200" y="141"/>
                  </a:lnTo>
                  <a:lnTo>
                    <a:pt x="4196" y="136"/>
                  </a:lnTo>
                  <a:lnTo>
                    <a:pt x="4193" y="134"/>
                  </a:lnTo>
                  <a:lnTo>
                    <a:pt x="4190" y="133"/>
                  </a:lnTo>
                  <a:lnTo>
                    <a:pt x="4186" y="134"/>
                  </a:lnTo>
                  <a:lnTo>
                    <a:pt x="4183" y="136"/>
                  </a:lnTo>
                  <a:lnTo>
                    <a:pt x="4181" y="140"/>
                  </a:lnTo>
                  <a:lnTo>
                    <a:pt x="4177" y="141"/>
                  </a:lnTo>
                  <a:lnTo>
                    <a:pt x="4183" y="162"/>
                  </a:lnTo>
                  <a:lnTo>
                    <a:pt x="4184" y="178"/>
                  </a:lnTo>
                  <a:lnTo>
                    <a:pt x="4184" y="190"/>
                  </a:lnTo>
                  <a:lnTo>
                    <a:pt x="4183" y="202"/>
                  </a:lnTo>
                  <a:lnTo>
                    <a:pt x="4179" y="215"/>
                  </a:lnTo>
                  <a:lnTo>
                    <a:pt x="4176" y="232"/>
                  </a:lnTo>
                  <a:lnTo>
                    <a:pt x="4174" y="253"/>
                  </a:lnTo>
                  <a:lnTo>
                    <a:pt x="4151" y="265"/>
                  </a:lnTo>
                  <a:lnTo>
                    <a:pt x="4125" y="277"/>
                  </a:lnTo>
                  <a:lnTo>
                    <a:pt x="4100" y="288"/>
                  </a:lnTo>
                  <a:lnTo>
                    <a:pt x="4095" y="279"/>
                  </a:lnTo>
                  <a:lnTo>
                    <a:pt x="4090" y="272"/>
                  </a:lnTo>
                  <a:lnTo>
                    <a:pt x="4088" y="279"/>
                  </a:lnTo>
                  <a:lnTo>
                    <a:pt x="4088" y="283"/>
                  </a:lnTo>
                  <a:lnTo>
                    <a:pt x="4087" y="288"/>
                  </a:lnTo>
                  <a:lnTo>
                    <a:pt x="4085" y="291"/>
                  </a:lnTo>
                  <a:lnTo>
                    <a:pt x="4080" y="291"/>
                  </a:lnTo>
                  <a:lnTo>
                    <a:pt x="4076" y="291"/>
                  </a:lnTo>
                  <a:lnTo>
                    <a:pt x="4074" y="293"/>
                  </a:lnTo>
                  <a:lnTo>
                    <a:pt x="4073" y="293"/>
                  </a:lnTo>
                  <a:lnTo>
                    <a:pt x="4071" y="295"/>
                  </a:lnTo>
                  <a:lnTo>
                    <a:pt x="4069" y="297"/>
                  </a:lnTo>
                  <a:lnTo>
                    <a:pt x="4064" y="297"/>
                  </a:lnTo>
                  <a:lnTo>
                    <a:pt x="4059" y="298"/>
                  </a:lnTo>
                  <a:lnTo>
                    <a:pt x="4057" y="295"/>
                  </a:lnTo>
                  <a:lnTo>
                    <a:pt x="4057" y="290"/>
                  </a:lnTo>
                  <a:lnTo>
                    <a:pt x="4057" y="288"/>
                  </a:lnTo>
                  <a:lnTo>
                    <a:pt x="4057" y="284"/>
                  </a:lnTo>
                  <a:lnTo>
                    <a:pt x="4057" y="283"/>
                  </a:lnTo>
                  <a:lnTo>
                    <a:pt x="4053" y="283"/>
                  </a:lnTo>
                  <a:lnTo>
                    <a:pt x="4050" y="281"/>
                  </a:lnTo>
                  <a:lnTo>
                    <a:pt x="4043" y="279"/>
                  </a:lnTo>
                  <a:lnTo>
                    <a:pt x="4043" y="283"/>
                  </a:lnTo>
                  <a:lnTo>
                    <a:pt x="4046" y="288"/>
                  </a:lnTo>
                  <a:lnTo>
                    <a:pt x="4050" y="290"/>
                  </a:lnTo>
                  <a:lnTo>
                    <a:pt x="4050" y="293"/>
                  </a:lnTo>
                  <a:lnTo>
                    <a:pt x="4050" y="298"/>
                  </a:lnTo>
                  <a:lnTo>
                    <a:pt x="4052" y="307"/>
                  </a:lnTo>
                  <a:lnTo>
                    <a:pt x="4046" y="312"/>
                  </a:lnTo>
                  <a:lnTo>
                    <a:pt x="4043" y="319"/>
                  </a:lnTo>
                  <a:lnTo>
                    <a:pt x="4039" y="326"/>
                  </a:lnTo>
                  <a:lnTo>
                    <a:pt x="4027" y="326"/>
                  </a:lnTo>
                  <a:lnTo>
                    <a:pt x="4025" y="312"/>
                  </a:lnTo>
                  <a:lnTo>
                    <a:pt x="4024" y="305"/>
                  </a:lnTo>
                  <a:lnTo>
                    <a:pt x="4020" y="298"/>
                  </a:lnTo>
                  <a:lnTo>
                    <a:pt x="4017" y="288"/>
                  </a:lnTo>
                  <a:lnTo>
                    <a:pt x="4027" y="288"/>
                  </a:lnTo>
                  <a:lnTo>
                    <a:pt x="4039" y="272"/>
                  </a:lnTo>
                  <a:lnTo>
                    <a:pt x="4055" y="258"/>
                  </a:lnTo>
                  <a:lnTo>
                    <a:pt x="4074" y="249"/>
                  </a:lnTo>
                  <a:lnTo>
                    <a:pt x="4081" y="248"/>
                  </a:lnTo>
                  <a:lnTo>
                    <a:pt x="4088" y="248"/>
                  </a:lnTo>
                  <a:lnTo>
                    <a:pt x="4094" y="249"/>
                  </a:lnTo>
                  <a:lnTo>
                    <a:pt x="4097" y="249"/>
                  </a:lnTo>
                  <a:lnTo>
                    <a:pt x="4100" y="249"/>
                  </a:lnTo>
                  <a:lnTo>
                    <a:pt x="4104" y="244"/>
                  </a:lnTo>
                  <a:lnTo>
                    <a:pt x="4107" y="239"/>
                  </a:lnTo>
                  <a:lnTo>
                    <a:pt x="4109" y="234"/>
                  </a:lnTo>
                  <a:lnTo>
                    <a:pt x="4111" y="230"/>
                  </a:lnTo>
                  <a:lnTo>
                    <a:pt x="4114" y="225"/>
                  </a:lnTo>
                  <a:lnTo>
                    <a:pt x="4120" y="222"/>
                  </a:lnTo>
                  <a:lnTo>
                    <a:pt x="4121" y="225"/>
                  </a:lnTo>
                  <a:lnTo>
                    <a:pt x="4123" y="227"/>
                  </a:lnTo>
                  <a:lnTo>
                    <a:pt x="4125" y="227"/>
                  </a:lnTo>
                  <a:lnTo>
                    <a:pt x="4125" y="227"/>
                  </a:lnTo>
                  <a:lnTo>
                    <a:pt x="4127" y="227"/>
                  </a:lnTo>
                  <a:lnTo>
                    <a:pt x="4128" y="225"/>
                  </a:lnTo>
                  <a:lnTo>
                    <a:pt x="4142" y="213"/>
                  </a:lnTo>
                  <a:lnTo>
                    <a:pt x="4151" y="202"/>
                  </a:lnTo>
                  <a:lnTo>
                    <a:pt x="4155" y="190"/>
                  </a:lnTo>
                  <a:lnTo>
                    <a:pt x="4158" y="176"/>
                  </a:lnTo>
                  <a:lnTo>
                    <a:pt x="4163" y="164"/>
                  </a:lnTo>
                  <a:lnTo>
                    <a:pt x="4174" y="148"/>
                  </a:lnTo>
                  <a:lnTo>
                    <a:pt x="4167" y="148"/>
                  </a:lnTo>
                  <a:lnTo>
                    <a:pt x="4162" y="145"/>
                  </a:lnTo>
                  <a:lnTo>
                    <a:pt x="4160" y="141"/>
                  </a:lnTo>
                  <a:lnTo>
                    <a:pt x="4158" y="138"/>
                  </a:lnTo>
                  <a:lnTo>
                    <a:pt x="4158" y="131"/>
                  </a:lnTo>
                  <a:lnTo>
                    <a:pt x="4158" y="122"/>
                  </a:lnTo>
                  <a:lnTo>
                    <a:pt x="4160" y="120"/>
                  </a:lnTo>
                  <a:lnTo>
                    <a:pt x="4160" y="120"/>
                  </a:lnTo>
                  <a:lnTo>
                    <a:pt x="4162" y="119"/>
                  </a:lnTo>
                  <a:lnTo>
                    <a:pt x="4162" y="117"/>
                  </a:lnTo>
                  <a:lnTo>
                    <a:pt x="4162" y="115"/>
                  </a:lnTo>
                  <a:lnTo>
                    <a:pt x="4169" y="113"/>
                  </a:lnTo>
                  <a:lnTo>
                    <a:pt x="4174" y="113"/>
                  </a:lnTo>
                  <a:lnTo>
                    <a:pt x="4177" y="112"/>
                  </a:lnTo>
                  <a:lnTo>
                    <a:pt x="4181" y="112"/>
                  </a:lnTo>
                  <a:lnTo>
                    <a:pt x="4181" y="94"/>
                  </a:lnTo>
                  <a:lnTo>
                    <a:pt x="4184" y="80"/>
                  </a:lnTo>
                  <a:lnTo>
                    <a:pt x="4193" y="71"/>
                  </a:lnTo>
                  <a:close/>
                  <a:moveTo>
                    <a:pt x="2414" y="68"/>
                  </a:moveTo>
                  <a:lnTo>
                    <a:pt x="2413" y="70"/>
                  </a:lnTo>
                  <a:lnTo>
                    <a:pt x="2411" y="70"/>
                  </a:lnTo>
                  <a:lnTo>
                    <a:pt x="2409" y="70"/>
                  </a:lnTo>
                  <a:lnTo>
                    <a:pt x="2409" y="71"/>
                  </a:lnTo>
                  <a:lnTo>
                    <a:pt x="2407" y="71"/>
                  </a:lnTo>
                  <a:lnTo>
                    <a:pt x="2404" y="75"/>
                  </a:lnTo>
                  <a:lnTo>
                    <a:pt x="2400" y="77"/>
                  </a:lnTo>
                  <a:lnTo>
                    <a:pt x="2400" y="78"/>
                  </a:lnTo>
                  <a:lnTo>
                    <a:pt x="2400" y="82"/>
                  </a:lnTo>
                  <a:lnTo>
                    <a:pt x="2400" y="85"/>
                  </a:lnTo>
                  <a:lnTo>
                    <a:pt x="2400" y="91"/>
                  </a:lnTo>
                  <a:lnTo>
                    <a:pt x="2414" y="105"/>
                  </a:lnTo>
                  <a:lnTo>
                    <a:pt x="2427" y="120"/>
                  </a:lnTo>
                  <a:lnTo>
                    <a:pt x="2439" y="138"/>
                  </a:lnTo>
                  <a:lnTo>
                    <a:pt x="2453" y="138"/>
                  </a:lnTo>
                  <a:lnTo>
                    <a:pt x="2453" y="148"/>
                  </a:lnTo>
                  <a:lnTo>
                    <a:pt x="2467" y="153"/>
                  </a:lnTo>
                  <a:lnTo>
                    <a:pt x="2477" y="160"/>
                  </a:lnTo>
                  <a:lnTo>
                    <a:pt x="2488" y="169"/>
                  </a:lnTo>
                  <a:lnTo>
                    <a:pt x="2488" y="173"/>
                  </a:lnTo>
                  <a:lnTo>
                    <a:pt x="2484" y="173"/>
                  </a:lnTo>
                  <a:lnTo>
                    <a:pt x="2481" y="173"/>
                  </a:lnTo>
                  <a:lnTo>
                    <a:pt x="2477" y="173"/>
                  </a:lnTo>
                  <a:lnTo>
                    <a:pt x="2475" y="173"/>
                  </a:lnTo>
                  <a:lnTo>
                    <a:pt x="2472" y="171"/>
                  </a:lnTo>
                  <a:lnTo>
                    <a:pt x="2467" y="169"/>
                  </a:lnTo>
                  <a:lnTo>
                    <a:pt x="2462" y="169"/>
                  </a:lnTo>
                  <a:lnTo>
                    <a:pt x="2462" y="174"/>
                  </a:lnTo>
                  <a:lnTo>
                    <a:pt x="2463" y="178"/>
                  </a:lnTo>
                  <a:lnTo>
                    <a:pt x="2465" y="181"/>
                  </a:lnTo>
                  <a:lnTo>
                    <a:pt x="2465" y="183"/>
                  </a:lnTo>
                  <a:lnTo>
                    <a:pt x="2467" y="187"/>
                  </a:lnTo>
                  <a:lnTo>
                    <a:pt x="2468" y="192"/>
                  </a:lnTo>
                  <a:lnTo>
                    <a:pt x="2463" y="195"/>
                  </a:lnTo>
                  <a:lnTo>
                    <a:pt x="2460" y="199"/>
                  </a:lnTo>
                  <a:lnTo>
                    <a:pt x="2456" y="204"/>
                  </a:lnTo>
                  <a:lnTo>
                    <a:pt x="2453" y="211"/>
                  </a:lnTo>
                  <a:lnTo>
                    <a:pt x="2442" y="211"/>
                  </a:lnTo>
                  <a:lnTo>
                    <a:pt x="2442" y="234"/>
                  </a:lnTo>
                  <a:lnTo>
                    <a:pt x="2434" y="234"/>
                  </a:lnTo>
                  <a:lnTo>
                    <a:pt x="2425" y="227"/>
                  </a:lnTo>
                  <a:lnTo>
                    <a:pt x="2414" y="223"/>
                  </a:lnTo>
                  <a:lnTo>
                    <a:pt x="2406" y="218"/>
                  </a:lnTo>
                  <a:lnTo>
                    <a:pt x="2400" y="206"/>
                  </a:lnTo>
                  <a:lnTo>
                    <a:pt x="2414" y="208"/>
                  </a:lnTo>
                  <a:lnTo>
                    <a:pt x="2428" y="206"/>
                  </a:lnTo>
                  <a:lnTo>
                    <a:pt x="2439" y="202"/>
                  </a:lnTo>
                  <a:lnTo>
                    <a:pt x="2446" y="195"/>
                  </a:lnTo>
                  <a:lnTo>
                    <a:pt x="2448" y="194"/>
                  </a:lnTo>
                  <a:lnTo>
                    <a:pt x="2448" y="192"/>
                  </a:lnTo>
                  <a:lnTo>
                    <a:pt x="2449" y="190"/>
                  </a:lnTo>
                  <a:lnTo>
                    <a:pt x="2449" y="187"/>
                  </a:lnTo>
                  <a:lnTo>
                    <a:pt x="2449" y="183"/>
                  </a:lnTo>
                  <a:lnTo>
                    <a:pt x="2423" y="164"/>
                  </a:lnTo>
                  <a:lnTo>
                    <a:pt x="2395" y="145"/>
                  </a:lnTo>
                  <a:lnTo>
                    <a:pt x="2386" y="134"/>
                  </a:lnTo>
                  <a:lnTo>
                    <a:pt x="2378" y="124"/>
                  </a:lnTo>
                  <a:lnTo>
                    <a:pt x="2371" y="112"/>
                  </a:lnTo>
                  <a:lnTo>
                    <a:pt x="2360" y="101"/>
                  </a:lnTo>
                  <a:lnTo>
                    <a:pt x="2346" y="96"/>
                  </a:lnTo>
                  <a:lnTo>
                    <a:pt x="2334" y="106"/>
                  </a:lnTo>
                  <a:lnTo>
                    <a:pt x="2318" y="115"/>
                  </a:lnTo>
                  <a:lnTo>
                    <a:pt x="2299" y="119"/>
                  </a:lnTo>
                  <a:lnTo>
                    <a:pt x="2297" y="115"/>
                  </a:lnTo>
                  <a:lnTo>
                    <a:pt x="2296" y="112"/>
                  </a:lnTo>
                  <a:lnTo>
                    <a:pt x="2294" y="110"/>
                  </a:lnTo>
                  <a:lnTo>
                    <a:pt x="2290" y="110"/>
                  </a:lnTo>
                  <a:lnTo>
                    <a:pt x="2289" y="110"/>
                  </a:lnTo>
                  <a:lnTo>
                    <a:pt x="2285" y="112"/>
                  </a:lnTo>
                  <a:lnTo>
                    <a:pt x="2276" y="119"/>
                  </a:lnTo>
                  <a:lnTo>
                    <a:pt x="2273" y="129"/>
                  </a:lnTo>
                  <a:lnTo>
                    <a:pt x="2271" y="140"/>
                  </a:lnTo>
                  <a:lnTo>
                    <a:pt x="2266" y="148"/>
                  </a:lnTo>
                  <a:lnTo>
                    <a:pt x="2247" y="148"/>
                  </a:lnTo>
                  <a:lnTo>
                    <a:pt x="2240" y="157"/>
                  </a:lnTo>
                  <a:lnTo>
                    <a:pt x="2235" y="167"/>
                  </a:lnTo>
                  <a:lnTo>
                    <a:pt x="2231" y="180"/>
                  </a:lnTo>
                  <a:lnTo>
                    <a:pt x="2229" y="181"/>
                  </a:lnTo>
                  <a:lnTo>
                    <a:pt x="2229" y="185"/>
                  </a:lnTo>
                  <a:lnTo>
                    <a:pt x="2231" y="187"/>
                  </a:lnTo>
                  <a:lnTo>
                    <a:pt x="2233" y="188"/>
                  </a:lnTo>
                  <a:lnTo>
                    <a:pt x="2236" y="192"/>
                  </a:lnTo>
                  <a:lnTo>
                    <a:pt x="2238" y="195"/>
                  </a:lnTo>
                  <a:lnTo>
                    <a:pt x="2233" y="195"/>
                  </a:lnTo>
                  <a:lnTo>
                    <a:pt x="2231" y="197"/>
                  </a:lnTo>
                  <a:lnTo>
                    <a:pt x="2229" y="197"/>
                  </a:lnTo>
                  <a:lnTo>
                    <a:pt x="2228" y="199"/>
                  </a:lnTo>
                  <a:lnTo>
                    <a:pt x="2226" y="201"/>
                  </a:lnTo>
                  <a:lnTo>
                    <a:pt x="2222" y="202"/>
                  </a:lnTo>
                  <a:lnTo>
                    <a:pt x="2222" y="206"/>
                  </a:lnTo>
                  <a:lnTo>
                    <a:pt x="2222" y="206"/>
                  </a:lnTo>
                  <a:lnTo>
                    <a:pt x="2222" y="208"/>
                  </a:lnTo>
                  <a:lnTo>
                    <a:pt x="2222" y="208"/>
                  </a:lnTo>
                  <a:lnTo>
                    <a:pt x="2222" y="209"/>
                  </a:lnTo>
                  <a:lnTo>
                    <a:pt x="2222" y="215"/>
                  </a:lnTo>
                  <a:lnTo>
                    <a:pt x="2210" y="216"/>
                  </a:lnTo>
                  <a:lnTo>
                    <a:pt x="2205" y="220"/>
                  </a:lnTo>
                  <a:lnTo>
                    <a:pt x="2201" y="223"/>
                  </a:lnTo>
                  <a:lnTo>
                    <a:pt x="2198" y="229"/>
                  </a:lnTo>
                  <a:lnTo>
                    <a:pt x="2193" y="234"/>
                  </a:lnTo>
                  <a:lnTo>
                    <a:pt x="2187" y="236"/>
                  </a:lnTo>
                  <a:lnTo>
                    <a:pt x="2184" y="236"/>
                  </a:lnTo>
                  <a:lnTo>
                    <a:pt x="2179" y="234"/>
                  </a:lnTo>
                  <a:lnTo>
                    <a:pt x="2175" y="232"/>
                  </a:lnTo>
                  <a:lnTo>
                    <a:pt x="2172" y="230"/>
                  </a:lnTo>
                  <a:lnTo>
                    <a:pt x="2170" y="230"/>
                  </a:lnTo>
                  <a:lnTo>
                    <a:pt x="2167" y="232"/>
                  </a:lnTo>
                  <a:lnTo>
                    <a:pt x="2163" y="234"/>
                  </a:lnTo>
                  <a:lnTo>
                    <a:pt x="2160" y="236"/>
                  </a:lnTo>
                  <a:lnTo>
                    <a:pt x="2154" y="237"/>
                  </a:lnTo>
                  <a:lnTo>
                    <a:pt x="2154" y="246"/>
                  </a:lnTo>
                  <a:lnTo>
                    <a:pt x="2203" y="253"/>
                  </a:lnTo>
                  <a:lnTo>
                    <a:pt x="2217" y="246"/>
                  </a:lnTo>
                  <a:lnTo>
                    <a:pt x="2231" y="237"/>
                  </a:lnTo>
                  <a:lnTo>
                    <a:pt x="2242" y="230"/>
                  </a:lnTo>
                  <a:lnTo>
                    <a:pt x="2257" y="227"/>
                  </a:lnTo>
                  <a:lnTo>
                    <a:pt x="2280" y="223"/>
                  </a:lnTo>
                  <a:lnTo>
                    <a:pt x="2304" y="222"/>
                  </a:lnTo>
                  <a:lnTo>
                    <a:pt x="2331" y="222"/>
                  </a:lnTo>
                  <a:lnTo>
                    <a:pt x="2353" y="222"/>
                  </a:lnTo>
                  <a:lnTo>
                    <a:pt x="2372" y="223"/>
                  </a:lnTo>
                  <a:lnTo>
                    <a:pt x="2381" y="225"/>
                  </a:lnTo>
                  <a:lnTo>
                    <a:pt x="2385" y="225"/>
                  </a:lnTo>
                  <a:lnTo>
                    <a:pt x="2379" y="241"/>
                  </a:lnTo>
                  <a:lnTo>
                    <a:pt x="2376" y="258"/>
                  </a:lnTo>
                  <a:lnTo>
                    <a:pt x="2372" y="276"/>
                  </a:lnTo>
                  <a:lnTo>
                    <a:pt x="2378" y="279"/>
                  </a:lnTo>
                  <a:lnTo>
                    <a:pt x="2379" y="283"/>
                  </a:lnTo>
                  <a:lnTo>
                    <a:pt x="2383" y="286"/>
                  </a:lnTo>
                  <a:lnTo>
                    <a:pt x="2385" y="288"/>
                  </a:lnTo>
                  <a:lnTo>
                    <a:pt x="2388" y="291"/>
                  </a:lnTo>
                  <a:lnTo>
                    <a:pt x="2400" y="295"/>
                  </a:lnTo>
                  <a:lnTo>
                    <a:pt x="2414" y="295"/>
                  </a:lnTo>
                  <a:lnTo>
                    <a:pt x="2428" y="297"/>
                  </a:lnTo>
                  <a:lnTo>
                    <a:pt x="2442" y="304"/>
                  </a:lnTo>
                  <a:lnTo>
                    <a:pt x="2446" y="318"/>
                  </a:lnTo>
                  <a:lnTo>
                    <a:pt x="2453" y="321"/>
                  </a:lnTo>
                  <a:lnTo>
                    <a:pt x="2463" y="325"/>
                  </a:lnTo>
                  <a:lnTo>
                    <a:pt x="2477" y="328"/>
                  </a:lnTo>
                  <a:lnTo>
                    <a:pt x="2489" y="332"/>
                  </a:lnTo>
                  <a:lnTo>
                    <a:pt x="2496" y="333"/>
                  </a:lnTo>
                  <a:lnTo>
                    <a:pt x="2498" y="323"/>
                  </a:lnTo>
                  <a:lnTo>
                    <a:pt x="2502" y="314"/>
                  </a:lnTo>
                  <a:lnTo>
                    <a:pt x="2505" y="305"/>
                  </a:lnTo>
                  <a:lnTo>
                    <a:pt x="2516" y="298"/>
                  </a:lnTo>
                  <a:lnTo>
                    <a:pt x="2531" y="295"/>
                  </a:lnTo>
                  <a:lnTo>
                    <a:pt x="2545" y="298"/>
                  </a:lnTo>
                  <a:lnTo>
                    <a:pt x="2559" y="305"/>
                  </a:lnTo>
                  <a:lnTo>
                    <a:pt x="2573" y="311"/>
                  </a:lnTo>
                  <a:lnTo>
                    <a:pt x="2580" y="312"/>
                  </a:lnTo>
                  <a:lnTo>
                    <a:pt x="2594" y="314"/>
                  </a:lnTo>
                  <a:lnTo>
                    <a:pt x="2608" y="318"/>
                  </a:lnTo>
                  <a:lnTo>
                    <a:pt x="2622" y="319"/>
                  </a:lnTo>
                  <a:lnTo>
                    <a:pt x="2633" y="321"/>
                  </a:lnTo>
                  <a:lnTo>
                    <a:pt x="2638" y="323"/>
                  </a:lnTo>
                  <a:lnTo>
                    <a:pt x="2641" y="321"/>
                  </a:lnTo>
                  <a:lnTo>
                    <a:pt x="2643" y="318"/>
                  </a:lnTo>
                  <a:lnTo>
                    <a:pt x="2645" y="316"/>
                  </a:lnTo>
                  <a:lnTo>
                    <a:pt x="2648" y="312"/>
                  </a:lnTo>
                  <a:lnTo>
                    <a:pt x="2652" y="311"/>
                  </a:lnTo>
                  <a:lnTo>
                    <a:pt x="2655" y="311"/>
                  </a:lnTo>
                  <a:lnTo>
                    <a:pt x="2660" y="311"/>
                  </a:lnTo>
                  <a:lnTo>
                    <a:pt x="2673" y="314"/>
                  </a:lnTo>
                  <a:lnTo>
                    <a:pt x="2683" y="319"/>
                  </a:lnTo>
                  <a:lnTo>
                    <a:pt x="2695" y="318"/>
                  </a:lnTo>
                  <a:lnTo>
                    <a:pt x="2708" y="314"/>
                  </a:lnTo>
                  <a:lnTo>
                    <a:pt x="2709" y="300"/>
                  </a:lnTo>
                  <a:lnTo>
                    <a:pt x="2716" y="283"/>
                  </a:lnTo>
                  <a:lnTo>
                    <a:pt x="2722" y="267"/>
                  </a:lnTo>
                  <a:lnTo>
                    <a:pt x="2725" y="253"/>
                  </a:lnTo>
                  <a:lnTo>
                    <a:pt x="2722" y="241"/>
                  </a:lnTo>
                  <a:lnTo>
                    <a:pt x="2720" y="237"/>
                  </a:lnTo>
                  <a:lnTo>
                    <a:pt x="2720" y="234"/>
                  </a:lnTo>
                  <a:lnTo>
                    <a:pt x="2718" y="232"/>
                  </a:lnTo>
                  <a:lnTo>
                    <a:pt x="2716" y="230"/>
                  </a:lnTo>
                  <a:lnTo>
                    <a:pt x="2713" y="230"/>
                  </a:lnTo>
                  <a:lnTo>
                    <a:pt x="2709" y="230"/>
                  </a:lnTo>
                  <a:lnTo>
                    <a:pt x="2702" y="230"/>
                  </a:lnTo>
                  <a:lnTo>
                    <a:pt x="2694" y="237"/>
                  </a:lnTo>
                  <a:lnTo>
                    <a:pt x="2687" y="239"/>
                  </a:lnTo>
                  <a:lnTo>
                    <a:pt x="2680" y="237"/>
                  </a:lnTo>
                  <a:lnTo>
                    <a:pt x="2673" y="234"/>
                  </a:lnTo>
                  <a:lnTo>
                    <a:pt x="2664" y="230"/>
                  </a:lnTo>
                  <a:lnTo>
                    <a:pt x="2659" y="229"/>
                  </a:lnTo>
                  <a:lnTo>
                    <a:pt x="2655" y="230"/>
                  </a:lnTo>
                  <a:lnTo>
                    <a:pt x="2650" y="232"/>
                  </a:lnTo>
                  <a:lnTo>
                    <a:pt x="2648" y="236"/>
                  </a:lnTo>
                  <a:lnTo>
                    <a:pt x="2645" y="239"/>
                  </a:lnTo>
                  <a:lnTo>
                    <a:pt x="2641" y="241"/>
                  </a:lnTo>
                  <a:lnTo>
                    <a:pt x="2626" y="237"/>
                  </a:lnTo>
                  <a:lnTo>
                    <a:pt x="2610" y="227"/>
                  </a:lnTo>
                  <a:lnTo>
                    <a:pt x="2598" y="211"/>
                  </a:lnTo>
                  <a:lnTo>
                    <a:pt x="2592" y="195"/>
                  </a:lnTo>
                  <a:lnTo>
                    <a:pt x="2592" y="192"/>
                  </a:lnTo>
                  <a:lnTo>
                    <a:pt x="2592" y="188"/>
                  </a:lnTo>
                  <a:lnTo>
                    <a:pt x="2592" y="185"/>
                  </a:lnTo>
                  <a:lnTo>
                    <a:pt x="2592" y="181"/>
                  </a:lnTo>
                  <a:lnTo>
                    <a:pt x="2592" y="178"/>
                  </a:lnTo>
                  <a:lnTo>
                    <a:pt x="2594" y="174"/>
                  </a:lnTo>
                  <a:lnTo>
                    <a:pt x="2596" y="169"/>
                  </a:lnTo>
                  <a:lnTo>
                    <a:pt x="2592" y="166"/>
                  </a:lnTo>
                  <a:lnTo>
                    <a:pt x="2589" y="164"/>
                  </a:lnTo>
                  <a:lnTo>
                    <a:pt x="2587" y="162"/>
                  </a:lnTo>
                  <a:lnTo>
                    <a:pt x="2585" y="160"/>
                  </a:lnTo>
                  <a:lnTo>
                    <a:pt x="2582" y="159"/>
                  </a:lnTo>
                  <a:lnTo>
                    <a:pt x="2577" y="157"/>
                  </a:lnTo>
                  <a:lnTo>
                    <a:pt x="2575" y="155"/>
                  </a:lnTo>
                  <a:lnTo>
                    <a:pt x="2573" y="155"/>
                  </a:lnTo>
                  <a:lnTo>
                    <a:pt x="2571" y="153"/>
                  </a:lnTo>
                  <a:lnTo>
                    <a:pt x="2568" y="153"/>
                  </a:lnTo>
                  <a:lnTo>
                    <a:pt x="2564" y="153"/>
                  </a:lnTo>
                  <a:lnTo>
                    <a:pt x="2564" y="157"/>
                  </a:lnTo>
                  <a:lnTo>
                    <a:pt x="2561" y="157"/>
                  </a:lnTo>
                  <a:lnTo>
                    <a:pt x="2561" y="162"/>
                  </a:lnTo>
                  <a:lnTo>
                    <a:pt x="2563" y="166"/>
                  </a:lnTo>
                  <a:lnTo>
                    <a:pt x="2563" y="167"/>
                  </a:lnTo>
                  <a:lnTo>
                    <a:pt x="2563" y="169"/>
                  </a:lnTo>
                  <a:lnTo>
                    <a:pt x="2561" y="171"/>
                  </a:lnTo>
                  <a:lnTo>
                    <a:pt x="2559" y="171"/>
                  </a:lnTo>
                  <a:lnTo>
                    <a:pt x="2556" y="171"/>
                  </a:lnTo>
                  <a:lnTo>
                    <a:pt x="2549" y="173"/>
                  </a:lnTo>
                  <a:lnTo>
                    <a:pt x="2547" y="169"/>
                  </a:lnTo>
                  <a:lnTo>
                    <a:pt x="2545" y="167"/>
                  </a:lnTo>
                  <a:lnTo>
                    <a:pt x="2545" y="166"/>
                  </a:lnTo>
                  <a:lnTo>
                    <a:pt x="2542" y="164"/>
                  </a:lnTo>
                  <a:lnTo>
                    <a:pt x="2542" y="169"/>
                  </a:lnTo>
                  <a:lnTo>
                    <a:pt x="2551" y="180"/>
                  </a:lnTo>
                  <a:lnTo>
                    <a:pt x="2558" y="195"/>
                  </a:lnTo>
                  <a:lnTo>
                    <a:pt x="2561" y="211"/>
                  </a:lnTo>
                  <a:lnTo>
                    <a:pt x="2556" y="215"/>
                  </a:lnTo>
                  <a:lnTo>
                    <a:pt x="2552" y="216"/>
                  </a:lnTo>
                  <a:lnTo>
                    <a:pt x="2551" y="220"/>
                  </a:lnTo>
                  <a:lnTo>
                    <a:pt x="2549" y="223"/>
                  </a:lnTo>
                  <a:lnTo>
                    <a:pt x="2549" y="225"/>
                  </a:lnTo>
                  <a:lnTo>
                    <a:pt x="2547" y="229"/>
                  </a:lnTo>
                  <a:lnTo>
                    <a:pt x="2545" y="230"/>
                  </a:lnTo>
                  <a:lnTo>
                    <a:pt x="2540" y="232"/>
                  </a:lnTo>
                  <a:lnTo>
                    <a:pt x="2535" y="234"/>
                  </a:lnTo>
                  <a:lnTo>
                    <a:pt x="2533" y="232"/>
                  </a:lnTo>
                  <a:lnTo>
                    <a:pt x="2531" y="232"/>
                  </a:lnTo>
                  <a:lnTo>
                    <a:pt x="2531" y="232"/>
                  </a:lnTo>
                  <a:lnTo>
                    <a:pt x="2530" y="230"/>
                  </a:lnTo>
                  <a:lnTo>
                    <a:pt x="2526" y="230"/>
                  </a:lnTo>
                  <a:lnTo>
                    <a:pt x="2510" y="183"/>
                  </a:lnTo>
                  <a:lnTo>
                    <a:pt x="2507" y="181"/>
                  </a:lnTo>
                  <a:lnTo>
                    <a:pt x="2503" y="178"/>
                  </a:lnTo>
                  <a:lnTo>
                    <a:pt x="2498" y="174"/>
                  </a:lnTo>
                  <a:lnTo>
                    <a:pt x="2495" y="173"/>
                  </a:lnTo>
                  <a:lnTo>
                    <a:pt x="2491" y="169"/>
                  </a:lnTo>
                  <a:lnTo>
                    <a:pt x="2489" y="159"/>
                  </a:lnTo>
                  <a:lnTo>
                    <a:pt x="2491" y="150"/>
                  </a:lnTo>
                  <a:lnTo>
                    <a:pt x="2493" y="143"/>
                  </a:lnTo>
                  <a:lnTo>
                    <a:pt x="2493" y="136"/>
                  </a:lnTo>
                  <a:lnTo>
                    <a:pt x="2488" y="131"/>
                  </a:lnTo>
                  <a:lnTo>
                    <a:pt x="2475" y="122"/>
                  </a:lnTo>
                  <a:lnTo>
                    <a:pt x="2465" y="117"/>
                  </a:lnTo>
                  <a:lnTo>
                    <a:pt x="2456" y="115"/>
                  </a:lnTo>
                  <a:lnTo>
                    <a:pt x="2448" y="110"/>
                  </a:lnTo>
                  <a:lnTo>
                    <a:pt x="2441" y="99"/>
                  </a:lnTo>
                  <a:lnTo>
                    <a:pt x="2434" y="80"/>
                  </a:lnTo>
                  <a:lnTo>
                    <a:pt x="2420" y="84"/>
                  </a:lnTo>
                  <a:lnTo>
                    <a:pt x="2418" y="78"/>
                  </a:lnTo>
                  <a:lnTo>
                    <a:pt x="2418" y="75"/>
                  </a:lnTo>
                  <a:lnTo>
                    <a:pt x="2416" y="71"/>
                  </a:lnTo>
                  <a:lnTo>
                    <a:pt x="2414" y="68"/>
                  </a:lnTo>
                  <a:close/>
                  <a:moveTo>
                    <a:pt x="1217" y="64"/>
                  </a:moveTo>
                  <a:lnTo>
                    <a:pt x="1215" y="68"/>
                  </a:lnTo>
                  <a:lnTo>
                    <a:pt x="1212" y="71"/>
                  </a:lnTo>
                  <a:lnTo>
                    <a:pt x="1210" y="73"/>
                  </a:lnTo>
                  <a:lnTo>
                    <a:pt x="1208" y="75"/>
                  </a:lnTo>
                  <a:lnTo>
                    <a:pt x="1208" y="77"/>
                  </a:lnTo>
                  <a:lnTo>
                    <a:pt x="1210" y="78"/>
                  </a:lnTo>
                  <a:lnTo>
                    <a:pt x="1214" y="80"/>
                  </a:lnTo>
                  <a:lnTo>
                    <a:pt x="1215" y="75"/>
                  </a:lnTo>
                  <a:lnTo>
                    <a:pt x="1215" y="73"/>
                  </a:lnTo>
                  <a:lnTo>
                    <a:pt x="1217" y="70"/>
                  </a:lnTo>
                  <a:lnTo>
                    <a:pt x="1219" y="68"/>
                  </a:lnTo>
                  <a:lnTo>
                    <a:pt x="1220" y="64"/>
                  </a:lnTo>
                  <a:lnTo>
                    <a:pt x="1217" y="64"/>
                  </a:lnTo>
                  <a:close/>
                  <a:moveTo>
                    <a:pt x="2654" y="49"/>
                  </a:moveTo>
                  <a:lnTo>
                    <a:pt x="2650" y="57"/>
                  </a:lnTo>
                  <a:lnTo>
                    <a:pt x="2643" y="70"/>
                  </a:lnTo>
                  <a:lnTo>
                    <a:pt x="2634" y="84"/>
                  </a:lnTo>
                  <a:lnTo>
                    <a:pt x="2626" y="98"/>
                  </a:lnTo>
                  <a:lnTo>
                    <a:pt x="2619" y="110"/>
                  </a:lnTo>
                  <a:lnTo>
                    <a:pt x="2615" y="120"/>
                  </a:lnTo>
                  <a:lnTo>
                    <a:pt x="2615" y="126"/>
                  </a:lnTo>
                  <a:lnTo>
                    <a:pt x="2617" y="133"/>
                  </a:lnTo>
                  <a:lnTo>
                    <a:pt x="2617" y="136"/>
                  </a:lnTo>
                  <a:lnTo>
                    <a:pt x="2619" y="140"/>
                  </a:lnTo>
                  <a:lnTo>
                    <a:pt x="2622" y="141"/>
                  </a:lnTo>
                  <a:lnTo>
                    <a:pt x="2626" y="143"/>
                  </a:lnTo>
                  <a:lnTo>
                    <a:pt x="2631" y="145"/>
                  </a:lnTo>
                  <a:lnTo>
                    <a:pt x="2645" y="150"/>
                  </a:lnTo>
                  <a:lnTo>
                    <a:pt x="2659" y="148"/>
                  </a:lnTo>
                  <a:lnTo>
                    <a:pt x="2671" y="143"/>
                  </a:lnTo>
                  <a:lnTo>
                    <a:pt x="2685" y="136"/>
                  </a:lnTo>
                  <a:lnTo>
                    <a:pt x="2699" y="134"/>
                  </a:lnTo>
                  <a:lnTo>
                    <a:pt x="2713" y="134"/>
                  </a:lnTo>
                  <a:lnTo>
                    <a:pt x="2722" y="140"/>
                  </a:lnTo>
                  <a:lnTo>
                    <a:pt x="2729" y="145"/>
                  </a:lnTo>
                  <a:lnTo>
                    <a:pt x="2737" y="148"/>
                  </a:lnTo>
                  <a:lnTo>
                    <a:pt x="2758" y="152"/>
                  </a:lnTo>
                  <a:lnTo>
                    <a:pt x="2779" y="150"/>
                  </a:lnTo>
                  <a:lnTo>
                    <a:pt x="2798" y="145"/>
                  </a:lnTo>
                  <a:lnTo>
                    <a:pt x="2804" y="134"/>
                  </a:lnTo>
                  <a:lnTo>
                    <a:pt x="2798" y="134"/>
                  </a:lnTo>
                  <a:lnTo>
                    <a:pt x="2790" y="120"/>
                  </a:lnTo>
                  <a:lnTo>
                    <a:pt x="2776" y="108"/>
                  </a:lnTo>
                  <a:lnTo>
                    <a:pt x="2756" y="96"/>
                  </a:lnTo>
                  <a:lnTo>
                    <a:pt x="2737" y="85"/>
                  </a:lnTo>
                  <a:lnTo>
                    <a:pt x="2722" y="80"/>
                  </a:lnTo>
                  <a:lnTo>
                    <a:pt x="2713" y="87"/>
                  </a:lnTo>
                  <a:lnTo>
                    <a:pt x="2701" y="92"/>
                  </a:lnTo>
                  <a:lnTo>
                    <a:pt x="2692" y="91"/>
                  </a:lnTo>
                  <a:lnTo>
                    <a:pt x="2687" y="84"/>
                  </a:lnTo>
                  <a:lnTo>
                    <a:pt x="2680" y="77"/>
                  </a:lnTo>
                  <a:lnTo>
                    <a:pt x="2676" y="68"/>
                  </a:lnTo>
                  <a:lnTo>
                    <a:pt x="2688" y="64"/>
                  </a:lnTo>
                  <a:lnTo>
                    <a:pt x="2687" y="63"/>
                  </a:lnTo>
                  <a:lnTo>
                    <a:pt x="2685" y="63"/>
                  </a:lnTo>
                  <a:lnTo>
                    <a:pt x="2685" y="63"/>
                  </a:lnTo>
                  <a:lnTo>
                    <a:pt x="2683" y="63"/>
                  </a:lnTo>
                  <a:lnTo>
                    <a:pt x="2680" y="61"/>
                  </a:lnTo>
                  <a:lnTo>
                    <a:pt x="2674" y="56"/>
                  </a:lnTo>
                  <a:lnTo>
                    <a:pt x="2669" y="54"/>
                  </a:lnTo>
                  <a:lnTo>
                    <a:pt x="2662" y="51"/>
                  </a:lnTo>
                  <a:lnTo>
                    <a:pt x="2654" y="49"/>
                  </a:lnTo>
                  <a:close/>
                  <a:moveTo>
                    <a:pt x="2933" y="45"/>
                  </a:moveTo>
                  <a:lnTo>
                    <a:pt x="2922" y="54"/>
                  </a:lnTo>
                  <a:lnTo>
                    <a:pt x="2910" y="59"/>
                  </a:lnTo>
                  <a:lnTo>
                    <a:pt x="2898" y="64"/>
                  </a:lnTo>
                  <a:lnTo>
                    <a:pt x="2887" y="73"/>
                  </a:lnTo>
                  <a:lnTo>
                    <a:pt x="2880" y="84"/>
                  </a:lnTo>
                  <a:lnTo>
                    <a:pt x="2877" y="99"/>
                  </a:lnTo>
                  <a:lnTo>
                    <a:pt x="2882" y="115"/>
                  </a:lnTo>
                  <a:lnTo>
                    <a:pt x="2893" y="131"/>
                  </a:lnTo>
                  <a:lnTo>
                    <a:pt x="2903" y="147"/>
                  </a:lnTo>
                  <a:lnTo>
                    <a:pt x="2915" y="160"/>
                  </a:lnTo>
                  <a:lnTo>
                    <a:pt x="2922" y="173"/>
                  </a:lnTo>
                  <a:lnTo>
                    <a:pt x="2910" y="173"/>
                  </a:lnTo>
                  <a:lnTo>
                    <a:pt x="2910" y="195"/>
                  </a:lnTo>
                  <a:lnTo>
                    <a:pt x="2914" y="211"/>
                  </a:lnTo>
                  <a:lnTo>
                    <a:pt x="2924" y="220"/>
                  </a:lnTo>
                  <a:lnTo>
                    <a:pt x="2942" y="223"/>
                  </a:lnTo>
                  <a:lnTo>
                    <a:pt x="2968" y="222"/>
                  </a:lnTo>
                  <a:lnTo>
                    <a:pt x="2966" y="202"/>
                  </a:lnTo>
                  <a:lnTo>
                    <a:pt x="2962" y="190"/>
                  </a:lnTo>
                  <a:lnTo>
                    <a:pt x="2957" y="180"/>
                  </a:lnTo>
                  <a:lnTo>
                    <a:pt x="2955" y="169"/>
                  </a:lnTo>
                  <a:lnTo>
                    <a:pt x="2957" y="153"/>
                  </a:lnTo>
                  <a:lnTo>
                    <a:pt x="2961" y="155"/>
                  </a:lnTo>
                  <a:lnTo>
                    <a:pt x="2964" y="155"/>
                  </a:lnTo>
                  <a:lnTo>
                    <a:pt x="2968" y="155"/>
                  </a:lnTo>
                  <a:lnTo>
                    <a:pt x="2971" y="155"/>
                  </a:lnTo>
                  <a:lnTo>
                    <a:pt x="2976" y="153"/>
                  </a:lnTo>
                  <a:lnTo>
                    <a:pt x="2973" y="150"/>
                  </a:lnTo>
                  <a:lnTo>
                    <a:pt x="2969" y="148"/>
                  </a:lnTo>
                  <a:lnTo>
                    <a:pt x="2968" y="147"/>
                  </a:lnTo>
                  <a:lnTo>
                    <a:pt x="2964" y="143"/>
                  </a:lnTo>
                  <a:lnTo>
                    <a:pt x="2961" y="141"/>
                  </a:lnTo>
                  <a:lnTo>
                    <a:pt x="2959" y="143"/>
                  </a:lnTo>
                  <a:lnTo>
                    <a:pt x="2959" y="147"/>
                  </a:lnTo>
                  <a:lnTo>
                    <a:pt x="2957" y="150"/>
                  </a:lnTo>
                  <a:lnTo>
                    <a:pt x="2957" y="152"/>
                  </a:lnTo>
                  <a:lnTo>
                    <a:pt x="2955" y="153"/>
                  </a:lnTo>
                  <a:lnTo>
                    <a:pt x="2954" y="152"/>
                  </a:lnTo>
                  <a:lnTo>
                    <a:pt x="2952" y="148"/>
                  </a:lnTo>
                  <a:lnTo>
                    <a:pt x="2947" y="140"/>
                  </a:lnTo>
                  <a:lnTo>
                    <a:pt x="2942" y="131"/>
                  </a:lnTo>
                  <a:lnTo>
                    <a:pt x="2943" y="127"/>
                  </a:lnTo>
                  <a:lnTo>
                    <a:pt x="2945" y="127"/>
                  </a:lnTo>
                  <a:lnTo>
                    <a:pt x="2947" y="126"/>
                  </a:lnTo>
                  <a:lnTo>
                    <a:pt x="2948" y="122"/>
                  </a:lnTo>
                  <a:lnTo>
                    <a:pt x="2933" y="113"/>
                  </a:lnTo>
                  <a:lnTo>
                    <a:pt x="2921" y="99"/>
                  </a:lnTo>
                  <a:lnTo>
                    <a:pt x="2914" y="84"/>
                  </a:lnTo>
                  <a:lnTo>
                    <a:pt x="2933" y="82"/>
                  </a:lnTo>
                  <a:lnTo>
                    <a:pt x="2947" y="77"/>
                  </a:lnTo>
                  <a:lnTo>
                    <a:pt x="2954" y="64"/>
                  </a:lnTo>
                  <a:lnTo>
                    <a:pt x="2957" y="49"/>
                  </a:lnTo>
                  <a:lnTo>
                    <a:pt x="2952" y="47"/>
                  </a:lnTo>
                  <a:lnTo>
                    <a:pt x="2947" y="47"/>
                  </a:lnTo>
                  <a:lnTo>
                    <a:pt x="2942" y="45"/>
                  </a:lnTo>
                  <a:lnTo>
                    <a:pt x="2933" y="45"/>
                  </a:lnTo>
                  <a:close/>
                  <a:moveTo>
                    <a:pt x="2746" y="42"/>
                  </a:moveTo>
                  <a:lnTo>
                    <a:pt x="2732" y="49"/>
                  </a:lnTo>
                  <a:lnTo>
                    <a:pt x="2715" y="54"/>
                  </a:lnTo>
                  <a:lnTo>
                    <a:pt x="2715" y="68"/>
                  </a:lnTo>
                  <a:lnTo>
                    <a:pt x="2722" y="70"/>
                  </a:lnTo>
                  <a:lnTo>
                    <a:pt x="2730" y="71"/>
                  </a:lnTo>
                  <a:lnTo>
                    <a:pt x="2741" y="71"/>
                  </a:lnTo>
                  <a:lnTo>
                    <a:pt x="2741" y="64"/>
                  </a:lnTo>
                  <a:lnTo>
                    <a:pt x="2744" y="59"/>
                  </a:lnTo>
                  <a:lnTo>
                    <a:pt x="2746" y="54"/>
                  </a:lnTo>
                  <a:lnTo>
                    <a:pt x="2746" y="49"/>
                  </a:lnTo>
                  <a:lnTo>
                    <a:pt x="2746" y="45"/>
                  </a:lnTo>
                  <a:lnTo>
                    <a:pt x="2746" y="42"/>
                  </a:lnTo>
                  <a:close/>
                  <a:moveTo>
                    <a:pt x="1390" y="33"/>
                  </a:moveTo>
                  <a:lnTo>
                    <a:pt x="1393" y="42"/>
                  </a:lnTo>
                  <a:lnTo>
                    <a:pt x="1395" y="54"/>
                  </a:lnTo>
                  <a:lnTo>
                    <a:pt x="1397" y="64"/>
                  </a:lnTo>
                  <a:lnTo>
                    <a:pt x="1395" y="66"/>
                  </a:lnTo>
                  <a:lnTo>
                    <a:pt x="1393" y="66"/>
                  </a:lnTo>
                  <a:lnTo>
                    <a:pt x="1392" y="66"/>
                  </a:lnTo>
                  <a:lnTo>
                    <a:pt x="1392" y="68"/>
                  </a:lnTo>
                  <a:lnTo>
                    <a:pt x="1390" y="68"/>
                  </a:lnTo>
                  <a:lnTo>
                    <a:pt x="1383" y="68"/>
                  </a:lnTo>
                  <a:lnTo>
                    <a:pt x="1381" y="66"/>
                  </a:lnTo>
                  <a:lnTo>
                    <a:pt x="1381" y="64"/>
                  </a:lnTo>
                  <a:lnTo>
                    <a:pt x="1381" y="63"/>
                  </a:lnTo>
                  <a:lnTo>
                    <a:pt x="1379" y="63"/>
                  </a:lnTo>
                  <a:lnTo>
                    <a:pt x="1378" y="61"/>
                  </a:lnTo>
                  <a:lnTo>
                    <a:pt x="1390" y="33"/>
                  </a:lnTo>
                  <a:close/>
                  <a:moveTo>
                    <a:pt x="1002" y="0"/>
                  </a:moveTo>
                  <a:lnTo>
                    <a:pt x="994" y="12"/>
                  </a:lnTo>
                  <a:lnTo>
                    <a:pt x="985" y="23"/>
                  </a:lnTo>
                  <a:lnTo>
                    <a:pt x="980" y="38"/>
                  </a:lnTo>
                  <a:lnTo>
                    <a:pt x="990" y="37"/>
                  </a:lnTo>
                  <a:lnTo>
                    <a:pt x="997" y="40"/>
                  </a:lnTo>
                  <a:lnTo>
                    <a:pt x="1002" y="45"/>
                  </a:lnTo>
                  <a:lnTo>
                    <a:pt x="1009" y="54"/>
                  </a:lnTo>
                  <a:lnTo>
                    <a:pt x="1011" y="47"/>
                  </a:lnTo>
                  <a:lnTo>
                    <a:pt x="1011" y="42"/>
                  </a:lnTo>
                  <a:lnTo>
                    <a:pt x="1013" y="38"/>
                  </a:lnTo>
                  <a:lnTo>
                    <a:pt x="1013" y="33"/>
                  </a:lnTo>
                  <a:lnTo>
                    <a:pt x="1022" y="33"/>
                  </a:lnTo>
                  <a:lnTo>
                    <a:pt x="1027" y="45"/>
                  </a:lnTo>
                  <a:lnTo>
                    <a:pt x="1035" y="49"/>
                  </a:lnTo>
                  <a:lnTo>
                    <a:pt x="1042" y="52"/>
                  </a:lnTo>
                  <a:lnTo>
                    <a:pt x="1049" y="56"/>
                  </a:lnTo>
                  <a:lnTo>
                    <a:pt x="1056" y="64"/>
                  </a:lnTo>
                  <a:lnTo>
                    <a:pt x="1049" y="75"/>
                  </a:lnTo>
                  <a:lnTo>
                    <a:pt x="1041" y="87"/>
                  </a:lnTo>
                  <a:lnTo>
                    <a:pt x="1034" y="103"/>
                  </a:lnTo>
                  <a:lnTo>
                    <a:pt x="1028" y="117"/>
                  </a:lnTo>
                  <a:lnTo>
                    <a:pt x="1028" y="126"/>
                  </a:lnTo>
                  <a:lnTo>
                    <a:pt x="1030" y="131"/>
                  </a:lnTo>
                  <a:lnTo>
                    <a:pt x="1030" y="134"/>
                  </a:lnTo>
                  <a:lnTo>
                    <a:pt x="1032" y="136"/>
                  </a:lnTo>
                  <a:lnTo>
                    <a:pt x="1034" y="138"/>
                  </a:lnTo>
                  <a:lnTo>
                    <a:pt x="1035" y="140"/>
                  </a:lnTo>
                  <a:lnTo>
                    <a:pt x="1041" y="141"/>
                  </a:lnTo>
                  <a:lnTo>
                    <a:pt x="1041" y="138"/>
                  </a:lnTo>
                  <a:lnTo>
                    <a:pt x="1044" y="131"/>
                  </a:lnTo>
                  <a:lnTo>
                    <a:pt x="1049" y="120"/>
                  </a:lnTo>
                  <a:lnTo>
                    <a:pt x="1055" y="106"/>
                  </a:lnTo>
                  <a:lnTo>
                    <a:pt x="1060" y="94"/>
                  </a:lnTo>
                  <a:lnTo>
                    <a:pt x="1065" y="84"/>
                  </a:lnTo>
                  <a:lnTo>
                    <a:pt x="1067" y="77"/>
                  </a:lnTo>
                  <a:lnTo>
                    <a:pt x="1079" y="77"/>
                  </a:lnTo>
                  <a:lnTo>
                    <a:pt x="1081" y="96"/>
                  </a:lnTo>
                  <a:lnTo>
                    <a:pt x="1081" y="113"/>
                  </a:lnTo>
                  <a:lnTo>
                    <a:pt x="1081" y="134"/>
                  </a:lnTo>
                  <a:lnTo>
                    <a:pt x="1083" y="157"/>
                  </a:lnTo>
                  <a:lnTo>
                    <a:pt x="1105" y="160"/>
                  </a:lnTo>
                  <a:lnTo>
                    <a:pt x="1114" y="147"/>
                  </a:lnTo>
                  <a:lnTo>
                    <a:pt x="1130" y="138"/>
                  </a:lnTo>
                  <a:lnTo>
                    <a:pt x="1147" y="129"/>
                  </a:lnTo>
                  <a:lnTo>
                    <a:pt x="1165" y="122"/>
                  </a:lnTo>
                  <a:lnTo>
                    <a:pt x="1182" y="115"/>
                  </a:lnTo>
                  <a:lnTo>
                    <a:pt x="1198" y="106"/>
                  </a:lnTo>
                  <a:lnTo>
                    <a:pt x="1205" y="96"/>
                  </a:lnTo>
                  <a:lnTo>
                    <a:pt x="1201" y="96"/>
                  </a:lnTo>
                  <a:lnTo>
                    <a:pt x="1200" y="92"/>
                  </a:lnTo>
                  <a:lnTo>
                    <a:pt x="1200" y="91"/>
                  </a:lnTo>
                  <a:lnTo>
                    <a:pt x="1198" y="89"/>
                  </a:lnTo>
                  <a:lnTo>
                    <a:pt x="1198" y="89"/>
                  </a:lnTo>
                  <a:lnTo>
                    <a:pt x="1196" y="89"/>
                  </a:lnTo>
                  <a:lnTo>
                    <a:pt x="1194" y="89"/>
                  </a:lnTo>
                  <a:lnTo>
                    <a:pt x="1191" y="87"/>
                  </a:lnTo>
                  <a:lnTo>
                    <a:pt x="1184" y="92"/>
                  </a:lnTo>
                  <a:lnTo>
                    <a:pt x="1172" y="99"/>
                  </a:lnTo>
                  <a:lnTo>
                    <a:pt x="1158" y="110"/>
                  </a:lnTo>
                  <a:lnTo>
                    <a:pt x="1140" y="119"/>
                  </a:lnTo>
                  <a:lnTo>
                    <a:pt x="1124" y="129"/>
                  </a:lnTo>
                  <a:lnTo>
                    <a:pt x="1109" y="136"/>
                  </a:lnTo>
                  <a:lnTo>
                    <a:pt x="1098" y="140"/>
                  </a:lnTo>
                  <a:lnTo>
                    <a:pt x="1095" y="141"/>
                  </a:lnTo>
                  <a:lnTo>
                    <a:pt x="1093" y="140"/>
                  </a:lnTo>
                  <a:lnTo>
                    <a:pt x="1091" y="138"/>
                  </a:lnTo>
                  <a:lnTo>
                    <a:pt x="1091" y="136"/>
                  </a:lnTo>
                  <a:lnTo>
                    <a:pt x="1091" y="134"/>
                  </a:lnTo>
                  <a:lnTo>
                    <a:pt x="1090" y="131"/>
                  </a:lnTo>
                  <a:lnTo>
                    <a:pt x="1095" y="122"/>
                  </a:lnTo>
                  <a:lnTo>
                    <a:pt x="1095" y="115"/>
                  </a:lnTo>
                  <a:lnTo>
                    <a:pt x="1093" y="110"/>
                  </a:lnTo>
                  <a:lnTo>
                    <a:pt x="1091" y="101"/>
                  </a:lnTo>
                  <a:lnTo>
                    <a:pt x="1095" y="91"/>
                  </a:lnTo>
                  <a:lnTo>
                    <a:pt x="1097" y="89"/>
                  </a:lnTo>
                  <a:lnTo>
                    <a:pt x="1098" y="87"/>
                  </a:lnTo>
                  <a:lnTo>
                    <a:pt x="1100" y="85"/>
                  </a:lnTo>
                  <a:lnTo>
                    <a:pt x="1102" y="85"/>
                  </a:lnTo>
                  <a:lnTo>
                    <a:pt x="1104" y="85"/>
                  </a:lnTo>
                  <a:lnTo>
                    <a:pt x="1105" y="84"/>
                  </a:lnTo>
                  <a:lnTo>
                    <a:pt x="1107" y="82"/>
                  </a:lnTo>
                  <a:lnTo>
                    <a:pt x="1107" y="78"/>
                  </a:lnTo>
                  <a:lnTo>
                    <a:pt x="1109" y="73"/>
                  </a:lnTo>
                  <a:lnTo>
                    <a:pt x="1109" y="64"/>
                  </a:lnTo>
                  <a:lnTo>
                    <a:pt x="1100" y="59"/>
                  </a:lnTo>
                  <a:lnTo>
                    <a:pt x="1091" y="57"/>
                  </a:lnTo>
                  <a:lnTo>
                    <a:pt x="1084" y="57"/>
                  </a:lnTo>
                  <a:lnTo>
                    <a:pt x="1076" y="54"/>
                  </a:lnTo>
                  <a:lnTo>
                    <a:pt x="1063" y="45"/>
                  </a:lnTo>
                  <a:lnTo>
                    <a:pt x="1055" y="37"/>
                  </a:lnTo>
                  <a:lnTo>
                    <a:pt x="1049" y="26"/>
                  </a:lnTo>
                  <a:lnTo>
                    <a:pt x="1042" y="16"/>
                  </a:lnTo>
                  <a:lnTo>
                    <a:pt x="1034" y="9"/>
                  </a:lnTo>
                  <a:lnTo>
                    <a:pt x="1020" y="2"/>
                  </a:lnTo>
                  <a:lnTo>
                    <a:pt x="1002" y="0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xmlns="" id="{B59D3911-2981-4714-9624-F31EE49C7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5001" y="2108200"/>
              <a:ext cx="7697789" cy="3846514"/>
            </a:xfrm>
            <a:custGeom>
              <a:avLst/>
              <a:gdLst>
                <a:gd name="T0" fmla="*/ 1599 w 4849"/>
                <a:gd name="T1" fmla="*/ 786 h 2423"/>
                <a:gd name="T2" fmla="*/ 1536 w 4849"/>
                <a:gd name="T3" fmla="*/ 779 h 2423"/>
                <a:gd name="T4" fmla="*/ 529 w 4849"/>
                <a:gd name="T5" fmla="*/ 651 h 2423"/>
                <a:gd name="T6" fmla="*/ 4301 w 4849"/>
                <a:gd name="T7" fmla="*/ 791 h 2423"/>
                <a:gd name="T8" fmla="*/ 2510 w 4849"/>
                <a:gd name="T9" fmla="*/ 575 h 2423"/>
                <a:gd name="T10" fmla="*/ 2579 w 4849"/>
                <a:gd name="T11" fmla="*/ 552 h 2423"/>
                <a:gd name="T12" fmla="*/ 2649 w 4849"/>
                <a:gd name="T13" fmla="*/ 522 h 2423"/>
                <a:gd name="T14" fmla="*/ 2347 w 4849"/>
                <a:gd name="T15" fmla="*/ 611 h 2423"/>
                <a:gd name="T16" fmla="*/ 2304 w 4849"/>
                <a:gd name="T17" fmla="*/ 615 h 2423"/>
                <a:gd name="T18" fmla="*/ 2269 w 4849"/>
                <a:gd name="T19" fmla="*/ 580 h 2423"/>
                <a:gd name="T20" fmla="*/ 1234 w 4849"/>
                <a:gd name="T21" fmla="*/ 424 h 2423"/>
                <a:gd name="T22" fmla="*/ 1297 w 4849"/>
                <a:gd name="T23" fmla="*/ 367 h 2423"/>
                <a:gd name="T24" fmla="*/ 1178 w 4849"/>
                <a:gd name="T25" fmla="*/ 307 h 2423"/>
                <a:gd name="T26" fmla="*/ 1171 w 4849"/>
                <a:gd name="T27" fmla="*/ 369 h 2423"/>
                <a:gd name="T28" fmla="*/ 2044 w 4849"/>
                <a:gd name="T29" fmla="*/ 365 h 2423"/>
                <a:gd name="T30" fmla="*/ 2082 w 4849"/>
                <a:gd name="T31" fmla="*/ 288 h 2423"/>
                <a:gd name="T32" fmla="*/ 1297 w 4849"/>
                <a:gd name="T33" fmla="*/ 215 h 2423"/>
                <a:gd name="T34" fmla="*/ 2979 w 4849"/>
                <a:gd name="T35" fmla="*/ 177 h 2423"/>
                <a:gd name="T36" fmla="*/ 4833 w 4849"/>
                <a:gd name="T37" fmla="*/ 109 h 2423"/>
                <a:gd name="T38" fmla="*/ 1082 w 4849"/>
                <a:gd name="T39" fmla="*/ 131 h 2423"/>
                <a:gd name="T40" fmla="*/ 1167 w 4849"/>
                <a:gd name="T41" fmla="*/ 154 h 2423"/>
                <a:gd name="T42" fmla="*/ 1197 w 4849"/>
                <a:gd name="T43" fmla="*/ 273 h 2423"/>
                <a:gd name="T44" fmla="*/ 1078 w 4849"/>
                <a:gd name="T45" fmla="*/ 379 h 2423"/>
                <a:gd name="T46" fmla="*/ 1164 w 4849"/>
                <a:gd name="T47" fmla="*/ 582 h 2423"/>
                <a:gd name="T48" fmla="*/ 1281 w 4849"/>
                <a:gd name="T49" fmla="*/ 575 h 2423"/>
                <a:gd name="T50" fmla="*/ 1386 w 4849"/>
                <a:gd name="T51" fmla="*/ 484 h 2423"/>
                <a:gd name="T52" fmla="*/ 1501 w 4849"/>
                <a:gd name="T53" fmla="*/ 564 h 2423"/>
                <a:gd name="T54" fmla="*/ 1396 w 4849"/>
                <a:gd name="T55" fmla="*/ 721 h 2423"/>
                <a:gd name="T56" fmla="*/ 1459 w 4849"/>
                <a:gd name="T57" fmla="*/ 798 h 2423"/>
                <a:gd name="T58" fmla="*/ 1298 w 4849"/>
                <a:gd name="T59" fmla="*/ 955 h 2423"/>
                <a:gd name="T60" fmla="*/ 1124 w 4849"/>
                <a:gd name="T61" fmla="*/ 1077 h 2423"/>
                <a:gd name="T62" fmla="*/ 1085 w 4849"/>
                <a:gd name="T63" fmla="*/ 1234 h 2423"/>
                <a:gd name="T64" fmla="*/ 1194 w 4849"/>
                <a:gd name="T65" fmla="*/ 1320 h 2423"/>
                <a:gd name="T66" fmla="*/ 1361 w 4849"/>
                <a:gd name="T67" fmla="*/ 1344 h 2423"/>
                <a:gd name="T68" fmla="*/ 1616 w 4849"/>
                <a:gd name="T69" fmla="*/ 1421 h 2423"/>
                <a:gd name="T70" fmla="*/ 1866 w 4849"/>
                <a:gd name="T71" fmla="*/ 1604 h 2423"/>
                <a:gd name="T72" fmla="*/ 1647 w 4849"/>
                <a:gd name="T73" fmla="*/ 1966 h 2423"/>
                <a:gd name="T74" fmla="*/ 1496 w 4849"/>
                <a:gd name="T75" fmla="*/ 2105 h 2423"/>
                <a:gd name="T76" fmla="*/ 1431 w 4849"/>
                <a:gd name="T77" fmla="*/ 2215 h 2423"/>
                <a:gd name="T78" fmla="*/ 1396 w 4849"/>
                <a:gd name="T79" fmla="*/ 2371 h 2423"/>
                <a:gd name="T80" fmla="*/ 1302 w 4849"/>
                <a:gd name="T81" fmla="*/ 2315 h 2423"/>
                <a:gd name="T82" fmla="*/ 1270 w 4849"/>
                <a:gd name="T83" fmla="*/ 1667 h 2423"/>
                <a:gd name="T84" fmla="*/ 1269 w 4849"/>
                <a:gd name="T85" fmla="*/ 1400 h 2423"/>
                <a:gd name="T86" fmla="*/ 1056 w 4849"/>
                <a:gd name="T87" fmla="*/ 1288 h 2423"/>
                <a:gd name="T88" fmla="*/ 813 w 4849"/>
                <a:gd name="T89" fmla="*/ 1102 h 2423"/>
                <a:gd name="T90" fmla="*/ 818 w 4849"/>
                <a:gd name="T91" fmla="*/ 1171 h 2423"/>
                <a:gd name="T92" fmla="*/ 642 w 4849"/>
                <a:gd name="T93" fmla="*/ 939 h 2423"/>
                <a:gd name="T94" fmla="*/ 639 w 4849"/>
                <a:gd name="T95" fmla="*/ 739 h 2423"/>
                <a:gd name="T96" fmla="*/ 490 w 4849"/>
                <a:gd name="T97" fmla="*/ 522 h 2423"/>
                <a:gd name="T98" fmla="*/ 141 w 4849"/>
                <a:gd name="T99" fmla="*/ 576 h 2423"/>
                <a:gd name="T100" fmla="*/ 115 w 4849"/>
                <a:gd name="T101" fmla="*/ 482 h 2423"/>
                <a:gd name="T102" fmla="*/ 85 w 4849"/>
                <a:gd name="T103" fmla="*/ 334 h 2423"/>
                <a:gd name="T104" fmla="*/ 110 w 4849"/>
                <a:gd name="T105" fmla="*/ 255 h 2423"/>
                <a:gd name="T106" fmla="*/ 234 w 4849"/>
                <a:gd name="T107" fmla="*/ 107 h 2423"/>
                <a:gd name="T108" fmla="*/ 499 w 4849"/>
                <a:gd name="T109" fmla="*/ 136 h 2423"/>
                <a:gd name="T110" fmla="*/ 632 w 4849"/>
                <a:gd name="T111" fmla="*/ 149 h 2423"/>
                <a:gd name="T112" fmla="*/ 771 w 4849"/>
                <a:gd name="T113" fmla="*/ 218 h 2423"/>
                <a:gd name="T114" fmla="*/ 979 w 4849"/>
                <a:gd name="T115" fmla="*/ 222 h 2423"/>
                <a:gd name="T116" fmla="*/ 918 w 4849"/>
                <a:gd name="T117" fmla="*/ 131 h 2423"/>
                <a:gd name="T118" fmla="*/ 733 w 4849"/>
                <a:gd name="T119" fmla="*/ 157 h 2423"/>
                <a:gd name="T120" fmla="*/ 776 w 4849"/>
                <a:gd name="T121" fmla="*/ 42 h 2423"/>
                <a:gd name="T122" fmla="*/ 902 w 4849"/>
                <a:gd name="T123" fmla="*/ 28 h 2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49" h="2423">
                  <a:moveTo>
                    <a:pt x="1469" y="711"/>
                  </a:moveTo>
                  <a:lnTo>
                    <a:pt x="1482" y="712"/>
                  </a:lnTo>
                  <a:lnTo>
                    <a:pt x="1490" y="714"/>
                  </a:lnTo>
                  <a:lnTo>
                    <a:pt x="1501" y="718"/>
                  </a:lnTo>
                  <a:lnTo>
                    <a:pt x="1501" y="726"/>
                  </a:lnTo>
                  <a:lnTo>
                    <a:pt x="1497" y="726"/>
                  </a:lnTo>
                  <a:lnTo>
                    <a:pt x="1494" y="728"/>
                  </a:lnTo>
                  <a:lnTo>
                    <a:pt x="1490" y="728"/>
                  </a:lnTo>
                  <a:lnTo>
                    <a:pt x="1487" y="728"/>
                  </a:lnTo>
                  <a:lnTo>
                    <a:pt x="1482" y="730"/>
                  </a:lnTo>
                  <a:lnTo>
                    <a:pt x="1478" y="725"/>
                  </a:lnTo>
                  <a:lnTo>
                    <a:pt x="1476" y="723"/>
                  </a:lnTo>
                  <a:lnTo>
                    <a:pt x="1475" y="719"/>
                  </a:lnTo>
                  <a:lnTo>
                    <a:pt x="1473" y="716"/>
                  </a:lnTo>
                  <a:lnTo>
                    <a:pt x="1469" y="711"/>
                  </a:lnTo>
                  <a:close/>
                  <a:moveTo>
                    <a:pt x="1551" y="691"/>
                  </a:moveTo>
                  <a:lnTo>
                    <a:pt x="1562" y="691"/>
                  </a:lnTo>
                  <a:lnTo>
                    <a:pt x="1562" y="705"/>
                  </a:lnTo>
                  <a:lnTo>
                    <a:pt x="1562" y="718"/>
                  </a:lnTo>
                  <a:lnTo>
                    <a:pt x="1564" y="728"/>
                  </a:lnTo>
                  <a:lnTo>
                    <a:pt x="1565" y="740"/>
                  </a:lnTo>
                  <a:lnTo>
                    <a:pt x="1585" y="740"/>
                  </a:lnTo>
                  <a:lnTo>
                    <a:pt x="1585" y="760"/>
                  </a:lnTo>
                  <a:lnTo>
                    <a:pt x="1593" y="760"/>
                  </a:lnTo>
                  <a:lnTo>
                    <a:pt x="1595" y="761"/>
                  </a:lnTo>
                  <a:lnTo>
                    <a:pt x="1597" y="761"/>
                  </a:lnTo>
                  <a:lnTo>
                    <a:pt x="1599" y="761"/>
                  </a:lnTo>
                  <a:lnTo>
                    <a:pt x="1600" y="761"/>
                  </a:lnTo>
                  <a:lnTo>
                    <a:pt x="1602" y="761"/>
                  </a:lnTo>
                  <a:lnTo>
                    <a:pt x="1604" y="763"/>
                  </a:lnTo>
                  <a:lnTo>
                    <a:pt x="1602" y="774"/>
                  </a:lnTo>
                  <a:lnTo>
                    <a:pt x="1599" y="786"/>
                  </a:lnTo>
                  <a:lnTo>
                    <a:pt x="1597" y="798"/>
                  </a:lnTo>
                  <a:lnTo>
                    <a:pt x="1593" y="798"/>
                  </a:lnTo>
                  <a:lnTo>
                    <a:pt x="1592" y="794"/>
                  </a:lnTo>
                  <a:lnTo>
                    <a:pt x="1592" y="793"/>
                  </a:lnTo>
                  <a:lnTo>
                    <a:pt x="1592" y="791"/>
                  </a:lnTo>
                  <a:lnTo>
                    <a:pt x="1590" y="789"/>
                  </a:lnTo>
                  <a:lnTo>
                    <a:pt x="1590" y="787"/>
                  </a:lnTo>
                  <a:lnTo>
                    <a:pt x="1588" y="791"/>
                  </a:lnTo>
                  <a:lnTo>
                    <a:pt x="1586" y="791"/>
                  </a:lnTo>
                  <a:lnTo>
                    <a:pt x="1586" y="793"/>
                  </a:lnTo>
                  <a:lnTo>
                    <a:pt x="1586" y="793"/>
                  </a:lnTo>
                  <a:lnTo>
                    <a:pt x="1586" y="793"/>
                  </a:lnTo>
                  <a:lnTo>
                    <a:pt x="1585" y="793"/>
                  </a:lnTo>
                  <a:lnTo>
                    <a:pt x="1581" y="794"/>
                  </a:lnTo>
                  <a:lnTo>
                    <a:pt x="1581" y="787"/>
                  </a:lnTo>
                  <a:lnTo>
                    <a:pt x="1583" y="786"/>
                  </a:lnTo>
                  <a:lnTo>
                    <a:pt x="1583" y="784"/>
                  </a:lnTo>
                  <a:lnTo>
                    <a:pt x="1585" y="782"/>
                  </a:lnTo>
                  <a:lnTo>
                    <a:pt x="1585" y="779"/>
                  </a:lnTo>
                  <a:lnTo>
                    <a:pt x="1585" y="775"/>
                  </a:lnTo>
                  <a:lnTo>
                    <a:pt x="1581" y="775"/>
                  </a:lnTo>
                  <a:lnTo>
                    <a:pt x="1574" y="782"/>
                  </a:lnTo>
                  <a:lnTo>
                    <a:pt x="1567" y="789"/>
                  </a:lnTo>
                  <a:lnTo>
                    <a:pt x="1558" y="794"/>
                  </a:lnTo>
                  <a:lnTo>
                    <a:pt x="1558" y="789"/>
                  </a:lnTo>
                  <a:lnTo>
                    <a:pt x="1558" y="784"/>
                  </a:lnTo>
                  <a:lnTo>
                    <a:pt x="1558" y="782"/>
                  </a:lnTo>
                  <a:lnTo>
                    <a:pt x="1557" y="781"/>
                  </a:lnTo>
                  <a:lnTo>
                    <a:pt x="1553" y="779"/>
                  </a:lnTo>
                  <a:lnTo>
                    <a:pt x="1548" y="779"/>
                  </a:lnTo>
                  <a:lnTo>
                    <a:pt x="1539" y="779"/>
                  </a:lnTo>
                  <a:lnTo>
                    <a:pt x="1536" y="779"/>
                  </a:lnTo>
                  <a:lnTo>
                    <a:pt x="1532" y="779"/>
                  </a:lnTo>
                  <a:lnTo>
                    <a:pt x="1527" y="777"/>
                  </a:lnTo>
                  <a:lnTo>
                    <a:pt x="1522" y="777"/>
                  </a:lnTo>
                  <a:lnTo>
                    <a:pt x="1517" y="775"/>
                  </a:lnTo>
                  <a:lnTo>
                    <a:pt x="1513" y="772"/>
                  </a:lnTo>
                  <a:lnTo>
                    <a:pt x="1523" y="758"/>
                  </a:lnTo>
                  <a:lnTo>
                    <a:pt x="1534" y="737"/>
                  </a:lnTo>
                  <a:lnTo>
                    <a:pt x="1541" y="714"/>
                  </a:lnTo>
                  <a:lnTo>
                    <a:pt x="1551" y="691"/>
                  </a:lnTo>
                  <a:close/>
                  <a:moveTo>
                    <a:pt x="1220" y="630"/>
                  </a:moveTo>
                  <a:lnTo>
                    <a:pt x="1235" y="630"/>
                  </a:lnTo>
                  <a:lnTo>
                    <a:pt x="1235" y="637"/>
                  </a:lnTo>
                  <a:lnTo>
                    <a:pt x="1232" y="637"/>
                  </a:lnTo>
                  <a:lnTo>
                    <a:pt x="1230" y="639"/>
                  </a:lnTo>
                  <a:lnTo>
                    <a:pt x="1229" y="639"/>
                  </a:lnTo>
                  <a:lnTo>
                    <a:pt x="1227" y="639"/>
                  </a:lnTo>
                  <a:lnTo>
                    <a:pt x="1225" y="641"/>
                  </a:lnTo>
                  <a:lnTo>
                    <a:pt x="1220" y="641"/>
                  </a:lnTo>
                  <a:lnTo>
                    <a:pt x="1220" y="630"/>
                  </a:lnTo>
                  <a:close/>
                  <a:moveTo>
                    <a:pt x="515" y="622"/>
                  </a:moveTo>
                  <a:lnTo>
                    <a:pt x="522" y="622"/>
                  </a:lnTo>
                  <a:lnTo>
                    <a:pt x="525" y="623"/>
                  </a:lnTo>
                  <a:lnTo>
                    <a:pt x="529" y="625"/>
                  </a:lnTo>
                  <a:lnTo>
                    <a:pt x="534" y="625"/>
                  </a:lnTo>
                  <a:lnTo>
                    <a:pt x="541" y="625"/>
                  </a:lnTo>
                  <a:lnTo>
                    <a:pt x="543" y="639"/>
                  </a:lnTo>
                  <a:lnTo>
                    <a:pt x="546" y="650"/>
                  </a:lnTo>
                  <a:lnTo>
                    <a:pt x="548" y="664"/>
                  </a:lnTo>
                  <a:lnTo>
                    <a:pt x="541" y="664"/>
                  </a:lnTo>
                  <a:lnTo>
                    <a:pt x="537" y="658"/>
                  </a:lnTo>
                  <a:lnTo>
                    <a:pt x="534" y="655"/>
                  </a:lnTo>
                  <a:lnTo>
                    <a:pt x="529" y="651"/>
                  </a:lnTo>
                  <a:lnTo>
                    <a:pt x="525" y="648"/>
                  </a:lnTo>
                  <a:lnTo>
                    <a:pt x="522" y="643"/>
                  </a:lnTo>
                  <a:lnTo>
                    <a:pt x="518" y="637"/>
                  </a:lnTo>
                  <a:lnTo>
                    <a:pt x="516" y="634"/>
                  </a:lnTo>
                  <a:lnTo>
                    <a:pt x="515" y="630"/>
                  </a:lnTo>
                  <a:lnTo>
                    <a:pt x="515" y="627"/>
                  </a:lnTo>
                  <a:lnTo>
                    <a:pt x="515" y="622"/>
                  </a:lnTo>
                  <a:close/>
                  <a:moveTo>
                    <a:pt x="4304" y="609"/>
                  </a:moveTo>
                  <a:lnTo>
                    <a:pt x="4306" y="611"/>
                  </a:lnTo>
                  <a:lnTo>
                    <a:pt x="4306" y="611"/>
                  </a:lnTo>
                  <a:lnTo>
                    <a:pt x="4306" y="611"/>
                  </a:lnTo>
                  <a:lnTo>
                    <a:pt x="4306" y="613"/>
                  </a:lnTo>
                  <a:lnTo>
                    <a:pt x="4307" y="613"/>
                  </a:lnTo>
                  <a:lnTo>
                    <a:pt x="4307" y="615"/>
                  </a:lnTo>
                  <a:lnTo>
                    <a:pt x="4313" y="627"/>
                  </a:lnTo>
                  <a:lnTo>
                    <a:pt x="4313" y="643"/>
                  </a:lnTo>
                  <a:lnTo>
                    <a:pt x="4313" y="658"/>
                  </a:lnTo>
                  <a:lnTo>
                    <a:pt x="4316" y="676"/>
                  </a:lnTo>
                  <a:lnTo>
                    <a:pt x="4321" y="693"/>
                  </a:lnTo>
                  <a:lnTo>
                    <a:pt x="4330" y="712"/>
                  </a:lnTo>
                  <a:lnTo>
                    <a:pt x="4335" y="733"/>
                  </a:lnTo>
                  <a:lnTo>
                    <a:pt x="4311" y="730"/>
                  </a:lnTo>
                  <a:lnTo>
                    <a:pt x="4311" y="746"/>
                  </a:lnTo>
                  <a:lnTo>
                    <a:pt x="4314" y="758"/>
                  </a:lnTo>
                  <a:lnTo>
                    <a:pt x="4316" y="770"/>
                  </a:lnTo>
                  <a:lnTo>
                    <a:pt x="4320" y="787"/>
                  </a:lnTo>
                  <a:lnTo>
                    <a:pt x="4314" y="787"/>
                  </a:lnTo>
                  <a:lnTo>
                    <a:pt x="4311" y="787"/>
                  </a:lnTo>
                  <a:lnTo>
                    <a:pt x="4306" y="789"/>
                  </a:lnTo>
                  <a:lnTo>
                    <a:pt x="4304" y="789"/>
                  </a:lnTo>
                  <a:lnTo>
                    <a:pt x="4301" y="791"/>
                  </a:lnTo>
                  <a:lnTo>
                    <a:pt x="4301" y="791"/>
                  </a:lnTo>
                  <a:lnTo>
                    <a:pt x="4297" y="781"/>
                  </a:lnTo>
                  <a:lnTo>
                    <a:pt x="4295" y="761"/>
                  </a:lnTo>
                  <a:lnTo>
                    <a:pt x="4295" y="739"/>
                  </a:lnTo>
                  <a:lnTo>
                    <a:pt x="4295" y="714"/>
                  </a:lnTo>
                  <a:lnTo>
                    <a:pt x="4295" y="691"/>
                  </a:lnTo>
                  <a:lnTo>
                    <a:pt x="4292" y="676"/>
                  </a:lnTo>
                  <a:lnTo>
                    <a:pt x="4292" y="637"/>
                  </a:lnTo>
                  <a:lnTo>
                    <a:pt x="4295" y="632"/>
                  </a:lnTo>
                  <a:lnTo>
                    <a:pt x="4297" y="629"/>
                  </a:lnTo>
                  <a:lnTo>
                    <a:pt x="4299" y="625"/>
                  </a:lnTo>
                  <a:lnTo>
                    <a:pt x="4301" y="622"/>
                  </a:lnTo>
                  <a:lnTo>
                    <a:pt x="4302" y="616"/>
                  </a:lnTo>
                  <a:lnTo>
                    <a:pt x="4304" y="609"/>
                  </a:lnTo>
                  <a:close/>
                  <a:moveTo>
                    <a:pt x="2253" y="595"/>
                  </a:moveTo>
                  <a:lnTo>
                    <a:pt x="2257" y="616"/>
                  </a:lnTo>
                  <a:lnTo>
                    <a:pt x="2255" y="637"/>
                  </a:lnTo>
                  <a:lnTo>
                    <a:pt x="2250" y="660"/>
                  </a:lnTo>
                  <a:lnTo>
                    <a:pt x="2236" y="667"/>
                  </a:lnTo>
                  <a:lnTo>
                    <a:pt x="2223" y="671"/>
                  </a:lnTo>
                  <a:lnTo>
                    <a:pt x="2204" y="672"/>
                  </a:lnTo>
                  <a:lnTo>
                    <a:pt x="2204" y="664"/>
                  </a:lnTo>
                  <a:lnTo>
                    <a:pt x="2209" y="651"/>
                  </a:lnTo>
                  <a:lnTo>
                    <a:pt x="2209" y="636"/>
                  </a:lnTo>
                  <a:lnTo>
                    <a:pt x="2208" y="618"/>
                  </a:lnTo>
                  <a:lnTo>
                    <a:pt x="2218" y="609"/>
                  </a:lnTo>
                  <a:lnTo>
                    <a:pt x="2227" y="602"/>
                  </a:lnTo>
                  <a:lnTo>
                    <a:pt x="2237" y="597"/>
                  </a:lnTo>
                  <a:lnTo>
                    <a:pt x="2253" y="595"/>
                  </a:lnTo>
                  <a:close/>
                  <a:moveTo>
                    <a:pt x="2503" y="568"/>
                  </a:moveTo>
                  <a:lnTo>
                    <a:pt x="2506" y="571"/>
                  </a:lnTo>
                  <a:lnTo>
                    <a:pt x="2508" y="573"/>
                  </a:lnTo>
                  <a:lnTo>
                    <a:pt x="2510" y="575"/>
                  </a:lnTo>
                  <a:lnTo>
                    <a:pt x="2510" y="578"/>
                  </a:lnTo>
                  <a:lnTo>
                    <a:pt x="2510" y="582"/>
                  </a:lnTo>
                  <a:lnTo>
                    <a:pt x="2511" y="587"/>
                  </a:lnTo>
                  <a:lnTo>
                    <a:pt x="2510" y="590"/>
                  </a:lnTo>
                  <a:lnTo>
                    <a:pt x="2508" y="592"/>
                  </a:lnTo>
                  <a:lnTo>
                    <a:pt x="2508" y="594"/>
                  </a:lnTo>
                  <a:lnTo>
                    <a:pt x="2508" y="595"/>
                  </a:lnTo>
                  <a:lnTo>
                    <a:pt x="2508" y="597"/>
                  </a:lnTo>
                  <a:lnTo>
                    <a:pt x="2506" y="599"/>
                  </a:lnTo>
                  <a:lnTo>
                    <a:pt x="2504" y="601"/>
                  </a:lnTo>
                  <a:lnTo>
                    <a:pt x="2503" y="601"/>
                  </a:lnTo>
                  <a:lnTo>
                    <a:pt x="2501" y="601"/>
                  </a:lnTo>
                  <a:lnTo>
                    <a:pt x="2499" y="602"/>
                  </a:lnTo>
                  <a:lnTo>
                    <a:pt x="2496" y="602"/>
                  </a:lnTo>
                  <a:lnTo>
                    <a:pt x="2490" y="590"/>
                  </a:lnTo>
                  <a:lnTo>
                    <a:pt x="2487" y="585"/>
                  </a:lnTo>
                  <a:lnTo>
                    <a:pt x="2487" y="583"/>
                  </a:lnTo>
                  <a:lnTo>
                    <a:pt x="2489" y="582"/>
                  </a:lnTo>
                  <a:lnTo>
                    <a:pt x="2496" y="578"/>
                  </a:lnTo>
                  <a:lnTo>
                    <a:pt x="2503" y="568"/>
                  </a:lnTo>
                  <a:close/>
                  <a:moveTo>
                    <a:pt x="2583" y="529"/>
                  </a:moveTo>
                  <a:lnTo>
                    <a:pt x="2588" y="531"/>
                  </a:lnTo>
                  <a:lnTo>
                    <a:pt x="2590" y="531"/>
                  </a:lnTo>
                  <a:lnTo>
                    <a:pt x="2592" y="531"/>
                  </a:lnTo>
                  <a:lnTo>
                    <a:pt x="2593" y="533"/>
                  </a:lnTo>
                  <a:lnTo>
                    <a:pt x="2595" y="533"/>
                  </a:lnTo>
                  <a:lnTo>
                    <a:pt x="2592" y="538"/>
                  </a:lnTo>
                  <a:lnTo>
                    <a:pt x="2590" y="543"/>
                  </a:lnTo>
                  <a:lnTo>
                    <a:pt x="2588" y="548"/>
                  </a:lnTo>
                  <a:lnTo>
                    <a:pt x="2585" y="554"/>
                  </a:lnTo>
                  <a:lnTo>
                    <a:pt x="2579" y="557"/>
                  </a:lnTo>
                  <a:lnTo>
                    <a:pt x="2579" y="552"/>
                  </a:lnTo>
                  <a:lnTo>
                    <a:pt x="2578" y="552"/>
                  </a:lnTo>
                  <a:lnTo>
                    <a:pt x="2578" y="550"/>
                  </a:lnTo>
                  <a:lnTo>
                    <a:pt x="2578" y="550"/>
                  </a:lnTo>
                  <a:lnTo>
                    <a:pt x="2578" y="548"/>
                  </a:lnTo>
                  <a:lnTo>
                    <a:pt x="2576" y="545"/>
                  </a:lnTo>
                  <a:lnTo>
                    <a:pt x="2579" y="541"/>
                  </a:lnTo>
                  <a:lnTo>
                    <a:pt x="2581" y="538"/>
                  </a:lnTo>
                  <a:lnTo>
                    <a:pt x="2583" y="534"/>
                  </a:lnTo>
                  <a:lnTo>
                    <a:pt x="2583" y="529"/>
                  </a:lnTo>
                  <a:close/>
                  <a:moveTo>
                    <a:pt x="246" y="526"/>
                  </a:moveTo>
                  <a:lnTo>
                    <a:pt x="251" y="534"/>
                  </a:lnTo>
                  <a:lnTo>
                    <a:pt x="251" y="541"/>
                  </a:lnTo>
                  <a:lnTo>
                    <a:pt x="246" y="550"/>
                  </a:lnTo>
                  <a:lnTo>
                    <a:pt x="239" y="555"/>
                  </a:lnTo>
                  <a:lnTo>
                    <a:pt x="232" y="559"/>
                  </a:lnTo>
                  <a:lnTo>
                    <a:pt x="230" y="561"/>
                  </a:lnTo>
                  <a:lnTo>
                    <a:pt x="227" y="557"/>
                  </a:lnTo>
                  <a:lnTo>
                    <a:pt x="225" y="554"/>
                  </a:lnTo>
                  <a:lnTo>
                    <a:pt x="223" y="548"/>
                  </a:lnTo>
                  <a:lnTo>
                    <a:pt x="223" y="543"/>
                  </a:lnTo>
                  <a:lnTo>
                    <a:pt x="221" y="538"/>
                  </a:lnTo>
                  <a:lnTo>
                    <a:pt x="234" y="533"/>
                  </a:lnTo>
                  <a:lnTo>
                    <a:pt x="237" y="531"/>
                  </a:lnTo>
                  <a:lnTo>
                    <a:pt x="242" y="529"/>
                  </a:lnTo>
                  <a:lnTo>
                    <a:pt x="246" y="526"/>
                  </a:lnTo>
                  <a:close/>
                  <a:moveTo>
                    <a:pt x="2646" y="503"/>
                  </a:moveTo>
                  <a:lnTo>
                    <a:pt x="2660" y="510"/>
                  </a:lnTo>
                  <a:lnTo>
                    <a:pt x="2660" y="515"/>
                  </a:lnTo>
                  <a:lnTo>
                    <a:pt x="2656" y="515"/>
                  </a:lnTo>
                  <a:lnTo>
                    <a:pt x="2655" y="517"/>
                  </a:lnTo>
                  <a:lnTo>
                    <a:pt x="2651" y="519"/>
                  </a:lnTo>
                  <a:lnTo>
                    <a:pt x="2649" y="522"/>
                  </a:lnTo>
                  <a:lnTo>
                    <a:pt x="2646" y="520"/>
                  </a:lnTo>
                  <a:lnTo>
                    <a:pt x="2644" y="520"/>
                  </a:lnTo>
                  <a:lnTo>
                    <a:pt x="2644" y="520"/>
                  </a:lnTo>
                  <a:lnTo>
                    <a:pt x="2642" y="519"/>
                  </a:lnTo>
                  <a:lnTo>
                    <a:pt x="2641" y="519"/>
                  </a:lnTo>
                  <a:lnTo>
                    <a:pt x="2641" y="515"/>
                  </a:lnTo>
                  <a:lnTo>
                    <a:pt x="2641" y="512"/>
                  </a:lnTo>
                  <a:lnTo>
                    <a:pt x="2641" y="510"/>
                  </a:lnTo>
                  <a:lnTo>
                    <a:pt x="2641" y="510"/>
                  </a:lnTo>
                  <a:lnTo>
                    <a:pt x="2642" y="506"/>
                  </a:lnTo>
                  <a:lnTo>
                    <a:pt x="2646" y="503"/>
                  </a:lnTo>
                  <a:close/>
                  <a:moveTo>
                    <a:pt x="2272" y="494"/>
                  </a:moveTo>
                  <a:lnTo>
                    <a:pt x="2290" y="496"/>
                  </a:lnTo>
                  <a:lnTo>
                    <a:pt x="2304" y="499"/>
                  </a:lnTo>
                  <a:lnTo>
                    <a:pt x="2300" y="506"/>
                  </a:lnTo>
                  <a:lnTo>
                    <a:pt x="2298" y="512"/>
                  </a:lnTo>
                  <a:lnTo>
                    <a:pt x="2295" y="517"/>
                  </a:lnTo>
                  <a:lnTo>
                    <a:pt x="2291" y="522"/>
                  </a:lnTo>
                  <a:lnTo>
                    <a:pt x="2300" y="522"/>
                  </a:lnTo>
                  <a:lnTo>
                    <a:pt x="2304" y="519"/>
                  </a:lnTo>
                  <a:lnTo>
                    <a:pt x="2305" y="517"/>
                  </a:lnTo>
                  <a:lnTo>
                    <a:pt x="2309" y="515"/>
                  </a:lnTo>
                  <a:lnTo>
                    <a:pt x="2314" y="515"/>
                  </a:lnTo>
                  <a:lnTo>
                    <a:pt x="2314" y="522"/>
                  </a:lnTo>
                  <a:lnTo>
                    <a:pt x="2319" y="534"/>
                  </a:lnTo>
                  <a:lnTo>
                    <a:pt x="2316" y="545"/>
                  </a:lnTo>
                  <a:lnTo>
                    <a:pt x="2311" y="554"/>
                  </a:lnTo>
                  <a:lnTo>
                    <a:pt x="2307" y="561"/>
                  </a:lnTo>
                  <a:lnTo>
                    <a:pt x="2316" y="569"/>
                  </a:lnTo>
                  <a:lnTo>
                    <a:pt x="2325" y="582"/>
                  </a:lnTo>
                  <a:lnTo>
                    <a:pt x="2337" y="595"/>
                  </a:lnTo>
                  <a:lnTo>
                    <a:pt x="2347" y="611"/>
                  </a:lnTo>
                  <a:lnTo>
                    <a:pt x="2356" y="629"/>
                  </a:lnTo>
                  <a:lnTo>
                    <a:pt x="2363" y="644"/>
                  </a:lnTo>
                  <a:lnTo>
                    <a:pt x="2365" y="657"/>
                  </a:lnTo>
                  <a:lnTo>
                    <a:pt x="2361" y="669"/>
                  </a:lnTo>
                  <a:lnTo>
                    <a:pt x="2353" y="676"/>
                  </a:lnTo>
                  <a:lnTo>
                    <a:pt x="2342" y="683"/>
                  </a:lnTo>
                  <a:lnTo>
                    <a:pt x="2325" y="690"/>
                  </a:lnTo>
                  <a:lnTo>
                    <a:pt x="2304" y="695"/>
                  </a:lnTo>
                  <a:lnTo>
                    <a:pt x="2285" y="700"/>
                  </a:lnTo>
                  <a:lnTo>
                    <a:pt x="2269" y="702"/>
                  </a:lnTo>
                  <a:lnTo>
                    <a:pt x="2269" y="698"/>
                  </a:lnTo>
                  <a:lnTo>
                    <a:pt x="2279" y="683"/>
                  </a:lnTo>
                  <a:lnTo>
                    <a:pt x="2288" y="667"/>
                  </a:lnTo>
                  <a:lnTo>
                    <a:pt x="2283" y="667"/>
                  </a:lnTo>
                  <a:lnTo>
                    <a:pt x="2279" y="667"/>
                  </a:lnTo>
                  <a:lnTo>
                    <a:pt x="2276" y="665"/>
                  </a:lnTo>
                  <a:lnTo>
                    <a:pt x="2276" y="664"/>
                  </a:lnTo>
                  <a:lnTo>
                    <a:pt x="2274" y="662"/>
                  </a:lnTo>
                  <a:lnTo>
                    <a:pt x="2274" y="658"/>
                  </a:lnTo>
                  <a:lnTo>
                    <a:pt x="2272" y="653"/>
                  </a:lnTo>
                  <a:lnTo>
                    <a:pt x="2285" y="650"/>
                  </a:lnTo>
                  <a:lnTo>
                    <a:pt x="2281" y="646"/>
                  </a:lnTo>
                  <a:lnTo>
                    <a:pt x="2281" y="644"/>
                  </a:lnTo>
                  <a:lnTo>
                    <a:pt x="2279" y="643"/>
                  </a:lnTo>
                  <a:lnTo>
                    <a:pt x="2279" y="643"/>
                  </a:lnTo>
                  <a:lnTo>
                    <a:pt x="2279" y="641"/>
                  </a:lnTo>
                  <a:lnTo>
                    <a:pt x="2281" y="637"/>
                  </a:lnTo>
                  <a:lnTo>
                    <a:pt x="2283" y="630"/>
                  </a:lnTo>
                  <a:lnTo>
                    <a:pt x="2288" y="625"/>
                  </a:lnTo>
                  <a:lnTo>
                    <a:pt x="2291" y="622"/>
                  </a:lnTo>
                  <a:lnTo>
                    <a:pt x="2298" y="618"/>
                  </a:lnTo>
                  <a:lnTo>
                    <a:pt x="2304" y="615"/>
                  </a:lnTo>
                  <a:lnTo>
                    <a:pt x="2302" y="611"/>
                  </a:lnTo>
                  <a:lnTo>
                    <a:pt x="2302" y="609"/>
                  </a:lnTo>
                  <a:lnTo>
                    <a:pt x="2302" y="609"/>
                  </a:lnTo>
                  <a:lnTo>
                    <a:pt x="2300" y="608"/>
                  </a:lnTo>
                  <a:lnTo>
                    <a:pt x="2300" y="606"/>
                  </a:lnTo>
                  <a:lnTo>
                    <a:pt x="2298" y="602"/>
                  </a:lnTo>
                  <a:lnTo>
                    <a:pt x="2297" y="602"/>
                  </a:lnTo>
                  <a:lnTo>
                    <a:pt x="2297" y="601"/>
                  </a:lnTo>
                  <a:lnTo>
                    <a:pt x="2297" y="601"/>
                  </a:lnTo>
                  <a:lnTo>
                    <a:pt x="2297" y="601"/>
                  </a:lnTo>
                  <a:lnTo>
                    <a:pt x="2295" y="601"/>
                  </a:lnTo>
                  <a:lnTo>
                    <a:pt x="2291" y="599"/>
                  </a:lnTo>
                  <a:lnTo>
                    <a:pt x="2288" y="597"/>
                  </a:lnTo>
                  <a:lnTo>
                    <a:pt x="2286" y="597"/>
                  </a:lnTo>
                  <a:lnTo>
                    <a:pt x="2283" y="597"/>
                  </a:lnTo>
                  <a:lnTo>
                    <a:pt x="2279" y="595"/>
                  </a:lnTo>
                  <a:lnTo>
                    <a:pt x="2276" y="595"/>
                  </a:lnTo>
                  <a:lnTo>
                    <a:pt x="2276" y="594"/>
                  </a:lnTo>
                  <a:lnTo>
                    <a:pt x="2274" y="592"/>
                  </a:lnTo>
                  <a:lnTo>
                    <a:pt x="2274" y="590"/>
                  </a:lnTo>
                  <a:lnTo>
                    <a:pt x="2274" y="587"/>
                  </a:lnTo>
                  <a:lnTo>
                    <a:pt x="2272" y="583"/>
                  </a:lnTo>
                  <a:lnTo>
                    <a:pt x="2274" y="582"/>
                  </a:lnTo>
                  <a:lnTo>
                    <a:pt x="2274" y="580"/>
                  </a:lnTo>
                  <a:lnTo>
                    <a:pt x="2276" y="578"/>
                  </a:lnTo>
                  <a:lnTo>
                    <a:pt x="2276" y="576"/>
                  </a:lnTo>
                  <a:lnTo>
                    <a:pt x="2276" y="573"/>
                  </a:lnTo>
                  <a:lnTo>
                    <a:pt x="2272" y="573"/>
                  </a:lnTo>
                  <a:lnTo>
                    <a:pt x="2271" y="576"/>
                  </a:lnTo>
                  <a:lnTo>
                    <a:pt x="2271" y="578"/>
                  </a:lnTo>
                  <a:lnTo>
                    <a:pt x="2271" y="580"/>
                  </a:lnTo>
                  <a:lnTo>
                    <a:pt x="2269" y="580"/>
                  </a:lnTo>
                  <a:lnTo>
                    <a:pt x="2267" y="582"/>
                  </a:lnTo>
                  <a:lnTo>
                    <a:pt x="2265" y="583"/>
                  </a:lnTo>
                  <a:lnTo>
                    <a:pt x="2262" y="566"/>
                  </a:lnTo>
                  <a:lnTo>
                    <a:pt x="2258" y="550"/>
                  </a:lnTo>
                  <a:lnTo>
                    <a:pt x="2257" y="538"/>
                  </a:lnTo>
                  <a:lnTo>
                    <a:pt x="2260" y="529"/>
                  </a:lnTo>
                  <a:lnTo>
                    <a:pt x="2265" y="520"/>
                  </a:lnTo>
                  <a:lnTo>
                    <a:pt x="2271" y="510"/>
                  </a:lnTo>
                  <a:lnTo>
                    <a:pt x="2272" y="494"/>
                  </a:lnTo>
                  <a:close/>
                  <a:moveTo>
                    <a:pt x="29" y="458"/>
                  </a:moveTo>
                  <a:lnTo>
                    <a:pt x="49" y="458"/>
                  </a:lnTo>
                  <a:lnTo>
                    <a:pt x="49" y="465"/>
                  </a:lnTo>
                  <a:lnTo>
                    <a:pt x="45" y="465"/>
                  </a:lnTo>
                  <a:lnTo>
                    <a:pt x="45" y="468"/>
                  </a:lnTo>
                  <a:lnTo>
                    <a:pt x="40" y="466"/>
                  </a:lnTo>
                  <a:lnTo>
                    <a:pt x="36" y="463"/>
                  </a:lnTo>
                  <a:lnTo>
                    <a:pt x="33" y="461"/>
                  </a:lnTo>
                  <a:lnTo>
                    <a:pt x="29" y="458"/>
                  </a:lnTo>
                  <a:close/>
                  <a:moveTo>
                    <a:pt x="1239" y="403"/>
                  </a:moveTo>
                  <a:lnTo>
                    <a:pt x="1244" y="407"/>
                  </a:lnTo>
                  <a:lnTo>
                    <a:pt x="1249" y="412"/>
                  </a:lnTo>
                  <a:lnTo>
                    <a:pt x="1253" y="419"/>
                  </a:lnTo>
                  <a:lnTo>
                    <a:pt x="1255" y="426"/>
                  </a:lnTo>
                  <a:lnTo>
                    <a:pt x="1251" y="426"/>
                  </a:lnTo>
                  <a:lnTo>
                    <a:pt x="1248" y="428"/>
                  </a:lnTo>
                  <a:lnTo>
                    <a:pt x="1246" y="428"/>
                  </a:lnTo>
                  <a:lnTo>
                    <a:pt x="1241" y="430"/>
                  </a:lnTo>
                  <a:lnTo>
                    <a:pt x="1235" y="430"/>
                  </a:lnTo>
                  <a:lnTo>
                    <a:pt x="1235" y="426"/>
                  </a:lnTo>
                  <a:lnTo>
                    <a:pt x="1234" y="426"/>
                  </a:lnTo>
                  <a:lnTo>
                    <a:pt x="1234" y="424"/>
                  </a:lnTo>
                  <a:lnTo>
                    <a:pt x="1234" y="424"/>
                  </a:lnTo>
                  <a:lnTo>
                    <a:pt x="1232" y="423"/>
                  </a:lnTo>
                  <a:lnTo>
                    <a:pt x="1234" y="419"/>
                  </a:lnTo>
                  <a:lnTo>
                    <a:pt x="1234" y="417"/>
                  </a:lnTo>
                  <a:lnTo>
                    <a:pt x="1234" y="417"/>
                  </a:lnTo>
                  <a:lnTo>
                    <a:pt x="1234" y="416"/>
                  </a:lnTo>
                  <a:lnTo>
                    <a:pt x="1235" y="414"/>
                  </a:lnTo>
                  <a:lnTo>
                    <a:pt x="1239" y="403"/>
                  </a:lnTo>
                  <a:close/>
                  <a:moveTo>
                    <a:pt x="1209" y="391"/>
                  </a:moveTo>
                  <a:lnTo>
                    <a:pt x="1213" y="395"/>
                  </a:lnTo>
                  <a:lnTo>
                    <a:pt x="1215" y="397"/>
                  </a:lnTo>
                  <a:lnTo>
                    <a:pt x="1215" y="398"/>
                  </a:lnTo>
                  <a:lnTo>
                    <a:pt x="1216" y="402"/>
                  </a:lnTo>
                  <a:lnTo>
                    <a:pt x="1216" y="405"/>
                  </a:lnTo>
                  <a:lnTo>
                    <a:pt x="1216" y="410"/>
                  </a:lnTo>
                  <a:lnTo>
                    <a:pt x="1213" y="410"/>
                  </a:lnTo>
                  <a:lnTo>
                    <a:pt x="1213" y="414"/>
                  </a:lnTo>
                  <a:lnTo>
                    <a:pt x="1206" y="412"/>
                  </a:lnTo>
                  <a:lnTo>
                    <a:pt x="1199" y="410"/>
                  </a:lnTo>
                  <a:lnTo>
                    <a:pt x="1194" y="407"/>
                  </a:lnTo>
                  <a:lnTo>
                    <a:pt x="1190" y="407"/>
                  </a:lnTo>
                  <a:lnTo>
                    <a:pt x="1190" y="403"/>
                  </a:lnTo>
                  <a:lnTo>
                    <a:pt x="1197" y="400"/>
                  </a:lnTo>
                  <a:lnTo>
                    <a:pt x="1204" y="397"/>
                  </a:lnTo>
                  <a:lnTo>
                    <a:pt x="1209" y="391"/>
                  </a:lnTo>
                  <a:close/>
                  <a:moveTo>
                    <a:pt x="1286" y="360"/>
                  </a:moveTo>
                  <a:lnTo>
                    <a:pt x="1290" y="362"/>
                  </a:lnTo>
                  <a:lnTo>
                    <a:pt x="1290" y="362"/>
                  </a:lnTo>
                  <a:lnTo>
                    <a:pt x="1291" y="363"/>
                  </a:lnTo>
                  <a:lnTo>
                    <a:pt x="1291" y="363"/>
                  </a:lnTo>
                  <a:lnTo>
                    <a:pt x="1293" y="365"/>
                  </a:lnTo>
                  <a:lnTo>
                    <a:pt x="1297" y="365"/>
                  </a:lnTo>
                  <a:lnTo>
                    <a:pt x="1297" y="367"/>
                  </a:lnTo>
                  <a:lnTo>
                    <a:pt x="1297" y="369"/>
                  </a:lnTo>
                  <a:lnTo>
                    <a:pt x="1295" y="370"/>
                  </a:lnTo>
                  <a:lnTo>
                    <a:pt x="1295" y="370"/>
                  </a:lnTo>
                  <a:lnTo>
                    <a:pt x="1293" y="372"/>
                  </a:lnTo>
                  <a:lnTo>
                    <a:pt x="1291" y="374"/>
                  </a:lnTo>
                  <a:lnTo>
                    <a:pt x="1290" y="374"/>
                  </a:lnTo>
                  <a:lnTo>
                    <a:pt x="1288" y="376"/>
                  </a:lnTo>
                  <a:lnTo>
                    <a:pt x="1286" y="376"/>
                  </a:lnTo>
                  <a:lnTo>
                    <a:pt x="1283" y="376"/>
                  </a:lnTo>
                  <a:lnTo>
                    <a:pt x="1283" y="370"/>
                  </a:lnTo>
                  <a:lnTo>
                    <a:pt x="1283" y="367"/>
                  </a:lnTo>
                  <a:lnTo>
                    <a:pt x="1284" y="365"/>
                  </a:lnTo>
                  <a:lnTo>
                    <a:pt x="1286" y="360"/>
                  </a:lnTo>
                  <a:close/>
                  <a:moveTo>
                    <a:pt x="0" y="341"/>
                  </a:moveTo>
                  <a:lnTo>
                    <a:pt x="17" y="344"/>
                  </a:lnTo>
                  <a:lnTo>
                    <a:pt x="29" y="349"/>
                  </a:lnTo>
                  <a:lnTo>
                    <a:pt x="38" y="360"/>
                  </a:lnTo>
                  <a:lnTo>
                    <a:pt x="35" y="363"/>
                  </a:lnTo>
                  <a:lnTo>
                    <a:pt x="31" y="363"/>
                  </a:lnTo>
                  <a:lnTo>
                    <a:pt x="29" y="365"/>
                  </a:lnTo>
                  <a:lnTo>
                    <a:pt x="28" y="367"/>
                  </a:lnTo>
                  <a:lnTo>
                    <a:pt x="22" y="369"/>
                  </a:lnTo>
                  <a:lnTo>
                    <a:pt x="19" y="365"/>
                  </a:lnTo>
                  <a:lnTo>
                    <a:pt x="14" y="362"/>
                  </a:lnTo>
                  <a:lnTo>
                    <a:pt x="10" y="358"/>
                  </a:lnTo>
                  <a:lnTo>
                    <a:pt x="5" y="356"/>
                  </a:lnTo>
                  <a:lnTo>
                    <a:pt x="3" y="355"/>
                  </a:lnTo>
                  <a:lnTo>
                    <a:pt x="0" y="351"/>
                  </a:lnTo>
                  <a:lnTo>
                    <a:pt x="0" y="348"/>
                  </a:lnTo>
                  <a:lnTo>
                    <a:pt x="0" y="341"/>
                  </a:lnTo>
                  <a:close/>
                  <a:moveTo>
                    <a:pt x="1178" y="299"/>
                  </a:moveTo>
                  <a:lnTo>
                    <a:pt x="1178" y="307"/>
                  </a:lnTo>
                  <a:lnTo>
                    <a:pt x="1180" y="311"/>
                  </a:lnTo>
                  <a:lnTo>
                    <a:pt x="1181" y="314"/>
                  </a:lnTo>
                  <a:lnTo>
                    <a:pt x="1181" y="320"/>
                  </a:lnTo>
                  <a:lnTo>
                    <a:pt x="1181" y="327"/>
                  </a:lnTo>
                  <a:lnTo>
                    <a:pt x="1201" y="327"/>
                  </a:lnTo>
                  <a:lnTo>
                    <a:pt x="1218" y="346"/>
                  </a:lnTo>
                  <a:lnTo>
                    <a:pt x="1235" y="365"/>
                  </a:lnTo>
                  <a:lnTo>
                    <a:pt x="1235" y="367"/>
                  </a:lnTo>
                  <a:lnTo>
                    <a:pt x="1234" y="369"/>
                  </a:lnTo>
                  <a:lnTo>
                    <a:pt x="1234" y="370"/>
                  </a:lnTo>
                  <a:lnTo>
                    <a:pt x="1234" y="370"/>
                  </a:lnTo>
                  <a:lnTo>
                    <a:pt x="1232" y="372"/>
                  </a:lnTo>
                  <a:lnTo>
                    <a:pt x="1229" y="376"/>
                  </a:lnTo>
                  <a:lnTo>
                    <a:pt x="1227" y="377"/>
                  </a:lnTo>
                  <a:lnTo>
                    <a:pt x="1225" y="379"/>
                  </a:lnTo>
                  <a:lnTo>
                    <a:pt x="1223" y="379"/>
                  </a:lnTo>
                  <a:lnTo>
                    <a:pt x="1218" y="379"/>
                  </a:lnTo>
                  <a:lnTo>
                    <a:pt x="1213" y="381"/>
                  </a:lnTo>
                  <a:lnTo>
                    <a:pt x="1213" y="376"/>
                  </a:lnTo>
                  <a:lnTo>
                    <a:pt x="1213" y="370"/>
                  </a:lnTo>
                  <a:lnTo>
                    <a:pt x="1213" y="367"/>
                  </a:lnTo>
                  <a:lnTo>
                    <a:pt x="1213" y="365"/>
                  </a:lnTo>
                  <a:lnTo>
                    <a:pt x="1209" y="362"/>
                  </a:lnTo>
                  <a:lnTo>
                    <a:pt x="1206" y="360"/>
                  </a:lnTo>
                  <a:lnTo>
                    <a:pt x="1201" y="356"/>
                  </a:lnTo>
                  <a:lnTo>
                    <a:pt x="1195" y="370"/>
                  </a:lnTo>
                  <a:lnTo>
                    <a:pt x="1185" y="379"/>
                  </a:lnTo>
                  <a:lnTo>
                    <a:pt x="1171" y="384"/>
                  </a:lnTo>
                  <a:lnTo>
                    <a:pt x="1171" y="379"/>
                  </a:lnTo>
                  <a:lnTo>
                    <a:pt x="1171" y="376"/>
                  </a:lnTo>
                  <a:lnTo>
                    <a:pt x="1173" y="372"/>
                  </a:lnTo>
                  <a:lnTo>
                    <a:pt x="1171" y="369"/>
                  </a:lnTo>
                  <a:lnTo>
                    <a:pt x="1169" y="365"/>
                  </a:lnTo>
                  <a:lnTo>
                    <a:pt x="1167" y="360"/>
                  </a:lnTo>
                  <a:lnTo>
                    <a:pt x="1162" y="358"/>
                  </a:lnTo>
                  <a:lnTo>
                    <a:pt x="1159" y="356"/>
                  </a:lnTo>
                  <a:lnTo>
                    <a:pt x="1155" y="356"/>
                  </a:lnTo>
                  <a:lnTo>
                    <a:pt x="1152" y="355"/>
                  </a:lnTo>
                  <a:lnTo>
                    <a:pt x="1150" y="355"/>
                  </a:lnTo>
                  <a:lnTo>
                    <a:pt x="1146" y="353"/>
                  </a:lnTo>
                  <a:lnTo>
                    <a:pt x="1143" y="349"/>
                  </a:lnTo>
                  <a:lnTo>
                    <a:pt x="1153" y="337"/>
                  </a:lnTo>
                  <a:lnTo>
                    <a:pt x="1160" y="323"/>
                  </a:lnTo>
                  <a:lnTo>
                    <a:pt x="1167" y="309"/>
                  </a:lnTo>
                  <a:lnTo>
                    <a:pt x="1178" y="299"/>
                  </a:lnTo>
                  <a:close/>
                  <a:moveTo>
                    <a:pt x="2150" y="269"/>
                  </a:moveTo>
                  <a:lnTo>
                    <a:pt x="2152" y="273"/>
                  </a:lnTo>
                  <a:lnTo>
                    <a:pt x="2154" y="276"/>
                  </a:lnTo>
                  <a:lnTo>
                    <a:pt x="2155" y="278"/>
                  </a:lnTo>
                  <a:lnTo>
                    <a:pt x="2155" y="281"/>
                  </a:lnTo>
                  <a:lnTo>
                    <a:pt x="2157" y="285"/>
                  </a:lnTo>
                  <a:lnTo>
                    <a:pt x="2157" y="292"/>
                  </a:lnTo>
                  <a:lnTo>
                    <a:pt x="2157" y="297"/>
                  </a:lnTo>
                  <a:lnTo>
                    <a:pt x="2159" y="311"/>
                  </a:lnTo>
                  <a:lnTo>
                    <a:pt x="2161" y="327"/>
                  </a:lnTo>
                  <a:lnTo>
                    <a:pt x="2161" y="341"/>
                  </a:lnTo>
                  <a:lnTo>
                    <a:pt x="2141" y="351"/>
                  </a:lnTo>
                  <a:lnTo>
                    <a:pt x="2119" y="360"/>
                  </a:lnTo>
                  <a:lnTo>
                    <a:pt x="2098" y="370"/>
                  </a:lnTo>
                  <a:lnTo>
                    <a:pt x="2080" y="384"/>
                  </a:lnTo>
                  <a:lnTo>
                    <a:pt x="2075" y="381"/>
                  </a:lnTo>
                  <a:lnTo>
                    <a:pt x="2066" y="377"/>
                  </a:lnTo>
                  <a:lnTo>
                    <a:pt x="2054" y="370"/>
                  </a:lnTo>
                  <a:lnTo>
                    <a:pt x="2044" y="365"/>
                  </a:lnTo>
                  <a:lnTo>
                    <a:pt x="2035" y="360"/>
                  </a:lnTo>
                  <a:lnTo>
                    <a:pt x="2031" y="356"/>
                  </a:lnTo>
                  <a:lnTo>
                    <a:pt x="2033" y="355"/>
                  </a:lnTo>
                  <a:lnTo>
                    <a:pt x="2035" y="353"/>
                  </a:lnTo>
                  <a:lnTo>
                    <a:pt x="2035" y="353"/>
                  </a:lnTo>
                  <a:lnTo>
                    <a:pt x="2037" y="351"/>
                  </a:lnTo>
                  <a:lnTo>
                    <a:pt x="2037" y="349"/>
                  </a:lnTo>
                  <a:lnTo>
                    <a:pt x="2038" y="346"/>
                  </a:lnTo>
                  <a:lnTo>
                    <a:pt x="2033" y="342"/>
                  </a:lnTo>
                  <a:lnTo>
                    <a:pt x="2026" y="341"/>
                  </a:lnTo>
                  <a:lnTo>
                    <a:pt x="2021" y="337"/>
                  </a:lnTo>
                  <a:lnTo>
                    <a:pt x="2016" y="334"/>
                  </a:lnTo>
                  <a:lnTo>
                    <a:pt x="2019" y="334"/>
                  </a:lnTo>
                  <a:lnTo>
                    <a:pt x="2023" y="330"/>
                  </a:lnTo>
                  <a:lnTo>
                    <a:pt x="2024" y="328"/>
                  </a:lnTo>
                  <a:lnTo>
                    <a:pt x="2026" y="328"/>
                  </a:lnTo>
                  <a:lnTo>
                    <a:pt x="2028" y="327"/>
                  </a:lnTo>
                  <a:lnTo>
                    <a:pt x="2033" y="327"/>
                  </a:lnTo>
                  <a:lnTo>
                    <a:pt x="2038" y="327"/>
                  </a:lnTo>
                  <a:lnTo>
                    <a:pt x="2038" y="314"/>
                  </a:lnTo>
                  <a:lnTo>
                    <a:pt x="2012" y="314"/>
                  </a:lnTo>
                  <a:lnTo>
                    <a:pt x="2007" y="304"/>
                  </a:lnTo>
                  <a:lnTo>
                    <a:pt x="2016" y="297"/>
                  </a:lnTo>
                  <a:lnTo>
                    <a:pt x="2023" y="290"/>
                  </a:lnTo>
                  <a:lnTo>
                    <a:pt x="2031" y="287"/>
                  </a:lnTo>
                  <a:lnTo>
                    <a:pt x="2045" y="283"/>
                  </a:lnTo>
                  <a:lnTo>
                    <a:pt x="2051" y="288"/>
                  </a:lnTo>
                  <a:lnTo>
                    <a:pt x="2054" y="294"/>
                  </a:lnTo>
                  <a:lnTo>
                    <a:pt x="2058" y="297"/>
                  </a:lnTo>
                  <a:lnTo>
                    <a:pt x="2061" y="304"/>
                  </a:lnTo>
                  <a:lnTo>
                    <a:pt x="2072" y="295"/>
                  </a:lnTo>
                  <a:lnTo>
                    <a:pt x="2082" y="288"/>
                  </a:lnTo>
                  <a:lnTo>
                    <a:pt x="2096" y="283"/>
                  </a:lnTo>
                  <a:lnTo>
                    <a:pt x="2098" y="288"/>
                  </a:lnTo>
                  <a:lnTo>
                    <a:pt x="2101" y="290"/>
                  </a:lnTo>
                  <a:lnTo>
                    <a:pt x="2101" y="292"/>
                  </a:lnTo>
                  <a:lnTo>
                    <a:pt x="2103" y="292"/>
                  </a:lnTo>
                  <a:lnTo>
                    <a:pt x="2105" y="292"/>
                  </a:lnTo>
                  <a:lnTo>
                    <a:pt x="2108" y="292"/>
                  </a:lnTo>
                  <a:lnTo>
                    <a:pt x="2117" y="287"/>
                  </a:lnTo>
                  <a:lnTo>
                    <a:pt x="2122" y="281"/>
                  </a:lnTo>
                  <a:lnTo>
                    <a:pt x="2129" y="276"/>
                  </a:lnTo>
                  <a:lnTo>
                    <a:pt x="2136" y="271"/>
                  </a:lnTo>
                  <a:lnTo>
                    <a:pt x="2150" y="269"/>
                  </a:lnTo>
                  <a:close/>
                  <a:moveTo>
                    <a:pt x="1302" y="206"/>
                  </a:moveTo>
                  <a:lnTo>
                    <a:pt x="1305" y="208"/>
                  </a:lnTo>
                  <a:lnTo>
                    <a:pt x="1307" y="210"/>
                  </a:lnTo>
                  <a:lnTo>
                    <a:pt x="1309" y="210"/>
                  </a:lnTo>
                  <a:lnTo>
                    <a:pt x="1311" y="211"/>
                  </a:lnTo>
                  <a:lnTo>
                    <a:pt x="1311" y="213"/>
                  </a:lnTo>
                  <a:lnTo>
                    <a:pt x="1311" y="215"/>
                  </a:lnTo>
                  <a:lnTo>
                    <a:pt x="1312" y="218"/>
                  </a:lnTo>
                  <a:lnTo>
                    <a:pt x="1316" y="224"/>
                  </a:lnTo>
                  <a:lnTo>
                    <a:pt x="1318" y="229"/>
                  </a:lnTo>
                  <a:lnTo>
                    <a:pt x="1319" y="234"/>
                  </a:lnTo>
                  <a:lnTo>
                    <a:pt x="1321" y="241"/>
                  </a:lnTo>
                  <a:lnTo>
                    <a:pt x="1316" y="243"/>
                  </a:lnTo>
                  <a:lnTo>
                    <a:pt x="1311" y="245"/>
                  </a:lnTo>
                  <a:lnTo>
                    <a:pt x="1305" y="245"/>
                  </a:lnTo>
                  <a:lnTo>
                    <a:pt x="1297" y="246"/>
                  </a:lnTo>
                  <a:lnTo>
                    <a:pt x="1295" y="238"/>
                  </a:lnTo>
                  <a:lnTo>
                    <a:pt x="1293" y="229"/>
                  </a:lnTo>
                  <a:lnTo>
                    <a:pt x="1293" y="218"/>
                  </a:lnTo>
                  <a:lnTo>
                    <a:pt x="1297" y="215"/>
                  </a:lnTo>
                  <a:lnTo>
                    <a:pt x="1298" y="211"/>
                  </a:lnTo>
                  <a:lnTo>
                    <a:pt x="1302" y="206"/>
                  </a:lnTo>
                  <a:close/>
                  <a:moveTo>
                    <a:pt x="1604" y="177"/>
                  </a:moveTo>
                  <a:lnTo>
                    <a:pt x="1611" y="180"/>
                  </a:lnTo>
                  <a:lnTo>
                    <a:pt x="1618" y="184"/>
                  </a:lnTo>
                  <a:lnTo>
                    <a:pt x="1621" y="187"/>
                  </a:lnTo>
                  <a:lnTo>
                    <a:pt x="1626" y="191"/>
                  </a:lnTo>
                  <a:lnTo>
                    <a:pt x="1632" y="196"/>
                  </a:lnTo>
                  <a:lnTo>
                    <a:pt x="1630" y="199"/>
                  </a:lnTo>
                  <a:lnTo>
                    <a:pt x="1630" y="199"/>
                  </a:lnTo>
                  <a:lnTo>
                    <a:pt x="1630" y="201"/>
                  </a:lnTo>
                  <a:lnTo>
                    <a:pt x="1628" y="201"/>
                  </a:lnTo>
                  <a:lnTo>
                    <a:pt x="1628" y="203"/>
                  </a:lnTo>
                  <a:lnTo>
                    <a:pt x="1625" y="206"/>
                  </a:lnTo>
                  <a:lnTo>
                    <a:pt x="1625" y="208"/>
                  </a:lnTo>
                  <a:lnTo>
                    <a:pt x="1623" y="208"/>
                  </a:lnTo>
                  <a:lnTo>
                    <a:pt x="1621" y="208"/>
                  </a:lnTo>
                  <a:lnTo>
                    <a:pt x="1619" y="210"/>
                  </a:lnTo>
                  <a:lnTo>
                    <a:pt x="1616" y="211"/>
                  </a:lnTo>
                  <a:lnTo>
                    <a:pt x="1611" y="206"/>
                  </a:lnTo>
                  <a:lnTo>
                    <a:pt x="1606" y="201"/>
                  </a:lnTo>
                  <a:lnTo>
                    <a:pt x="1599" y="196"/>
                  </a:lnTo>
                  <a:lnTo>
                    <a:pt x="1593" y="192"/>
                  </a:lnTo>
                  <a:lnTo>
                    <a:pt x="1597" y="180"/>
                  </a:lnTo>
                  <a:lnTo>
                    <a:pt x="1600" y="180"/>
                  </a:lnTo>
                  <a:lnTo>
                    <a:pt x="1602" y="178"/>
                  </a:lnTo>
                  <a:lnTo>
                    <a:pt x="1602" y="178"/>
                  </a:lnTo>
                  <a:lnTo>
                    <a:pt x="1602" y="178"/>
                  </a:lnTo>
                  <a:lnTo>
                    <a:pt x="1604" y="177"/>
                  </a:lnTo>
                  <a:close/>
                  <a:moveTo>
                    <a:pt x="2963" y="170"/>
                  </a:moveTo>
                  <a:lnTo>
                    <a:pt x="2979" y="170"/>
                  </a:lnTo>
                  <a:lnTo>
                    <a:pt x="2979" y="177"/>
                  </a:lnTo>
                  <a:lnTo>
                    <a:pt x="2976" y="177"/>
                  </a:lnTo>
                  <a:lnTo>
                    <a:pt x="2972" y="180"/>
                  </a:lnTo>
                  <a:lnTo>
                    <a:pt x="2970" y="180"/>
                  </a:lnTo>
                  <a:lnTo>
                    <a:pt x="2967" y="180"/>
                  </a:lnTo>
                  <a:lnTo>
                    <a:pt x="2967" y="178"/>
                  </a:lnTo>
                  <a:lnTo>
                    <a:pt x="2965" y="175"/>
                  </a:lnTo>
                  <a:lnTo>
                    <a:pt x="2965" y="173"/>
                  </a:lnTo>
                  <a:lnTo>
                    <a:pt x="2963" y="171"/>
                  </a:lnTo>
                  <a:lnTo>
                    <a:pt x="2963" y="170"/>
                  </a:lnTo>
                  <a:close/>
                  <a:moveTo>
                    <a:pt x="989" y="149"/>
                  </a:moveTo>
                  <a:lnTo>
                    <a:pt x="1005" y="159"/>
                  </a:lnTo>
                  <a:lnTo>
                    <a:pt x="1019" y="171"/>
                  </a:lnTo>
                  <a:lnTo>
                    <a:pt x="1033" y="184"/>
                  </a:lnTo>
                  <a:lnTo>
                    <a:pt x="1028" y="184"/>
                  </a:lnTo>
                  <a:lnTo>
                    <a:pt x="1024" y="189"/>
                  </a:lnTo>
                  <a:lnTo>
                    <a:pt x="1021" y="191"/>
                  </a:lnTo>
                  <a:lnTo>
                    <a:pt x="1016" y="191"/>
                  </a:lnTo>
                  <a:lnTo>
                    <a:pt x="1010" y="192"/>
                  </a:lnTo>
                  <a:lnTo>
                    <a:pt x="1002" y="192"/>
                  </a:lnTo>
                  <a:lnTo>
                    <a:pt x="995" y="185"/>
                  </a:lnTo>
                  <a:lnTo>
                    <a:pt x="988" y="180"/>
                  </a:lnTo>
                  <a:lnTo>
                    <a:pt x="979" y="177"/>
                  </a:lnTo>
                  <a:lnTo>
                    <a:pt x="979" y="173"/>
                  </a:lnTo>
                  <a:lnTo>
                    <a:pt x="995" y="164"/>
                  </a:lnTo>
                  <a:lnTo>
                    <a:pt x="993" y="161"/>
                  </a:lnTo>
                  <a:lnTo>
                    <a:pt x="991" y="159"/>
                  </a:lnTo>
                  <a:lnTo>
                    <a:pt x="991" y="156"/>
                  </a:lnTo>
                  <a:lnTo>
                    <a:pt x="989" y="149"/>
                  </a:lnTo>
                  <a:close/>
                  <a:moveTo>
                    <a:pt x="4822" y="100"/>
                  </a:moveTo>
                  <a:lnTo>
                    <a:pt x="4826" y="105"/>
                  </a:lnTo>
                  <a:lnTo>
                    <a:pt x="4829" y="109"/>
                  </a:lnTo>
                  <a:lnTo>
                    <a:pt x="4833" y="109"/>
                  </a:lnTo>
                  <a:lnTo>
                    <a:pt x="4835" y="110"/>
                  </a:lnTo>
                  <a:lnTo>
                    <a:pt x="4836" y="110"/>
                  </a:lnTo>
                  <a:lnTo>
                    <a:pt x="4840" y="110"/>
                  </a:lnTo>
                  <a:lnTo>
                    <a:pt x="4842" y="110"/>
                  </a:lnTo>
                  <a:lnTo>
                    <a:pt x="4843" y="110"/>
                  </a:lnTo>
                  <a:lnTo>
                    <a:pt x="4847" y="112"/>
                  </a:lnTo>
                  <a:lnTo>
                    <a:pt x="4849" y="115"/>
                  </a:lnTo>
                  <a:lnTo>
                    <a:pt x="4842" y="121"/>
                  </a:lnTo>
                  <a:lnTo>
                    <a:pt x="4835" y="126"/>
                  </a:lnTo>
                  <a:lnTo>
                    <a:pt x="4800" y="129"/>
                  </a:lnTo>
                  <a:lnTo>
                    <a:pt x="4800" y="115"/>
                  </a:lnTo>
                  <a:lnTo>
                    <a:pt x="4805" y="110"/>
                  </a:lnTo>
                  <a:lnTo>
                    <a:pt x="4810" y="107"/>
                  </a:lnTo>
                  <a:lnTo>
                    <a:pt x="4815" y="103"/>
                  </a:lnTo>
                  <a:lnTo>
                    <a:pt x="4822" y="100"/>
                  </a:lnTo>
                  <a:close/>
                  <a:moveTo>
                    <a:pt x="1063" y="72"/>
                  </a:moveTo>
                  <a:lnTo>
                    <a:pt x="1064" y="79"/>
                  </a:lnTo>
                  <a:lnTo>
                    <a:pt x="1064" y="84"/>
                  </a:lnTo>
                  <a:lnTo>
                    <a:pt x="1066" y="86"/>
                  </a:lnTo>
                  <a:lnTo>
                    <a:pt x="1068" y="88"/>
                  </a:lnTo>
                  <a:lnTo>
                    <a:pt x="1070" y="89"/>
                  </a:lnTo>
                  <a:lnTo>
                    <a:pt x="1073" y="93"/>
                  </a:lnTo>
                  <a:lnTo>
                    <a:pt x="1075" y="96"/>
                  </a:lnTo>
                  <a:lnTo>
                    <a:pt x="1073" y="100"/>
                  </a:lnTo>
                  <a:lnTo>
                    <a:pt x="1071" y="105"/>
                  </a:lnTo>
                  <a:lnTo>
                    <a:pt x="1070" y="109"/>
                  </a:lnTo>
                  <a:lnTo>
                    <a:pt x="1068" y="112"/>
                  </a:lnTo>
                  <a:lnTo>
                    <a:pt x="1066" y="119"/>
                  </a:lnTo>
                  <a:lnTo>
                    <a:pt x="1073" y="121"/>
                  </a:lnTo>
                  <a:lnTo>
                    <a:pt x="1077" y="124"/>
                  </a:lnTo>
                  <a:lnTo>
                    <a:pt x="1080" y="128"/>
                  </a:lnTo>
                  <a:lnTo>
                    <a:pt x="1082" y="131"/>
                  </a:lnTo>
                  <a:lnTo>
                    <a:pt x="1082" y="138"/>
                  </a:lnTo>
                  <a:lnTo>
                    <a:pt x="1082" y="145"/>
                  </a:lnTo>
                  <a:lnTo>
                    <a:pt x="1077" y="149"/>
                  </a:lnTo>
                  <a:lnTo>
                    <a:pt x="1073" y="152"/>
                  </a:lnTo>
                  <a:lnTo>
                    <a:pt x="1071" y="157"/>
                  </a:lnTo>
                  <a:lnTo>
                    <a:pt x="1070" y="163"/>
                  </a:lnTo>
                  <a:lnTo>
                    <a:pt x="1066" y="170"/>
                  </a:lnTo>
                  <a:lnTo>
                    <a:pt x="1091" y="170"/>
                  </a:lnTo>
                  <a:lnTo>
                    <a:pt x="1091" y="185"/>
                  </a:lnTo>
                  <a:lnTo>
                    <a:pt x="1094" y="199"/>
                  </a:lnTo>
                  <a:lnTo>
                    <a:pt x="1105" y="199"/>
                  </a:lnTo>
                  <a:lnTo>
                    <a:pt x="1110" y="194"/>
                  </a:lnTo>
                  <a:lnTo>
                    <a:pt x="1115" y="189"/>
                  </a:lnTo>
                  <a:lnTo>
                    <a:pt x="1120" y="184"/>
                  </a:lnTo>
                  <a:lnTo>
                    <a:pt x="1129" y="180"/>
                  </a:lnTo>
                  <a:lnTo>
                    <a:pt x="1129" y="191"/>
                  </a:lnTo>
                  <a:lnTo>
                    <a:pt x="1127" y="205"/>
                  </a:lnTo>
                  <a:lnTo>
                    <a:pt x="1126" y="217"/>
                  </a:lnTo>
                  <a:lnTo>
                    <a:pt x="1126" y="225"/>
                  </a:lnTo>
                  <a:lnTo>
                    <a:pt x="1124" y="231"/>
                  </a:lnTo>
                  <a:lnTo>
                    <a:pt x="1127" y="234"/>
                  </a:lnTo>
                  <a:lnTo>
                    <a:pt x="1129" y="236"/>
                  </a:lnTo>
                  <a:lnTo>
                    <a:pt x="1131" y="238"/>
                  </a:lnTo>
                  <a:lnTo>
                    <a:pt x="1134" y="239"/>
                  </a:lnTo>
                  <a:lnTo>
                    <a:pt x="1139" y="241"/>
                  </a:lnTo>
                  <a:lnTo>
                    <a:pt x="1148" y="227"/>
                  </a:lnTo>
                  <a:lnTo>
                    <a:pt x="1155" y="211"/>
                  </a:lnTo>
                  <a:lnTo>
                    <a:pt x="1155" y="199"/>
                  </a:lnTo>
                  <a:lnTo>
                    <a:pt x="1153" y="187"/>
                  </a:lnTo>
                  <a:lnTo>
                    <a:pt x="1153" y="175"/>
                  </a:lnTo>
                  <a:lnTo>
                    <a:pt x="1157" y="163"/>
                  </a:lnTo>
                  <a:lnTo>
                    <a:pt x="1167" y="154"/>
                  </a:lnTo>
                  <a:lnTo>
                    <a:pt x="1171" y="150"/>
                  </a:lnTo>
                  <a:lnTo>
                    <a:pt x="1174" y="150"/>
                  </a:lnTo>
                  <a:lnTo>
                    <a:pt x="1178" y="152"/>
                  </a:lnTo>
                  <a:lnTo>
                    <a:pt x="1181" y="154"/>
                  </a:lnTo>
                  <a:lnTo>
                    <a:pt x="1183" y="157"/>
                  </a:lnTo>
                  <a:lnTo>
                    <a:pt x="1187" y="161"/>
                  </a:lnTo>
                  <a:lnTo>
                    <a:pt x="1188" y="164"/>
                  </a:lnTo>
                  <a:lnTo>
                    <a:pt x="1192" y="166"/>
                  </a:lnTo>
                  <a:lnTo>
                    <a:pt x="1194" y="170"/>
                  </a:lnTo>
                  <a:lnTo>
                    <a:pt x="1201" y="170"/>
                  </a:lnTo>
                  <a:lnTo>
                    <a:pt x="1209" y="166"/>
                  </a:lnTo>
                  <a:lnTo>
                    <a:pt x="1218" y="164"/>
                  </a:lnTo>
                  <a:lnTo>
                    <a:pt x="1225" y="170"/>
                  </a:lnTo>
                  <a:lnTo>
                    <a:pt x="1225" y="184"/>
                  </a:lnTo>
                  <a:lnTo>
                    <a:pt x="1225" y="191"/>
                  </a:lnTo>
                  <a:lnTo>
                    <a:pt x="1223" y="203"/>
                  </a:lnTo>
                  <a:lnTo>
                    <a:pt x="1222" y="218"/>
                  </a:lnTo>
                  <a:lnTo>
                    <a:pt x="1218" y="236"/>
                  </a:lnTo>
                  <a:lnTo>
                    <a:pt x="1215" y="250"/>
                  </a:lnTo>
                  <a:lnTo>
                    <a:pt x="1213" y="260"/>
                  </a:lnTo>
                  <a:lnTo>
                    <a:pt x="1206" y="260"/>
                  </a:lnTo>
                  <a:lnTo>
                    <a:pt x="1202" y="259"/>
                  </a:lnTo>
                  <a:lnTo>
                    <a:pt x="1199" y="257"/>
                  </a:lnTo>
                  <a:lnTo>
                    <a:pt x="1195" y="255"/>
                  </a:lnTo>
                  <a:lnTo>
                    <a:pt x="1190" y="253"/>
                  </a:lnTo>
                  <a:lnTo>
                    <a:pt x="1190" y="257"/>
                  </a:lnTo>
                  <a:lnTo>
                    <a:pt x="1192" y="259"/>
                  </a:lnTo>
                  <a:lnTo>
                    <a:pt x="1194" y="260"/>
                  </a:lnTo>
                  <a:lnTo>
                    <a:pt x="1195" y="262"/>
                  </a:lnTo>
                  <a:lnTo>
                    <a:pt x="1195" y="264"/>
                  </a:lnTo>
                  <a:lnTo>
                    <a:pt x="1197" y="267"/>
                  </a:lnTo>
                  <a:lnTo>
                    <a:pt x="1197" y="273"/>
                  </a:lnTo>
                  <a:lnTo>
                    <a:pt x="1148" y="276"/>
                  </a:lnTo>
                  <a:lnTo>
                    <a:pt x="1148" y="280"/>
                  </a:lnTo>
                  <a:lnTo>
                    <a:pt x="1152" y="290"/>
                  </a:lnTo>
                  <a:lnTo>
                    <a:pt x="1150" y="301"/>
                  </a:lnTo>
                  <a:lnTo>
                    <a:pt x="1148" y="318"/>
                  </a:lnTo>
                  <a:lnTo>
                    <a:pt x="1139" y="318"/>
                  </a:lnTo>
                  <a:lnTo>
                    <a:pt x="1127" y="311"/>
                  </a:lnTo>
                  <a:lnTo>
                    <a:pt x="1110" y="307"/>
                  </a:lnTo>
                  <a:lnTo>
                    <a:pt x="1110" y="311"/>
                  </a:lnTo>
                  <a:lnTo>
                    <a:pt x="1113" y="311"/>
                  </a:lnTo>
                  <a:lnTo>
                    <a:pt x="1117" y="314"/>
                  </a:lnTo>
                  <a:lnTo>
                    <a:pt x="1119" y="316"/>
                  </a:lnTo>
                  <a:lnTo>
                    <a:pt x="1120" y="318"/>
                  </a:lnTo>
                  <a:lnTo>
                    <a:pt x="1122" y="320"/>
                  </a:lnTo>
                  <a:lnTo>
                    <a:pt x="1124" y="325"/>
                  </a:lnTo>
                  <a:lnTo>
                    <a:pt x="1124" y="330"/>
                  </a:lnTo>
                  <a:lnTo>
                    <a:pt x="1122" y="334"/>
                  </a:lnTo>
                  <a:lnTo>
                    <a:pt x="1119" y="337"/>
                  </a:lnTo>
                  <a:lnTo>
                    <a:pt x="1117" y="341"/>
                  </a:lnTo>
                  <a:lnTo>
                    <a:pt x="1108" y="348"/>
                  </a:lnTo>
                  <a:lnTo>
                    <a:pt x="1101" y="355"/>
                  </a:lnTo>
                  <a:lnTo>
                    <a:pt x="1098" y="363"/>
                  </a:lnTo>
                  <a:lnTo>
                    <a:pt x="1094" y="376"/>
                  </a:lnTo>
                  <a:lnTo>
                    <a:pt x="1087" y="376"/>
                  </a:lnTo>
                  <a:lnTo>
                    <a:pt x="1082" y="374"/>
                  </a:lnTo>
                  <a:lnTo>
                    <a:pt x="1077" y="372"/>
                  </a:lnTo>
                  <a:lnTo>
                    <a:pt x="1073" y="370"/>
                  </a:lnTo>
                  <a:lnTo>
                    <a:pt x="1066" y="369"/>
                  </a:lnTo>
                  <a:lnTo>
                    <a:pt x="1066" y="372"/>
                  </a:lnTo>
                  <a:lnTo>
                    <a:pt x="1075" y="372"/>
                  </a:lnTo>
                  <a:lnTo>
                    <a:pt x="1077" y="376"/>
                  </a:lnTo>
                  <a:lnTo>
                    <a:pt x="1078" y="379"/>
                  </a:lnTo>
                  <a:lnTo>
                    <a:pt x="1080" y="381"/>
                  </a:lnTo>
                  <a:lnTo>
                    <a:pt x="1080" y="384"/>
                  </a:lnTo>
                  <a:lnTo>
                    <a:pt x="1082" y="390"/>
                  </a:lnTo>
                  <a:lnTo>
                    <a:pt x="1082" y="395"/>
                  </a:lnTo>
                  <a:lnTo>
                    <a:pt x="1066" y="400"/>
                  </a:lnTo>
                  <a:lnTo>
                    <a:pt x="1052" y="409"/>
                  </a:lnTo>
                  <a:lnTo>
                    <a:pt x="1043" y="419"/>
                  </a:lnTo>
                  <a:lnTo>
                    <a:pt x="1037" y="435"/>
                  </a:lnTo>
                  <a:lnTo>
                    <a:pt x="1037" y="458"/>
                  </a:lnTo>
                  <a:lnTo>
                    <a:pt x="1043" y="472"/>
                  </a:lnTo>
                  <a:lnTo>
                    <a:pt x="1047" y="491"/>
                  </a:lnTo>
                  <a:lnTo>
                    <a:pt x="1047" y="510"/>
                  </a:lnTo>
                  <a:lnTo>
                    <a:pt x="1066" y="510"/>
                  </a:lnTo>
                  <a:lnTo>
                    <a:pt x="1066" y="519"/>
                  </a:lnTo>
                  <a:lnTo>
                    <a:pt x="1070" y="522"/>
                  </a:lnTo>
                  <a:lnTo>
                    <a:pt x="1070" y="526"/>
                  </a:lnTo>
                  <a:lnTo>
                    <a:pt x="1070" y="529"/>
                  </a:lnTo>
                  <a:lnTo>
                    <a:pt x="1070" y="531"/>
                  </a:lnTo>
                  <a:lnTo>
                    <a:pt x="1070" y="533"/>
                  </a:lnTo>
                  <a:lnTo>
                    <a:pt x="1070" y="534"/>
                  </a:lnTo>
                  <a:lnTo>
                    <a:pt x="1071" y="536"/>
                  </a:lnTo>
                  <a:lnTo>
                    <a:pt x="1077" y="536"/>
                  </a:lnTo>
                  <a:lnTo>
                    <a:pt x="1082" y="538"/>
                  </a:lnTo>
                  <a:lnTo>
                    <a:pt x="1094" y="536"/>
                  </a:lnTo>
                  <a:lnTo>
                    <a:pt x="1106" y="541"/>
                  </a:lnTo>
                  <a:lnTo>
                    <a:pt x="1119" y="550"/>
                  </a:lnTo>
                  <a:lnTo>
                    <a:pt x="1131" y="562"/>
                  </a:lnTo>
                  <a:lnTo>
                    <a:pt x="1141" y="573"/>
                  </a:lnTo>
                  <a:lnTo>
                    <a:pt x="1152" y="580"/>
                  </a:lnTo>
                  <a:lnTo>
                    <a:pt x="1157" y="582"/>
                  </a:lnTo>
                  <a:lnTo>
                    <a:pt x="1160" y="583"/>
                  </a:lnTo>
                  <a:lnTo>
                    <a:pt x="1164" y="582"/>
                  </a:lnTo>
                  <a:lnTo>
                    <a:pt x="1167" y="582"/>
                  </a:lnTo>
                  <a:lnTo>
                    <a:pt x="1169" y="580"/>
                  </a:lnTo>
                  <a:lnTo>
                    <a:pt x="1173" y="578"/>
                  </a:lnTo>
                  <a:lnTo>
                    <a:pt x="1174" y="576"/>
                  </a:lnTo>
                  <a:lnTo>
                    <a:pt x="1178" y="576"/>
                  </a:lnTo>
                  <a:lnTo>
                    <a:pt x="1206" y="583"/>
                  </a:lnTo>
                  <a:lnTo>
                    <a:pt x="1209" y="602"/>
                  </a:lnTo>
                  <a:lnTo>
                    <a:pt x="1213" y="616"/>
                  </a:lnTo>
                  <a:lnTo>
                    <a:pt x="1215" y="627"/>
                  </a:lnTo>
                  <a:lnTo>
                    <a:pt x="1216" y="637"/>
                  </a:lnTo>
                  <a:lnTo>
                    <a:pt x="1220" y="648"/>
                  </a:lnTo>
                  <a:lnTo>
                    <a:pt x="1229" y="660"/>
                  </a:lnTo>
                  <a:lnTo>
                    <a:pt x="1239" y="676"/>
                  </a:lnTo>
                  <a:lnTo>
                    <a:pt x="1242" y="674"/>
                  </a:lnTo>
                  <a:lnTo>
                    <a:pt x="1244" y="674"/>
                  </a:lnTo>
                  <a:lnTo>
                    <a:pt x="1244" y="674"/>
                  </a:lnTo>
                  <a:lnTo>
                    <a:pt x="1246" y="672"/>
                  </a:lnTo>
                  <a:lnTo>
                    <a:pt x="1248" y="672"/>
                  </a:lnTo>
                  <a:lnTo>
                    <a:pt x="1251" y="671"/>
                  </a:lnTo>
                  <a:lnTo>
                    <a:pt x="1253" y="671"/>
                  </a:lnTo>
                  <a:lnTo>
                    <a:pt x="1253" y="669"/>
                  </a:lnTo>
                  <a:lnTo>
                    <a:pt x="1253" y="669"/>
                  </a:lnTo>
                  <a:lnTo>
                    <a:pt x="1253" y="669"/>
                  </a:lnTo>
                  <a:lnTo>
                    <a:pt x="1253" y="667"/>
                  </a:lnTo>
                  <a:lnTo>
                    <a:pt x="1255" y="664"/>
                  </a:lnTo>
                  <a:lnTo>
                    <a:pt x="1255" y="653"/>
                  </a:lnTo>
                  <a:lnTo>
                    <a:pt x="1253" y="639"/>
                  </a:lnTo>
                  <a:lnTo>
                    <a:pt x="1249" y="622"/>
                  </a:lnTo>
                  <a:lnTo>
                    <a:pt x="1244" y="606"/>
                  </a:lnTo>
                  <a:lnTo>
                    <a:pt x="1258" y="599"/>
                  </a:lnTo>
                  <a:lnTo>
                    <a:pt x="1272" y="589"/>
                  </a:lnTo>
                  <a:lnTo>
                    <a:pt x="1281" y="575"/>
                  </a:lnTo>
                  <a:lnTo>
                    <a:pt x="1286" y="557"/>
                  </a:lnTo>
                  <a:lnTo>
                    <a:pt x="1288" y="547"/>
                  </a:lnTo>
                  <a:lnTo>
                    <a:pt x="1286" y="531"/>
                  </a:lnTo>
                  <a:lnTo>
                    <a:pt x="1286" y="515"/>
                  </a:lnTo>
                  <a:lnTo>
                    <a:pt x="1279" y="512"/>
                  </a:lnTo>
                  <a:lnTo>
                    <a:pt x="1276" y="510"/>
                  </a:lnTo>
                  <a:lnTo>
                    <a:pt x="1272" y="508"/>
                  </a:lnTo>
                  <a:lnTo>
                    <a:pt x="1269" y="505"/>
                  </a:lnTo>
                  <a:lnTo>
                    <a:pt x="1267" y="499"/>
                  </a:lnTo>
                  <a:lnTo>
                    <a:pt x="1274" y="487"/>
                  </a:lnTo>
                  <a:lnTo>
                    <a:pt x="1277" y="473"/>
                  </a:lnTo>
                  <a:lnTo>
                    <a:pt x="1274" y="458"/>
                  </a:lnTo>
                  <a:lnTo>
                    <a:pt x="1270" y="442"/>
                  </a:lnTo>
                  <a:lnTo>
                    <a:pt x="1265" y="424"/>
                  </a:lnTo>
                  <a:lnTo>
                    <a:pt x="1263" y="407"/>
                  </a:lnTo>
                  <a:lnTo>
                    <a:pt x="1267" y="407"/>
                  </a:lnTo>
                  <a:lnTo>
                    <a:pt x="1267" y="403"/>
                  </a:lnTo>
                  <a:lnTo>
                    <a:pt x="1291" y="407"/>
                  </a:lnTo>
                  <a:lnTo>
                    <a:pt x="1312" y="407"/>
                  </a:lnTo>
                  <a:lnTo>
                    <a:pt x="1335" y="403"/>
                  </a:lnTo>
                  <a:lnTo>
                    <a:pt x="1340" y="412"/>
                  </a:lnTo>
                  <a:lnTo>
                    <a:pt x="1345" y="424"/>
                  </a:lnTo>
                  <a:lnTo>
                    <a:pt x="1351" y="433"/>
                  </a:lnTo>
                  <a:lnTo>
                    <a:pt x="1356" y="437"/>
                  </a:lnTo>
                  <a:lnTo>
                    <a:pt x="1359" y="438"/>
                  </a:lnTo>
                  <a:lnTo>
                    <a:pt x="1365" y="438"/>
                  </a:lnTo>
                  <a:lnTo>
                    <a:pt x="1370" y="440"/>
                  </a:lnTo>
                  <a:lnTo>
                    <a:pt x="1375" y="442"/>
                  </a:lnTo>
                  <a:lnTo>
                    <a:pt x="1379" y="445"/>
                  </a:lnTo>
                  <a:lnTo>
                    <a:pt x="1380" y="454"/>
                  </a:lnTo>
                  <a:lnTo>
                    <a:pt x="1384" y="470"/>
                  </a:lnTo>
                  <a:lnTo>
                    <a:pt x="1386" y="484"/>
                  </a:lnTo>
                  <a:lnTo>
                    <a:pt x="1389" y="494"/>
                  </a:lnTo>
                  <a:lnTo>
                    <a:pt x="1391" y="496"/>
                  </a:lnTo>
                  <a:lnTo>
                    <a:pt x="1394" y="499"/>
                  </a:lnTo>
                  <a:lnTo>
                    <a:pt x="1398" y="501"/>
                  </a:lnTo>
                  <a:lnTo>
                    <a:pt x="1401" y="505"/>
                  </a:lnTo>
                  <a:lnTo>
                    <a:pt x="1407" y="506"/>
                  </a:lnTo>
                  <a:lnTo>
                    <a:pt x="1408" y="510"/>
                  </a:lnTo>
                  <a:lnTo>
                    <a:pt x="1422" y="499"/>
                  </a:lnTo>
                  <a:lnTo>
                    <a:pt x="1433" y="486"/>
                  </a:lnTo>
                  <a:lnTo>
                    <a:pt x="1441" y="472"/>
                  </a:lnTo>
                  <a:lnTo>
                    <a:pt x="1455" y="461"/>
                  </a:lnTo>
                  <a:lnTo>
                    <a:pt x="1457" y="473"/>
                  </a:lnTo>
                  <a:lnTo>
                    <a:pt x="1462" y="480"/>
                  </a:lnTo>
                  <a:lnTo>
                    <a:pt x="1469" y="487"/>
                  </a:lnTo>
                  <a:lnTo>
                    <a:pt x="1476" y="494"/>
                  </a:lnTo>
                  <a:lnTo>
                    <a:pt x="1482" y="503"/>
                  </a:lnTo>
                  <a:lnTo>
                    <a:pt x="1482" y="506"/>
                  </a:lnTo>
                  <a:lnTo>
                    <a:pt x="1482" y="510"/>
                  </a:lnTo>
                  <a:lnTo>
                    <a:pt x="1480" y="512"/>
                  </a:lnTo>
                  <a:lnTo>
                    <a:pt x="1480" y="515"/>
                  </a:lnTo>
                  <a:lnTo>
                    <a:pt x="1478" y="519"/>
                  </a:lnTo>
                  <a:lnTo>
                    <a:pt x="1480" y="522"/>
                  </a:lnTo>
                  <a:lnTo>
                    <a:pt x="1482" y="526"/>
                  </a:lnTo>
                  <a:lnTo>
                    <a:pt x="1483" y="527"/>
                  </a:lnTo>
                  <a:lnTo>
                    <a:pt x="1487" y="527"/>
                  </a:lnTo>
                  <a:lnTo>
                    <a:pt x="1490" y="527"/>
                  </a:lnTo>
                  <a:lnTo>
                    <a:pt x="1492" y="527"/>
                  </a:lnTo>
                  <a:lnTo>
                    <a:pt x="1496" y="527"/>
                  </a:lnTo>
                  <a:lnTo>
                    <a:pt x="1497" y="529"/>
                  </a:lnTo>
                  <a:lnTo>
                    <a:pt x="1503" y="543"/>
                  </a:lnTo>
                  <a:lnTo>
                    <a:pt x="1503" y="554"/>
                  </a:lnTo>
                  <a:lnTo>
                    <a:pt x="1501" y="564"/>
                  </a:lnTo>
                  <a:lnTo>
                    <a:pt x="1504" y="573"/>
                  </a:lnTo>
                  <a:lnTo>
                    <a:pt x="1517" y="583"/>
                  </a:lnTo>
                  <a:lnTo>
                    <a:pt x="1506" y="604"/>
                  </a:lnTo>
                  <a:lnTo>
                    <a:pt x="1494" y="622"/>
                  </a:lnTo>
                  <a:lnTo>
                    <a:pt x="1497" y="622"/>
                  </a:lnTo>
                  <a:lnTo>
                    <a:pt x="1508" y="611"/>
                  </a:lnTo>
                  <a:lnTo>
                    <a:pt x="1518" y="602"/>
                  </a:lnTo>
                  <a:lnTo>
                    <a:pt x="1527" y="592"/>
                  </a:lnTo>
                  <a:lnTo>
                    <a:pt x="1539" y="595"/>
                  </a:lnTo>
                  <a:lnTo>
                    <a:pt x="1546" y="602"/>
                  </a:lnTo>
                  <a:lnTo>
                    <a:pt x="1553" y="611"/>
                  </a:lnTo>
                  <a:lnTo>
                    <a:pt x="1555" y="625"/>
                  </a:lnTo>
                  <a:lnTo>
                    <a:pt x="1571" y="625"/>
                  </a:lnTo>
                  <a:lnTo>
                    <a:pt x="1571" y="630"/>
                  </a:lnTo>
                  <a:lnTo>
                    <a:pt x="1572" y="634"/>
                  </a:lnTo>
                  <a:lnTo>
                    <a:pt x="1572" y="639"/>
                  </a:lnTo>
                  <a:lnTo>
                    <a:pt x="1574" y="644"/>
                  </a:lnTo>
                  <a:lnTo>
                    <a:pt x="1572" y="650"/>
                  </a:lnTo>
                  <a:lnTo>
                    <a:pt x="1572" y="653"/>
                  </a:lnTo>
                  <a:lnTo>
                    <a:pt x="1572" y="657"/>
                  </a:lnTo>
                  <a:lnTo>
                    <a:pt x="1574" y="658"/>
                  </a:lnTo>
                  <a:lnTo>
                    <a:pt x="1574" y="662"/>
                  </a:lnTo>
                  <a:lnTo>
                    <a:pt x="1574" y="664"/>
                  </a:lnTo>
                  <a:lnTo>
                    <a:pt x="1574" y="667"/>
                  </a:lnTo>
                  <a:lnTo>
                    <a:pt x="1555" y="681"/>
                  </a:lnTo>
                  <a:lnTo>
                    <a:pt x="1534" y="690"/>
                  </a:lnTo>
                  <a:lnTo>
                    <a:pt x="1510" y="695"/>
                  </a:lnTo>
                  <a:lnTo>
                    <a:pt x="1485" y="698"/>
                  </a:lnTo>
                  <a:lnTo>
                    <a:pt x="1461" y="702"/>
                  </a:lnTo>
                  <a:lnTo>
                    <a:pt x="1436" y="705"/>
                  </a:lnTo>
                  <a:lnTo>
                    <a:pt x="1415" y="712"/>
                  </a:lnTo>
                  <a:lnTo>
                    <a:pt x="1396" y="721"/>
                  </a:lnTo>
                  <a:lnTo>
                    <a:pt x="1382" y="737"/>
                  </a:lnTo>
                  <a:lnTo>
                    <a:pt x="1386" y="737"/>
                  </a:lnTo>
                  <a:lnTo>
                    <a:pt x="1403" y="725"/>
                  </a:lnTo>
                  <a:lnTo>
                    <a:pt x="1424" y="716"/>
                  </a:lnTo>
                  <a:lnTo>
                    <a:pt x="1447" y="711"/>
                  </a:lnTo>
                  <a:lnTo>
                    <a:pt x="1448" y="714"/>
                  </a:lnTo>
                  <a:lnTo>
                    <a:pt x="1450" y="718"/>
                  </a:lnTo>
                  <a:lnTo>
                    <a:pt x="1452" y="719"/>
                  </a:lnTo>
                  <a:lnTo>
                    <a:pt x="1455" y="721"/>
                  </a:lnTo>
                  <a:lnTo>
                    <a:pt x="1459" y="723"/>
                  </a:lnTo>
                  <a:lnTo>
                    <a:pt x="1462" y="726"/>
                  </a:lnTo>
                  <a:lnTo>
                    <a:pt x="1457" y="735"/>
                  </a:lnTo>
                  <a:lnTo>
                    <a:pt x="1454" y="742"/>
                  </a:lnTo>
                  <a:lnTo>
                    <a:pt x="1452" y="749"/>
                  </a:lnTo>
                  <a:lnTo>
                    <a:pt x="1450" y="760"/>
                  </a:lnTo>
                  <a:lnTo>
                    <a:pt x="1464" y="767"/>
                  </a:lnTo>
                  <a:lnTo>
                    <a:pt x="1473" y="777"/>
                  </a:lnTo>
                  <a:lnTo>
                    <a:pt x="1480" y="787"/>
                  </a:lnTo>
                  <a:lnTo>
                    <a:pt x="1489" y="798"/>
                  </a:lnTo>
                  <a:lnTo>
                    <a:pt x="1489" y="801"/>
                  </a:lnTo>
                  <a:lnTo>
                    <a:pt x="1489" y="803"/>
                  </a:lnTo>
                  <a:lnTo>
                    <a:pt x="1487" y="803"/>
                  </a:lnTo>
                  <a:lnTo>
                    <a:pt x="1487" y="805"/>
                  </a:lnTo>
                  <a:lnTo>
                    <a:pt x="1485" y="807"/>
                  </a:lnTo>
                  <a:lnTo>
                    <a:pt x="1475" y="819"/>
                  </a:lnTo>
                  <a:lnTo>
                    <a:pt x="1461" y="829"/>
                  </a:lnTo>
                  <a:lnTo>
                    <a:pt x="1443" y="836"/>
                  </a:lnTo>
                  <a:lnTo>
                    <a:pt x="1443" y="821"/>
                  </a:lnTo>
                  <a:lnTo>
                    <a:pt x="1452" y="815"/>
                  </a:lnTo>
                  <a:lnTo>
                    <a:pt x="1459" y="810"/>
                  </a:lnTo>
                  <a:lnTo>
                    <a:pt x="1466" y="801"/>
                  </a:lnTo>
                  <a:lnTo>
                    <a:pt x="1459" y="798"/>
                  </a:lnTo>
                  <a:lnTo>
                    <a:pt x="1459" y="794"/>
                  </a:lnTo>
                  <a:lnTo>
                    <a:pt x="1457" y="794"/>
                  </a:lnTo>
                  <a:lnTo>
                    <a:pt x="1455" y="794"/>
                  </a:lnTo>
                  <a:lnTo>
                    <a:pt x="1455" y="794"/>
                  </a:lnTo>
                  <a:lnTo>
                    <a:pt x="1455" y="796"/>
                  </a:lnTo>
                  <a:lnTo>
                    <a:pt x="1455" y="798"/>
                  </a:lnTo>
                  <a:lnTo>
                    <a:pt x="1455" y="798"/>
                  </a:lnTo>
                  <a:lnTo>
                    <a:pt x="1443" y="807"/>
                  </a:lnTo>
                  <a:lnTo>
                    <a:pt x="1427" y="814"/>
                  </a:lnTo>
                  <a:lnTo>
                    <a:pt x="1414" y="819"/>
                  </a:lnTo>
                  <a:lnTo>
                    <a:pt x="1400" y="826"/>
                  </a:lnTo>
                  <a:lnTo>
                    <a:pt x="1387" y="835"/>
                  </a:lnTo>
                  <a:lnTo>
                    <a:pt x="1379" y="847"/>
                  </a:lnTo>
                  <a:lnTo>
                    <a:pt x="1373" y="864"/>
                  </a:lnTo>
                  <a:lnTo>
                    <a:pt x="1379" y="866"/>
                  </a:lnTo>
                  <a:lnTo>
                    <a:pt x="1386" y="868"/>
                  </a:lnTo>
                  <a:lnTo>
                    <a:pt x="1389" y="871"/>
                  </a:lnTo>
                  <a:lnTo>
                    <a:pt x="1382" y="871"/>
                  </a:lnTo>
                  <a:lnTo>
                    <a:pt x="1372" y="880"/>
                  </a:lnTo>
                  <a:lnTo>
                    <a:pt x="1358" y="883"/>
                  </a:lnTo>
                  <a:lnTo>
                    <a:pt x="1345" y="885"/>
                  </a:lnTo>
                  <a:lnTo>
                    <a:pt x="1331" y="887"/>
                  </a:lnTo>
                  <a:lnTo>
                    <a:pt x="1321" y="915"/>
                  </a:lnTo>
                  <a:lnTo>
                    <a:pt x="1309" y="945"/>
                  </a:lnTo>
                  <a:lnTo>
                    <a:pt x="1305" y="941"/>
                  </a:lnTo>
                  <a:lnTo>
                    <a:pt x="1304" y="939"/>
                  </a:lnTo>
                  <a:lnTo>
                    <a:pt x="1300" y="938"/>
                  </a:lnTo>
                  <a:lnTo>
                    <a:pt x="1298" y="936"/>
                  </a:lnTo>
                  <a:lnTo>
                    <a:pt x="1293" y="932"/>
                  </a:lnTo>
                  <a:lnTo>
                    <a:pt x="1293" y="941"/>
                  </a:lnTo>
                  <a:lnTo>
                    <a:pt x="1295" y="945"/>
                  </a:lnTo>
                  <a:lnTo>
                    <a:pt x="1298" y="955"/>
                  </a:lnTo>
                  <a:lnTo>
                    <a:pt x="1302" y="967"/>
                  </a:lnTo>
                  <a:lnTo>
                    <a:pt x="1305" y="978"/>
                  </a:lnTo>
                  <a:lnTo>
                    <a:pt x="1305" y="983"/>
                  </a:lnTo>
                  <a:lnTo>
                    <a:pt x="1291" y="992"/>
                  </a:lnTo>
                  <a:lnTo>
                    <a:pt x="1276" y="1000"/>
                  </a:lnTo>
                  <a:lnTo>
                    <a:pt x="1260" y="1011"/>
                  </a:lnTo>
                  <a:lnTo>
                    <a:pt x="1244" y="1021"/>
                  </a:lnTo>
                  <a:lnTo>
                    <a:pt x="1234" y="1035"/>
                  </a:lnTo>
                  <a:lnTo>
                    <a:pt x="1229" y="1053"/>
                  </a:lnTo>
                  <a:lnTo>
                    <a:pt x="1223" y="1067"/>
                  </a:lnTo>
                  <a:lnTo>
                    <a:pt x="1225" y="1084"/>
                  </a:lnTo>
                  <a:lnTo>
                    <a:pt x="1230" y="1103"/>
                  </a:lnTo>
                  <a:lnTo>
                    <a:pt x="1237" y="1123"/>
                  </a:lnTo>
                  <a:lnTo>
                    <a:pt x="1244" y="1142"/>
                  </a:lnTo>
                  <a:lnTo>
                    <a:pt x="1248" y="1159"/>
                  </a:lnTo>
                  <a:lnTo>
                    <a:pt x="1244" y="1159"/>
                  </a:lnTo>
                  <a:lnTo>
                    <a:pt x="1244" y="1163"/>
                  </a:lnTo>
                  <a:lnTo>
                    <a:pt x="1232" y="1159"/>
                  </a:lnTo>
                  <a:lnTo>
                    <a:pt x="1227" y="1144"/>
                  </a:lnTo>
                  <a:lnTo>
                    <a:pt x="1218" y="1124"/>
                  </a:lnTo>
                  <a:lnTo>
                    <a:pt x="1208" y="1103"/>
                  </a:lnTo>
                  <a:lnTo>
                    <a:pt x="1197" y="1088"/>
                  </a:lnTo>
                  <a:lnTo>
                    <a:pt x="1187" y="1079"/>
                  </a:lnTo>
                  <a:lnTo>
                    <a:pt x="1174" y="1077"/>
                  </a:lnTo>
                  <a:lnTo>
                    <a:pt x="1159" y="1070"/>
                  </a:lnTo>
                  <a:lnTo>
                    <a:pt x="1141" y="1063"/>
                  </a:lnTo>
                  <a:lnTo>
                    <a:pt x="1120" y="1060"/>
                  </a:lnTo>
                  <a:lnTo>
                    <a:pt x="1120" y="1063"/>
                  </a:lnTo>
                  <a:lnTo>
                    <a:pt x="1117" y="1063"/>
                  </a:lnTo>
                  <a:lnTo>
                    <a:pt x="1119" y="1069"/>
                  </a:lnTo>
                  <a:lnTo>
                    <a:pt x="1122" y="1074"/>
                  </a:lnTo>
                  <a:lnTo>
                    <a:pt x="1124" y="1077"/>
                  </a:lnTo>
                  <a:lnTo>
                    <a:pt x="1126" y="1081"/>
                  </a:lnTo>
                  <a:lnTo>
                    <a:pt x="1129" y="1086"/>
                  </a:lnTo>
                  <a:lnTo>
                    <a:pt x="1113" y="1086"/>
                  </a:lnTo>
                  <a:lnTo>
                    <a:pt x="1101" y="1081"/>
                  </a:lnTo>
                  <a:lnTo>
                    <a:pt x="1085" y="1077"/>
                  </a:lnTo>
                  <a:lnTo>
                    <a:pt x="1070" y="1077"/>
                  </a:lnTo>
                  <a:lnTo>
                    <a:pt x="1054" y="1079"/>
                  </a:lnTo>
                  <a:lnTo>
                    <a:pt x="1043" y="1082"/>
                  </a:lnTo>
                  <a:lnTo>
                    <a:pt x="1031" y="1088"/>
                  </a:lnTo>
                  <a:lnTo>
                    <a:pt x="1021" y="1095"/>
                  </a:lnTo>
                  <a:lnTo>
                    <a:pt x="1014" y="1105"/>
                  </a:lnTo>
                  <a:lnTo>
                    <a:pt x="1010" y="1114"/>
                  </a:lnTo>
                  <a:lnTo>
                    <a:pt x="1012" y="1121"/>
                  </a:lnTo>
                  <a:lnTo>
                    <a:pt x="1012" y="1130"/>
                  </a:lnTo>
                  <a:lnTo>
                    <a:pt x="1009" y="1140"/>
                  </a:lnTo>
                  <a:lnTo>
                    <a:pt x="1002" y="1163"/>
                  </a:lnTo>
                  <a:lnTo>
                    <a:pt x="1002" y="1180"/>
                  </a:lnTo>
                  <a:lnTo>
                    <a:pt x="1003" y="1198"/>
                  </a:lnTo>
                  <a:lnTo>
                    <a:pt x="1010" y="1215"/>
                  </a:lnTo>
                  <a:lnTo>
                    <a:pt x="1021" y="1236"/>
                  </a:lnTo>
                  <a:lnTo>
                    <a:pt x="1033" y="1238"/>
                  </a:lnTo>
                  <a:lnTo>
                    <a:pt x="1040" y="1240"/>
                  </a:lnTo>
                  <a:lnTo>
                    <a:pt x="1043" y="1243"/>
                  </a:lnTo>
                  <a:lnTo>
                    <a:pt x="1047" y="1245"/>
                  </a:lnTo>
                  <a:lnTo>
                    <a:pt x="1052" y="1247"/>
                  </a:lnTo>
                  <a:lnTo>
                    <a:pt x="1061" y="1243"/>
                  </a:lnTo>
                  <a:lnTo>
                    <a:pt x="1075" y="1236"/>
                  </a:lnTo>
                  <a:lnTo>
                    <a:pt x="1078" y="1234"/>
                  </a:lnTo>
                  <a:lnTo>
                    <a:pt x="1080" y="1234"/>
                  </a:lnTo>
                  <a:lnTo>
                    <a:pt x="1084" y="1234"/>
                  </a:lnTo>
                  <a:lnTo>
                    <a:pt x="1084" y="1234"/>
                  </a:lnTo>
                  <a:lnTo>
                    <a:pt x="1085" y="1234"/>
                  </a:lnTo>
                  <a:lnTo>
                    <a:pt x="1087" y="1234"/>
                  </a:lnTo>
                  <a:lnTo>
                    <a:pt x="1087" y="1233"/>
                  </a:lnTo>
                  <a:lnTo>
                    <a:pt x="1091" y="1229"/>
                  </a:lnTo>
                  <a:lnTo>
                    <a:pt x="1092" y="1224"/>
                  </a:lnTo>
                  <a:lnTo>
                    <a:pt x="1094" y="1219"/>
                  </a:lnTo>
                  <a:lnTo>
                    <a:pt x="1096" y="1213"/>
                  </a:lnTo>
                  <a:lnTo>
                    <a:pt x="1098" y="1210"/>
                  </a:lnTo>
                  <a:lnTo>
                    <a:pt x="1106" y="1201"/>
                  </a:lnTo>
                  <a:lnTo>
                    <a:pt x="1117" y="1196"/>
                  </a:lnTo>
                  <a:lnTo>
                    <a:pt x="1133" y="1194"/>
                  </a:lnTo>
                  <a:lnTo>
                    <a:pt x="1134" y="1198"/>
                  </a:lnTo>
                  <a:lnTo>
                    <a:pt x="1136" y="1199"/>
                  </a:lnTo>
                  <a:lnTo>
                    <a:pt x="1136" y="1201"/>
                  </a:lnTo>
                  <a:lnTo>
                    <a:pt x="1138" y="1201"/>
                  </a:lnTo>
                  <a:lnTo>
                    <a:pt x="1138" y="1199"/>
                  </a:lnTo>
                  <a:lnTo>
                    <a:pt x="1139" y="1199"/>
                  </a:lnTo>
                  <a:lnTo>
                    <a:pt x="1143" y="1199"/>
                  </a:lnTo>
                  <a:lnTo>
                    <a:pt x="1148" y="1198"/>
                  </a:lnTo>
                  <a:lnTo>
                    <a:pt x="1148" y="1213"/>
                  </a:lnTo>
                  <a:lnTo>
                    <a:pt x="1141" y="1220"/>
                  </a:lnTo>
                  <a:lnTo>
                    <a:pt x="1136" y="1233"/>
                  </a:lnTo>
                  <a:lnTo>
                    <a:pt x="1131" y="1250"/>
                  </a:lnTo>
                  <a:lnTo>
                    <a:pt x="1126" y="1266"/>
                  </a:lnTo>
                  <a:lnTo>
                    <a:pt x="1120" y="1278"/>
                  </a:lnTo>
                  <a:lnTo>
                    <a:pt x="1138" y="1278"/>
                  </a:lnTo>
                  <a:lnTo>
                    <a:pt x="1153" y="1276"/>
                  </a:lnTo>
                  <a:lnTo>
                    <a:pt x="1167" y="1276"/>
                  </a:lnTo>
                  <a:lnTo>
                    <a:pt x="1180" y="1278"/>
                  </a:lnTo>
                  <a:lnTo>
                    <a:pt x="1188" y="1283"/>
                  </a:lnTo>
                  <a:lnTo>
                    <a:pt x="1195" y="1294"/>
                  </a:lnTo>
                  <a:lnTo>
                    <a:pt x="1197" y="1309"/>
                  </a:lnTo>
                  <a:lnTo>
                    <a:pt x="1194" y="1320"/>
                  </a:lnTo>
                  <a:lnTo>
                    <a:pt x="1190" y="1334"/>
                  </a:lnTo>
                  <a:lnTo>
                    <a:pt x="1190" y="1348"/>
                  </a:lnTo>
                  <a:lnTo>
                    <a:pt x="1199" y="1357"/>
                  </a:lnTo>
                  <a:lnTo>
                    <a:pt x="1204" y="1363"/>
                  </a:lnTo>
                  <a:lnTo>
                    <a:pt x="1211" y="1370"/>
                  </a:lnTo>
                  <a:lnTo>
                    <a:pt x="1222" y="1376"/>
                  </a:lnTo>
                  <a:lnTo>
                    <a:pt x="1235" y="1379"/>
                  </a:lnTo>
                  <a:lnTo>
                    <a:pt x="1242" y="1370"/>
                  </a:lnTo>
                  <a:lnTo>
                    <a:pt x="1251" y="1367"/>
                  </a:lnTo>
                  <a:lnTo>
                    <a:pt x="1267" y="1367"/>
                  </a:lnTo>
                  <a:lnTo>
                    <a:pt x="1269" y="1370"/>
                  </a:lnTo>
                  <a:lnTo>
                    <a:pt x="1272" y="1374"/>
                  </a:lnTo>
                  <a:lnTo>
                    <a:pt x="1274" y="1376"/>
                  </a:lnTo>
                  <a:lnTo>
                    <a:pt x="1276" y="1376"/>
                  </a:lnTo>
                  <a:lnTo>
                    <a:pt x="1281" y="1377"/>
                  </a:lnTo>
                  <a:lnTo>
                    <a:pt x="1286" y="1379"/>
                  </a:lnTo>
                  <a:lnTo>
                    <a:pt x="1293" y="1365"/>
                  </a:lnTo>
                  <a:lnTo>
                    <a:pt x="1302" y="1355"/>
                  </a:lnTo>
                  <a:lnTo>
                    <a:pt x="1312" y="1346"/>
                  </a:lnTo>
                  <a:lnTo>
                    <a:pt x="1325" y="1339"/>
                  </a:lnTo>
                  <a:lnTo>
                    <a:pt x="1344" y="1336"/>
                  </a:lnTo>
                  <a:lnTo>
                    <a:pt x="1347" y="1334"/>
                  </a:lnTo>
                  <a:lnTo>
                    <a:pt x="1349" y="1334"/>
                  </a:lnTo>
                  <a:lnTo>
                    <a:pt x="1352" y="1334"/>
                  </a:lnTo>
                  <a:lnTo>
                    <a:pt x="1354" y="1334"/>
                  </a:lnTo>
                  <a:lnTo>
                    <a:pt x="1358" y="1336"/>
                  </a:lnTo>
                  <a:lnTo>
                    <a:pt x="1363" y="1336"/>
                  </a:lnTo>
                  <a:lnTo>
                    <a:pt x="1361" y="1339"/>
                  </a:lnTo>
                  <a:lnTo>
                    <a:pt x="1361" y="1343"/>
                  </a:lnTo>
                  <a:lnTo>
                    <a:pt x="1359" y="1343"/>
                  </a:lnTo>
                  <a:lnTo>
                    <a:pt x="1359" y="1344"/>
                  </a:lnTo>
                  <a:lnTo>
                    <a:pt x="1361" y="1344"/>
                  </a:lnTo>
                  <a:lnTo>
                    <a:pt x="1363" y="1346"/>
                  </a:lnTo>
                  <a:lnTo>
                    <a:pt x="1366" y="1348"/>
                  </a:lnTo>
                  <a:lnTo>
                    <a:pt x="1366" y="1344"/>
                  </a:lnTo>
                  <a:lnTo>
                    <a:pt x="1370" y="1341"/>
                  </a:lnTo>
                  <a:lnTo>
                    <a:pt x="1372" y="1339"/>
                  </a:lnTo>
                  <a:lnTo>
                    <a:pt x="1373" y="1337"/>
                  </a:lnTo>
                  <a:lnTo>
                    <a:pt x="1375" y="1336"/>
                  </a:lnTo>
                  <a:lnTo>
                    <a:pt x="1379" y="1334"/>
                  </a:lnTo>
                  <a:lnTo>
                    <a:pt x="1382" y="1332"/>
                  </a:lnTo>
                  <a:lnTo>
                    <a:pt x="1398" y="1346"/>
                  </a:lnTo>
                  <a:lnTo>
                    <a:pt x="1419" y="1353"/>
                  </a:lnTo>
                  <a:lnTo>
                    <a:pt x="1440" y="1355"/>
                  </a:lnTo>
                  <a:lnTo>
                    <a:pt x="1464" y="1353"/>
                  </a:lnTo>
                  <a:lnTo>
                    <a:pt x="1489" y="1351"/>
                  </a:lnTo>
                  <a:lnTo>
                    <a:pt x="1489" y="1355"/>
                  </a:lnTo>
                  <a:lnTo>
                    <a:pt x="1489" y="1357"/>
                  </a:lnTo>
                  <a:lnTo>
                    <a:pt x="1487" y="1358"/>
                  </a:lnTo>
                  <a:lnTo>
                    <a:pt x="1487" y="1358"/>
                  </a:lnTo>
                  <a:lnTo>
                    <a:pt x="1487" y="1360"/>
                  </a:lnTo>
                  <a:lnTo>
                    <a:pt x="1485" y="1363"/>
                  </a:lnTo>
                  <a:lnTo>
                    <a:pt x="1497" y="1367"/>
                  </a:lnTo>
                  <a:lnTo>
                    <a:pt x="1504" y="1372"/>
                  </a:lnTo>
                  <a:lnTo>
                    <a:pt x="1511" y="1377"/>
                  </a:lnTo>
                  <a:lnTo>
                    <a:pt x="1523" y="1383"/>
                  </a:lnTo>
                  <a:lnTo>
                    <a:pt x="1523" y="1393"/>
                  </a:lnTo>
                  <a:lnTo>
                    <a:pt x="1536" y="1397"/>
                  </a:lnTo>
                  <a:lnTo>
                    <a:pt x="1544" y="1398"/>
                  </a:lnTo>
                  <a:lnTo>
                    <a:pt x="1551" y="1405"/>
                  </a:lnTo>
                  <a:lnTo>
                    <a:pt x="1555" y="1416"/>
                  </a:lnTo>
                  <a:lnTo>
                    <a:pt x="1576" y="1418"/>
                  </a:lnTo>
                  <a:lnTo>
                    <a:pt x="1593" y="1419"/>
                  </a:lnTo>
                  <a:lnTo>
                    <a:pt x="1616" y="1421"/>
                  </a:lnTo>
                  <a:lnTo>
                    <a:pt x="1632" y="1442"/>
                  </a:lnTo>
                  <a:lnTo>
                    <a:pt x="1651" y="1461"/>
                  </a:lnTo>
                  <a:lnTo>
                    <a:pt x="1672" y="1477"/>
                  </a:lnTo>
                  <a:lnTo>
                    <a:pt x="1696" y="1489"/>
                  </a:lnTo>
                  <a:lnTo>
                    <a:pt x="1695" y="1496"/>
                  </a:lnTo>
                  <a:lnTo>
                    <a:pt x="1691" y="1500"/>
                  </a:lnTo>
                  <a:lnTo>
                    <a:pt x="1688" y="1505"/>
                  </a:lnTo>
                  <a:lnTo>
                    <a:pt x="1684" y="1508"/>
                  </a:lnTo>
                  <a:lnTo>
                    <a:pt x="1681" y="1514"/>
                  </a:lnTo>
                  <a:lnTo>
                    <a:pt x="1703" y="1514"/>
                  </a:lnTo>
                  <a:lnTo>
                    <a:pt x="1724" y="1521"/>
                  </a:lnTo>
                  <a:lnTo>
                    <a:pt x="1728" y="1533"/>
                  </a:lnTo>
                  <a:lnTo>
                    <a:pt x="1733" y="1531"/>
                  </a:lnTo>
                  <a:lnTo>
                    <a:pt x="1736" y="1529"/>
                  </a:lnTo>
                  <a:lnTo>
                    <a:pt x="1742" y="1531"/>
                  </a:lnTo>
                  <a:lnTo>
                    <a:pt x="1743" y="1531"/>
                  </a:lnTo>
                  <a:lnTo>
                    <a:pt x="1747" y="1533"/>
                  </a:lnTo>
                  <a:lnTo>
                    <a:pt x="1750" y="1535"/>
                  </a:lnTo>
                  <a:lnTo>
                    <a:pt x="1754" y="1536"/>
                  </a:lnTo>
                  <a:lnTo>
                    <a:pt x="1808" y="1540"/>
                  </a:lnTo>
                  <a:lnTo>
                    <a:pt x="1813" y="1545"/>
                  </a:lnTo>
                  <a:lnTo>
                    <a:pt x="1817" y="1555"/>
                  </a:lnTo>
                  <a:lnTo>
                    <a:pt x="1818" y="1564"/>
                  </a:lnTo>
                  <a:lnTo>
                    <a:pt x="1824" y="1571"/>
                  </a:lnTo>
                  <a:lnTo>
                    <a:pt x="1832" y="1573"/>
                  </a:lnTo>
                  <a:lnTo>
                    <a:pt x="1841" y="1573"/>
                  </a:lnTo>
                  <a:lnTo>
                    <a:pt x="1848" y="1571"/>
                  </a:lnTo>
                  <a:lnTo>
                    <a:pt x="1853" y="1578"/>
                  </a:lnTo>
                  <a:lnTo>
                    <a:pt x="1859" y="1583"/>
                  </a:lnTo>
                  <a:lnTo>
                    <a:pt x="1862" y="1589"/>
                  </a:lnTo>
                  <a:lnTo>
                    <a:pt x="1864" y="1596"/>
                  </a:lnTo>
                  <a:lnTo>
                    <a:pt x="1866" y="1604"/>
                  </a:lnTo>
                  <a:lnTo>
                    <a:pt x="1853" y="1620"/>
                  </a:lnTo>
                  <a:lnTo>
                    <a:pt x="1839" y="1639"/>
                  </a:lnTo>
                  <a:lnTo>
                    <a:pt x="1825" y="1660"/>
                  </a:lnTo>
                  <a:lnTo>
                    <a:pt x="1813" y="1681"/>
                  </a:lnTo>
                  <a:lnTo>
                    <a:pt x="1805" y="1697"/>
                  </a:lnTo>
                  <a:lnTo>
                    <a:pt x="1805" y="1707"/>
                  </a:lnTo>
                  <a:lnTo>
                    <a:pt x="1806" y="1721"/>
                  </a:lnTo>
                  <a:lnTo>
                    <a:pt x="1810" y="1737"/>
                  </a:lnTo>
                  <a:lnTo>
                    <a:pt x="1808" y="1751"/>
                  </a:lnTo>
                  <a:lnTo>
                    <a:pt x="1805" y="1760"/>
                  </a:lnTo>
                  <a:lnTo>
                    <a:pt x="1798" y="1774"/>
                  </a:lnTo>
                  <a:lnTo>
                    <a:pt x="1789" y="1789"/>
                  </a:lnTo>
                  <a:lnTo>
                    <a:pt x="1780" y="1805"/>
                  </a:lnTo>
                  <a:lnTo>
                    <a:pt x="1771" y="1817"/>
                  </a:lnTo>
                  <a:lnTo>
                    <a:pt x="1766" y="1824"/>
                  </a:lnTo>
                  <a:lnTo>
                    <a:pt x="1756" y="1828"/>
                  </a:lnTo>
                  <a:lnTo>
                    <a:pt x="1740" y="1830"/>
                  </a:lnTo>
                  <a:lnTo>
                    <a:pt x="1724" y="1831"/>
                  </a:lnTo>
                  <a:lnTo>
                    <a:pt x="1709" y="1835"/>
                  </a:lnTo>
                  <a:lnTo>
                    <a:pt x="1695" y="1840"/>
                  </a:lnTo>
                  <a:lnTo>
                    <a:pt x="1686" y="1850"/>
                  </a:lnTo>
                  <a:lnTo>
                    <a:pt x="1682" y="1856"/>
                  </a:lnTo>
                  <a:lnTo>
                    <a:pt x="1682" y="1859"/>
                  </a:lnTo>
                  <a:lnTo>
                    <a:pt x="1682" y="1863"/>
                  </a:lnTo>
                  <a:lnTo>
                    <a:pt x="1684" y="1868"/>
                  </a:lnTo>
                  <a:lnTo>
                    <a:pt x="1686" y="1873"/>
                  </a:lnTo>
                  <a:lnTo>
                    <a:pt x="1674" y="1873"/>
                  </a:lnTo>
                  <a:lnTo>
                    <a:pt x="1672" y="1896"/>
                  </a:lnTo>
                  <a:lnTo>
                    <a:pt x="1668" y="1915"/>
                  </a:lnTo>
                  <a:lnTo>
                    <a:pt x="1661" y="1931"/>
                  </a:lnTo>
                  <a:lnTo>
                    <a:pt x="1654" y="1946"/>
                  </a:lnTo>
                  <a:lnTo>
                    <a:pt x="1647" y="1966"/>
                  </a:lnTo>
                  <a:lnTo>
                    <a:pt x="1642" y="1966"/>
                  </a:lnTo>
                  <a:lnTo>
                    <a:pt x="1642" y="1959"/>
                  </a:lnTo>
                  <a:lnTo>
                    <a:pt x="1642" y="1955"/>
                  </a:lnTo>
                  <a:lnTo>
                    <a:pt x="1640" y="1950"/>
                  </a:lnTo>
                  <a:lnTo>
                    <a:pt x="1639" y="1946"/>
                  </a:lnTo>
                  <a:lnTo>
                    <a:pt x="1637" y="1948"/>
                  </a:lnTo>
                  <a:lnTo>
                    <a:pt x="1637" y="1948"/>
                  </a:lnTo>
                  <a:lnTo>
                    <a:pt x="1635" y="1948"/>
                  </a:lnTo>
                  <a:lnTo>
                    <a:pt x="1633" y="1950"/>
                  </a:lnTo>
                  <a:lnTo>
                    <a:pt x="1632" y="1950"/>
                  </a:lnTo>
                  <a:lnTo>
                    <a:pt x="1623" y="1971"/>
                  </a:lnTo>
                  <a:lnTo>
                    <a:pt x="1613" y="1985"/>
                  </a:lnTo>
                  <a:lnTo>
                    <a:pt x="1602" y="1997"/>
                  </a:lnTo>
                  <a:lnTo>
                    <a:pt x="1590" y="2011"/>
                  </a:lnTo>
                  <a:lnTo>
                    <a:pt x="1565" y="2006"/>
                  </a:lnTo>
                  <a:lnTo>
                    <a:pt x="1543" y="2001"/>
                  </a:lnTo>
                  <a:lnTo>
                    <a:pt x="1543" y="2008"/>
                  </a:lnTo>
                  <a:lnTo>
                    <a:pt x="1555" y="2015"/>
                  </a:lnTo>
                  <a:lnTo>
                    <a:pt x="1560" y="2025"/>
                  </a:lnTo>
                  <a:lnTo>
                    <a:pt x="1562" y="2035"/>
                  </a:lnTo>
                  <a:lnTo>
                    <a:pt x="1560" y="2048"/>
                  </a:lnTo>
                  <a:lnTo>
                    <a:pt x="1558" y="2062"/>
                  </a:lnTo>
                  <a:lnTo>
                    <a:pt x="1527" y="2063"/>
                  </a:lnTo>
                  <a:lnTo>
                    <a:pt x="1501" y="2070"/>
                  </a:lnTo>
                  <a:lnTo>
                    <a:pt x="1499" y="2074"/>
                  </a:lnTo>
                  <a:lnTo>
                    <a:pt x="1497" y="2079"/>
                  </a:lnTo>
                  <a:lnTo>
                    <a:pt x="1497" y="2086"/>
                  </a:lnTo>
                  <a:lnTo>
                    <a:pt x="1497" y="2093"/>
                  </a:lnTo>
                  <a:lnTo>
                    <a:pt x="1496" y="2097"/>
                  </a:lnTo>
                  <a:lnTo>
                    <a:pt x="1496" y="2098"/>
                  </a:lnTo>
                  <a:lnTo>
                    <a:pt x="1496" y="2102"/>
                  </a:lnTo>
                  <a:lnTo>
                    <a:pt x="1496" y="2105"/>
                  </a:lnTo>
                  <a:lnTo>
                    <a:pt x="1497" y="2112"/>
                  </a:lnTo>
                  <a:lnTo>
                    <a:pt x="1489" y="2112"/>
                  </a:lnTo>
                  <a:lnTo>
                    <a:pt x="1478" y="2114"/>
                  </a:lnTo>
                  <a:lnTo>
                    <a:pt x="1464" y="2114"/>
                  </a:lnTo>
                  <a:lnTo>
                    <a:pt x="1450" y="2116"/>
                  </a:lnTo>
                  <a:lnTo>
                    <a:pt x="1450" y="2123"/>
                  </a:lnTo>
                  <a:lnTo>
                    <a:pt x="1457" y="2126"/>
                  </a:lnTo>
                  <a:lnTo>
                    <a:pt x="1462" y="2130"/>
                  </a:lnTo>
                  <a:lnTo>
                    <a:pt x="1466" y="2131"/>
                  </a:lnTo>
                  <a:lnTo>
                    <a:pt x="1469" y="2133"/>
                  </a:lnTo>
                  <a:lnTo>
                    <a:pt x="1473" y="2137"/>
                  </a:lnTo>
                  <a:lnTo>
                    <a:pt x="1475" y="2140"/>
                  </a:lnTo>
                  <a:lnTo>
                    <a:pt x="1478" y="2145"/>
                  </a:lnTo>
                  <a:lnTo>
                    <a:pt x="1471" y="2147"/>
                  </a:lnTo>
                  <a:lnTo>
                    <a:pt x="1466" y="2149"/>
                  </a:lnTo>
                  <a:lnTo>
                    <a:pt x="1461" y="2151"/>
                  </a:lnTo>
                  <a:lnTo>
                    <a:pt x="1457" y="2152"/>
                  </a:lnTo>
                  <a:lnTo>
                    <a:pt x="1455" y="2158"/>
                  </a:lnTo>
                  <a:lnTo>
                    <a:pt x="1450" y="2168"/>
                  </a:lnTo>
                  <a:lnTo>
                    <a:pt x="1447" y="2179"/>
                  </a:lnTo>
                  <a:lnTo>
                    <a:pt x="1443" y="2189"/>
                  </a:lnTo>
                  <a:lnTo>
                    <a:pt x="1440" y="2191"/>
                  </a:lnTo>
                  <a:lnTo>
                    <a:pt x="1438" y="2191"/>
                  </a:lnTo>
                  <a:lnTo>
                    <a:pt x="1433" y="2193"/>
                  </a:lnTo>
                  <a:lnTo>
                    <a:pt x="1427" y="2193"/>
                  </a:lnTo>
                  <a:lnTo>
                    <a:pt x="1427" y="2198"/>
                  </a:lnTo>
                  <a:lnTo>
                    <a:pt x="1427" y="2201"/>
                  </a:lnTo>
                  <a:lnTo>
                    <a:pt x="1427" y="2203"/>
                  </a:lnTo>
                  <a:lnTo>
                    <a:pt x="1426" y="2205"/>
                  </a:lnTo>
                  <a:lnTo>
                    <a:pt x="1427" y="2207"/>
                  </a:lnTo>
                  <a:lnTo>
                    <a:pt x="1427" y="2208"/>
                  </a:lnTo>
                  <a:lnTo>
                    <a:pt x="1431" y="2215"/>
                  </a:lnTo>
                  <a:lnTo>
                    <a:pt x="1434" y="2221"/>
                  </a:lnTo>
                  <a:lnTo>
                    <a:pt x="1440" y="2224"/>
                  </a:lnTo>
                  <a:lnTo>
                    <a:pt x="1445" y="2227"/>
                  </a:lnTo>
                  <a:lnTo>
                    <a:pt x="1450" y="2231"/>
                  </a:lnTo>
                  <a:lnTo>
                    <a:pt x="1447" y="2243"/>
                  </a:lnTo>
                  <a:lnTo>
                    <a:pt x="1433" y="2250"/>
                  </a:lnTo>
                  <a:lnTo>
                    <a:pt x="1419" y="2264"/>
                  </a:lnTo>
                  <a:lnTo>
                    <a:pt x="1407" y="2282"/>
                  </a:lnTo>
                  <a:lnTo>
                    <a:pt x="1398" y="2299"/>
                  </a:lnTo>
                  <a:lnTo>
                    <a:pt x="1393" y="2315"/>
                  </a:lnTo>
                  <a:lnTo>
                    <a:pt x="1398" y="2320"/>
                  </a:lnTo>
                  <a:lnTo>
                    <a:pt x="1403" y="2325"/>
                  </a:lnTo>
                  <a:lnTo>
                    <a:pt x="1407" y="2330"/>
                  </a:lnTo>
                  <a:lnTo>
                    <a:pt x="1408" y="2339"/>
                  </a:lnTo>
                  <a:lnTo>
                    <a:pt x="1400" y="2341"/>
                  </a:lnTo>
                  <a:lnTo>
                    <a:pt x="1387" y="2348"/>
                  </a:lnTo>
                  <a:lnTo>
                    <a:pt x="1375" y="2358"/>
                  </a:lnTo>
                  <a:lnTo>
                    <a:pt x="1366" y="2369"/>
                  </a:lnTo>
                  <a:lnTo>
                    <a:pt x="1365" y="2372"/>
                  </a:lnTo>
                  <a:lnTo>
                    <a:pt x="1363" y="2376"/>
                  </a:lnTo>
                  <a:lnTo>
                    <a:pt x="1363" y="2379"/>
                  </a:lnTo>
                  <a:lnTo>
                    <a:pt x="1363" y="2385"/>
                  </a:lnTo>
                  <a:lnTo>
                    <a:pt x="1366" y="2385"/>
                  </a:lnTo>
                  <a:lnTo>
                    <a:pt x="1366" y="2381"/>
                  </a:lnTo>
                  <a:lnTo>
                    <a:pt x="1377" y="2369"/>
                  </a:lnTo>
                  <a:lnTo>
                    <a:pt x="1386" y="2357"/>
                  </a:lnTo>
                  <a:lnTo>
                    <a:pt x="1389" y="2358"/>
                  </a:lnTo>
                  <a:lnTo>
                    <a:pt x="1391" y="2358"/>
                  </a:lnTo>
                  <a:lnTo>
                    <a:pt x="1391" y="2360"/>
                  </a:lnTo>
                  <a:lnTo>
                    <a:pt x="1391" y="2360"/>
                  </a:lnTo>
                  <a:lnTo>
                    <a:pt x="1393" y="2362"/>
                  </a:lnTo>
                  <a:lnTo>
                    <a:pt x="1396" y="2371"/>
                  </a:lnTo>
                  <a:lnTo>
                    <a:pt x="1398" y="2381"/>
                  </a:lnTo>
                  <a:lnTo>
                    <a:pt x="1400" y="2393"/>
                  </a:lnTo>
                  <a:lnTo>
                    <a:pt x="1401" y="2404"/>
                  </a:lnTo>
                  <a:lnTo>
                    <a:pt x="1407" y="2404"/>
                  </a:lnTo>
                  <a:lnTo>
                    <a:pt x="1408" y="2404"/>
                  </a:lnTo>
                  <a:lnTo>
                    <a:pt x="1412" y="2404"/>
                  </a:lnTo>
                  <a:lnTo>
                    <a:pt x="1412" y="2406"/>
                  </a:lnTo>
                  <a:lnTo>
                    <a:pt x="1414" y="2406"/>
                  </a:lnTo>
                  <a:lnTo>
                    <a:pt x="1414" y="2407"/>
                  </a:lnTo>
                  <a:lnTo>
                    <a:pt x="1417" y="2411"/>
                  </a:lnTo>
                  <a:lnTo>
                    <a:pt x="1414" y="2413"/>
                  </a:lnTo>
                  <a:lnTo>
                    <a:pt x="1412" y="2414"/>
                  </a:lnTo>
                  <a:lnTo>
                    <a:pt x="1412" y="2416"/>
                  </a:lnTo>
                  <a:lnTo>
                    <a:pt x="1410" y="2416"/>
                  </a:lnTo>
                  <a:lnTo>
                    <a:pt x="1408" y="2418"/>
                  </a:lnTo>
                  <a:lnTo>
                    <a:pt x="1405" y="2419"/>
                  </a:lnTo>
                  <a:lnTo>
                    <a:pt x="1389" y="2423"/>
                  </a:lnTo>
                  <a:lnTo>
                    <a:pt x="1373" y="2419"/>
                  </a:lnTo>
                  <a:lnTo>
                    <a:pt x="1358" y="2411"/>
                  </a:lnTo>
                  <a:lnTo>
                    <a:pt x="1342" y="2399"/>
                  </a:lnTo>
                  <a:lnTo>
                    <a:pt x="1328" y="2385"/>
                  </a:lnTo>
                  <a:lnTo>
                    <a:pt x="1318" y="2371"/>
                  </a:lnTo>
                  <a:lnTo>
                    <a:pt x="1312" y="2357"/>
                  </a:lnTo>
                  <a:lnTo>
                    <a:pt x="1316" y="2357"/>
                  </a:lnTo>
                  <a:lnTo>
                    <a:pt x="1328" y="2369"/>
                  </a:lnTo>
                  <a:lnTo>
                    <a:pt x="1340" y="2379"/>
                  </a:lnTo>
                  <a:lnTo>
                    <a:pt x="1354" y="2388"/>
                  </a:lnTo>
                  <a:lnTo>
                    <a:pt x="1354" y="2381"/>
                  </a:lnTo>
                  <a:lnTo>
                    <a:pt x="1335" y="2371"/>
                  </a:lnTo>
                  <a:lnTo>
                    <a:pt x="1319" y="2357"/>
                  </a:lnTo>
                  <a:lnTo>
                    <a:pt x="1309" y="2337"/>
                  </a:lnTo>
                  <a:lnTo>
                    <a:pt x="1302" y="2315"/>
                  </a:lnTo>
                  <a:lnTo>
                    <a:pt x="1298" y="2292"/>
                  </a:lnTo>
                  <a:lnTo>
                    <a:pt x="1300" y="2266"/>
                  </a:lnTo>
                  <a:lnTo>
                    <a:pt x="1302" y="2241"/>
                  </a:lnTo>
                  <a:lnTo>
                    <a:pt x="1307" y="2219"/>
                  </a:lnTo>
                  <a:lnTo>
                    <a:pt x="1314" y="2198"/>
                  </a:lnTo>
                  <a:lnTo>
                    <a:pt x="1321" y="2180"/>
                  </a:lnTo>
                  <a:lnTo>
                    <a:pt x="1331" y="2180"/>
                  </a:lnTo>
                  <a:lnTo>
                    <a:pt x="1340" y="2145"/>
                  </a:lnTo>
                  <a:lnTo>
                    <a:pt x="1335" y="2145"/>
                  </a:lnTo>
                  <a:lnTo>
                    <a:pt x="1335" y="2142"/>
                  </a:lnTo>
                  <a:lnTo>
                    <a:pt x="1331" y="2145"/>
                  </a:lnTo>
                  <a:lnTo>
                    <a:pt x="1328" y="2149"/>
                  </a:lnTo>
                  <a:lnTo>
                    <a:pt x="1326" y="2152"/>
                  </a:lnTo>
                  <a:lnTo>
                    <a:pt x="1323" y="2156"/>
                  </a:lnTo>
                  <a:lnTo>
                    <a:pt x="1316" y="2158"/>
                  </a:lnTo>
                  <a:lnTo>
                    <a:pt x="1316" y="2154"/>
                  </a:lnTo>
                  <a:lnTo>
                    <a:pt x="1328" y="2081"/>
                  </a:lnTo>
                  <a:lnTo>
                    <a:pt x="1326" y="2074"/>
                  </a:lnTo>
                  <a:lnTo>
                    <a:pt x="1323" y="2062"/>
                  </a:lnTo>
                  <a:lnTo>
                    <a:pt x="1325" y="2051"/>
                  </a:lnTo>
                  <a:lnTo>
                    <a:pt x="1337" y="2009"/>
                  </a:lnTo>
                  <a:lnTo>
                    <a:pt x="1347" y="1966"/>
                  </a:lnTo>
                  <a:lnTo>
                    <a:pt x="1356" y="1919"/>
                  </a:lnTo>
                  <a:lnTo>
                    <a:pt x="1366" y="1873"/>
                  </a:lnTo>
                  <a:lnTo>
                    <a:pt x="1372" y="1843"/>
                  </a:lnTo>
                  <a:lnTo>
                    <a:pt x="1373" y="1812"/>
                  </a:lnTo>
                  <a:lnTo>
                    <a:pt x="1375" y="1782"/>
                  </a:lnTo>
                  <a:lnTo>
                    <a:pt x="1379" y="1754"/>
                  </a:lnTo>
                  <a:lnTo>
                    <a:pt x="1344" y="1741"/>
                  </a:lnTo>
                  <a:lnTo>
                    <a:pt x="1314" y="1721"/>
                  </a:lnTo>
                  <a:lnTo>
                    <a:pt x="1290" y="1695"/>
                  </a:lnTo>
                  <a:lnTo>
                    <a:pt x="1270" y="1667"/>
                  </a:lnTo>
                  <a:lnTo>
                    <a:pt x="1263" y="1651"/>
                  </a:lnTo>
                  <a:lnTo>
                    <a:pt x="1258" y="1636"/>
                  </a:lnTo>
                  <a:lnTo>
                    <a:pt x="1253" y="1618"/>
                  </a:lnTo>
                  <a:lnTo>
                    <a:pt x="1246" y="1604"/>
                  </a:lnTo>
                  <a:lnTo>
                    <a:pt x="1235" y="1594"/>
                  </a:lnTo>
                  <a:lnTo>
                    <a:pt x="1232" y="1590"/>
                  </a:lnTo>
                  <a:lnTo>
                    <a:pt x="1227" y="1590"/>
                  </a:lnTo>
                  <a:lnTo>
                    <a:pt x="1223" y="1589"/>
                  </a:lnTo>
                  <a:lnTo>
                    <a:pt x="1220" y="1585"/>
                  </a:lnTo>
                  <a:lnTo>
                    <a:pt x="1216" y="1582"/>
                  </a:lnTo>
                  <a:lnTo>
                    <a:pt x="1220" y="1575"/>
                  </a:lnTo>
                  <a:lnTo>
                    <a:pt x="1220" y="1569"/>
                  </a:lnTo>
                  <a:lnTo>
                    <a:pt x="1220" y="1562"/>
                  </a:lnTo>
                  <a:lnTo>
                    <a:pt x="1220" y="1555"/>
                  </a:lnTo>
                  <a:lnTo>
                    <a:pt x="1229" y="1550"/>
                  </a:lnTo>
                  <a:lnTo>
                    <a:pt x="1235" y="1545"/>
                  </a:lnTo>
                  <a:lnTo>
                    <a:pt x="1244" y="1540"/>
                  </a:lnTo>
                  <a:lnTo>
                    <a:pt x="1244" y="1536"/>
                  </a:lnTo>
                  <a:lnTo>
                    <a:pt x="1235" y="1536"/>
                  </a:lnTo>
                  <a:lnTo>
                    <a:pt x="1230" y="1535"/>
                  </a:lnTo>
                  <a:lnTo>
                    <a:pt x="1225" y="1535"/>
                  </a:lnTo>
                  <a:lnTo>
                    <a:pt x="1220" y="1533"/>
                  </a:lnTo>
                  <a:lnTo>
                    <a:pt x="1227" y="1517"/>
                  </a:lnTo>
                  <a:lnTo>
                    <a:pt x="1232" y="1501"/>
                  </a:lnTo>
                  <a:lnTo>
                    <a:pt x="1239" y="1486"/>
                  </a:lnTo>
                  <a:lnTo>
                    <a:pt x="1251" y="1473"/>
                  </a:lnTo>
                  <a:lnTo>
                    <a:pt x="1265" y="1461"/>
                  </a:lnTo>
                  <a:lnTo>
                    <a:pt x="1277" y="1447"/>
                  </a:lnTo>
                  <a:lnTo>
                    <a:pt x="1276" y="1437"/>
                  </a:lnTo>
                  <a:lnTo>
                    <a:pt x="1276" y="1423"/>
                  </a:lnTo>
                  <a:lnTo>
                    <a:pt x="1274" y="1409"/>
                  </a:lnTo>
                  <a:lnTo>
                    <a:pt x="1269" y="1400"/>
                  </a:lnTo>
                  <a:lnTo>
                    <a:pt x="1262" y="1390"/>
                  </a:lnTo>
                  <a:lnTo>
                    <a:pt x="1255" y="1379"/>
                  </a:lnTo>
                  <a:lnTo>
                    <a:pt x="1248" y="1379"/>
                  </a:lnTo>
                  <a:lnTo>
                    <a:pt x="1246" y="1381"/>
                  </a:lnTo>
                  <a:lnTo>
                    <a:pt x="1244" y="1383"/>
                  </a:lnTo>
                  <a:lnTo>
                    <a:pt x="1242" y="1384"/>
                  </a:lnTo>
                  <a:lnTo>
                    <a:pt x="1239" y="1386"/>
                  </a:lnTo>
                  <a:lnTo>
                    <a:pt x="1241" y="1390"/>
                  </a:lnTo>
                  <a:lnTo>
                    <a:pt x="1241" y="1393"/>
                  </a:lnTo>
                  <a:lnTo>
                    <a:pt x="1241" y="1393"/>
                  </a:lnTo>
                  <a:lnTo>
                    <a:pt x="1241" y="1395"/>
                  </a:lnTo>
                  <a:lnTo>
                    <a:pt x="1241" y="1395"/>
                  </a:lnTo>
                  <a:lnTo>
                    <a:pt x="1239" y="1398"/>
                  </a:lnTo>
                  <a:lnTo>
                    <a:pt x="1237" y="1398"/>
                  </a:lnTo>
                  <a:lnTo>
                    <a:pt x="1235" y="1400"/>
                  </a:lnTo>
                  <a:lnTo>
                    <a:pt x="1234" y="1400"/>
                  </a:lnTo>
                  <a:lnTo>
                    <a:pt x="1232" y="1400"/>
                  </a:lnTo>
                  <a:lnTo>
                    <a:pt x="1229" y="1402"/>
                  </a:lnTo>
                  <a:lnTo>
                    <a:pt x="1220" y="1395"/>
                  </a:lnTo>
                  <a:lnTo>
                    <a:pt x="1204" y="1386"/>
                  </a:lnTo>
                  <a:lnTo>
                    <a:pt x="1188" y="1377"/>
                  </a:lnTo>
                  <a:lnTo>
                    <a:pt x="1173" y="1370"/>
                  </a:lnTo>
                  <a:lnTo>
                    <a:pt x="1162" y="1367"/>
                  </a:lnTo>
                  <a:lnTo>
                    <a:pt x="1153" y="1346"/>
                  </a:lnTo>
                  <a:lnTo>
                    <a:pt x="1145" y="1334"/>
                  </a:lnTo>
                  <a:lnTo>
                    <a:pt x="1136" y="1325"/>
                  </a:lnTo>
                  <a:lnTo>
                    <a:pt x="1127" y="1322"/>
                  </a:lnTo>
                  <a:lnTo>
                    <a:pt x="1113" y="1318"/>
                  </a:lnTo>
                  <a:lnTo>
                    <a:pt x="1098" y="1313"/>
                  </a:lnTo>
                  <a:lnTo>
                    <a:pt x="1078" y="1306"/>
                  </a:lnTo>
                  <a:lnTo>
                    <a:pt x="1066" y="1297"/>
                  </a:lnTo>
                  <a:lnTo>
                    <a:pt x="1056" y="1288"/>
                  </a:lnTo>
                  <a:lnTo>
                    <a:pt x="1040" y="1281"/>
                  </a:lnTo>
                  <a:lnTo>
                    <a:pt x="1030" y="1281"/>
                  </a:lnTo>
                  <a:lnTo>
                    <a:pt x="1023" y="1285"/>
                  </a:lnTo>
                  <a:lnTo>
                    <a:pt x="1017" y="1288"/>
                  </a:lnTo>
                  <a:lnTo>
                    <a:pt x="1010" y="1292"/>
                  </a:lnTo>
                  <a:lnTo>
                    <a:pt x="1002" y="1290"/>
                  </a:lnTo>
                  <a:lnTo>
                    <a:pt x="998" y="1288"/>
                  </a:lnTo>
                  <a:lnTo>
                    <a:pt x="995" y="1285"/>
                  </a:lnTo>
                  <a:lnTo>
                    <a:pt x="991" y="1281"/>
                  </a:lnTo>
                  <a:lnTo>
                    <a:pt x="986" y="1276"/>
                  </a:lnTo>
                  <a:lnTo>
                    <a:pt x="982" y="1273"/>
                  </a:lnTo>
                  <a:lnTo>
                    <a:pt x="979" y="1271"/>
                  </a:lnTo>
                  <a:lnTo>
                    <a:pt x="956" y="1267"/>
                  </a:lnTo>
                  <a:lnTo>
                    <a:pt x="953" y="1264"/>
                  </a:lnTo>
                  <a:lnTo>
                    <a:pt x="949" y="1261"/>
                  </a:lnTo>
                  <a:lnTo>
                    <a:pt x="946" y="1257"/>
                  </a:lnTo>
                  <a:lnTo>
                    <a:pt x="942" y="1254"/>
                  </a:lnTo>
                  <a:lnTo>
                    <a:pt x="941" y="1252"/>
                  </a:lnTo>
                  <a:lnTo>
                    <a:pt x="921" y="1255"/>
                  </a:lnTo>
                  <a:lnTo>
                    <a:pt x="918" y="1254"/>
                  </a:lnTo>
                  <a:lnTo>
                    <a:pt x="913" y="1247"/>
                  </a:lnTo>
                  <a:lnTo>
                    <a:pt x="904" y="1240"/>
                  </a:lnTo>
                  <a:lnTo>
                    <a:pt x="897" y="1231"/>
                  </a:lnTo>
                  <a:lnTo>
                    <a:pt x="890" y="1224"/>
                  </a:lnTo>
                  <a:lnTo>
                    <a:pt x="886" y="1220"/>
                  </a:lnTo>
                  <a:lnTo>
                    <a:pt x="893" y="1198"/>
                  </a:lnTo>
                  <a:lnTo>
                    <a:pt x="874" y="1177"/>
                  </a:lnTo>
                  <a:lnTo>
                    <a:pt x="857" y="1154"/>
                  </a:lnTo>
                  <a:lnTo>
                    <a:pt x="839" y="1130"/>
                  </a:lnTo>
                  <a:lnTo>
                    <a:pt x="822" y="1105"/>
                  </a:lnTo>
                  <a:lnTo>
                    <a:pt x="818" y="1103"/>
                  </a:lnTo>
                  <a:lnTo>
                    <a:pt x="813" y="1102"/>
                  </a:lnTo>
                  <a:lnTo>
                    <a:pt x="810" y="1102"/>
                  </a:lnTo>
                  <a:lnTo>
                    <a:pt x="804" y="1100"/>
                  </a:lnTo>
                  <a:lnTo>
                    <a:pt x="803" y="1098"/>
                  </a:lnTo>
                  <a:lnTo>
                    <a:pt x="796" y="1089"/>
                  </a:lnTo>
                  <a:lnTo>
                    <a:pt x="792" y="1079"/>
                  </a:lnTo>
                  <a:lnTo>
                    <a:pt x="789" y="1069"/>
                  </a:lnTo>
                  <a:lnTo>
                    <a:pt x="783" y="1058"/>
                  </a:lnTo>
                  <a:lnTo>
                    <a:pt x="775" y="1053"/>
                  </a:lnTo>
                  <a:lnTo>
                    <a:pt x="771" y="1049"/>
                  </a:lnTo>
                  <a:lnTo>
                    <a:pt x="768" y="1046"/>
                  </a:lnTo>
                  <a:lnTo>
                    <a:pt x="764" y="1044"/>
                  </a:lnTo>
                  <a:lnTo>
                    <a:pt x="764" y="1063"/>
                  </a:lnTo>
                  <a:lnTo>
                    <a:pt x="769" y="1070"/>
                  </a:lnTo>
                  <a:lnTo>
                    <a:pt x="780" y="1082"/>
                  </a:lnTo>
                  <a:lnTo>
                    <a:pt x="790" y="1096"/>
                  </a:lnTo>
                  <a:lnTo>
                    <a:pt x="803" y="1114"/>
                  </a:lnTo>
                  <a:lnTo>
                    <a:pt x="813" y="1131"/>
                  </a:lnTo>
                  <a:lnTo>
                    <a:pt x="824" y="1149"/>
                  </a:lnTo>
                  <a:lnTo>
                    <a:pt x="832" y="1165"/>
                  </a:lnTo>
                  <a:lnTo>
                    <a:pt x="836" y="1175"/>
                  </a:lnTo>
                  <a:lnTo>
                    <a:pt x="836" y="1182"/>
                  </a:lnTo>
                  <a:lnTo>
                    <a:pt x="834" y="1185"/>
                  </a:lnTo>
                  <a:lnTo>
                    <a:pt x="832" y="1187"/>
                  </a:lnTo>
                  <a:lnTo>
                    <a:pt x="832" y="1189"/>
                  </a:lnTo>
                  <a:lnTo>
                    <a:pt x="829" y="1191"/>
                  </a:lnTo>
                  <a:lnTo>
                    <a:pt x="829" y="1184"/>
                  </a:lnTo>
                  <a:lnTo>
                    <a:pt x="827" y="1178"/>
                  </a:lnTo>
                  <a:lnTo>
                    <a:pt x="827" y="1175"/>
                  </a:lnTo>
                  <a:lnTo>
                    <a:pt x="825" y="1171"/>
                  </a:lnTo>
                  <a:lnTo>
                    <a:pt x="822" y="1171"/>
                  </a:lnTo>
                  <a:lnTo>
                    <a:pt x="820" y="1171"/>
                  </a:lnTo>
                  <a:lnTo>
                    <a:pt x="818" y="1171"/>
                  </a:lnTo>
                  <a:lnTo>
                    <a:pt x="817" y="1171"/>
                  </a:lnTo>
                  <a:lnTo>
                    <a:pt x="815" y="1171"/>
                  </a:lnTo>
                  <a:lnTo>
                    <a:pt x="810" y="1171"/>
                  </a:lnTo>
                  <a:lnTo>
                    <a:pt x="806" y="1159"/>
                  </a:lnTo>
                  <a:lnTo>
                    <a:pt x="803" y="1147"/>
                  </a:lnTo>
                  <a:lnTo>
                    <a:pt x="797" y="1137"/>
                  </a:lnTo>
                  <a:lnTo>
                    <a:pt x="789" y="1128"/>
                  </a:lnTo>
                  <a:lnTo>
                    <a:pt x="778" y="1121"/>
                  </a:lnTo>
                  <a:lnTo>
                    <a:pt x="768" y="1114"/>
                  </a:lnTo>
                  <a:lnTo>
                    <a:pt x="759" y="1102"/>
                  </a:lnTo>
                  <a:lnTo>
                    <a:pt x="762" y="1100"/>
                  </a:lnTo>
                  <a:lnTo>
                    <a:pt x="764" y="1100"/>
                  </a:lnTo>
                  <a:lnTo>
                    <a:pt x="764" y="1100"/>
                  </a:lnTo>
                  <a:lnTo>
                    <a:pt x="766" y="1100"/>
                  </a:lnTo>
                  <a:lnTo>
                    <a:pt x="766" y="1098"/>
                  </a:lnTo>
                  <a:lnTo>
                    <a:pt x="766" y="1096"/>
                  </a:lnTo>
                  <a:lnTo>
                    <a:pt x="768" y="1095"/>
                  </a:lnTo>
                  <a:lnTo>
                    <a:pt x="755" y="1086"/>
                  </a:lnTo>
                  <a:lnTo>
                    <a:pt x="749" y="1075"/>
                  </a:lnTo>
                  <a:lnTo>
                    <a:pt x="743" y="1063"/>
                  </a:lnTo>
                  <a:lnTo>
                    <a:pt x="740" y="1049"/>
                  </a:lnTo>
                  <a:lnTo>
                    <a:pt x="733" y="1037"/>
                  </a:lnTo>
                  <a:lnTo>
                    <a:pt x="724" y="1027"/>
                  </a:lnTo>
                  <a:lnTo>
                    <a:pt x="714" y="1021"/>
                  </a:lnTo>
                  <a:lnTo>
                    <a:pt x="701" y="1016"/>
                  </a:lnTo>
                  <a:lnTo>
                    <a:pt x="691" y="1009"/>
                  </a:lnTo>
                  <a:lnTo>
                    <a:pt x="684" y="1000"/>
                  </a:lnTo>
                  <a:lnTo>
                    <a:pt x="680" y="990"/>
                  </a:lnTo>
                  <a:lnTo>
                    <a:pt x="675" y="979"/>
                  </a:lnTo>
                  <a:lnTo>
                    <a:pt x="663" y="962"/>
                  </a:lnTo>
                  <a:lnTo>
                    <a:pt x="653" y="950"/>
                  </a:lnTo>
                  <a:lnTo>
                    <a:pt x="642" y="939"/>
                  </a:lnTo>
                  <a:lnTo>
                    <a:pt x="635" y="927"/>
                  </a:lnTo>
                  <a:lnTo>
                    <a:pt x="630" y="911"/>
                  </a:lnTo>
                  <a:lnTo>
                    <a:pt x="626" y="890"/>
                  </a:lnTo>
                  <a:lnTo>
                    <a:pt x="625" y="861"/>
                  </a:lnTo>
                  <a:lnTo>
                    <a:pt x="625" y="854"/>
                  </a:lnTo>
                  <a:lnTo>
                    <a:pt x="626" y="840"/>
                  </a:lnTo>
                  <a:lnTo>
                    <a:pt x="626" y="821"/>
                  </a:lnTo>
                  <a:lnTo>
                    <a:pt x="626" y="798"/>
                  </a:lnTo>
                  <a:lnTo>
                    <a:pt x="626" y="777"/>
                  </a:lnTo>
                  <a:lnTo>
                    <a:pt x="628" y="760"/>
                  </a:lnTo>
                  <a:lnTo>
                    <a:pt x="630" y="749"/>
                  </a:lnTo>
                  <a:lnTo>
                    <a:pt x="635" y="747"/>
                  </a:lnTo>
                  <a:lnTo>
                    <a:pt x="639" y="747"/>
                  </a:lnTo>
                  <a:lnTo>
                    <a:pt x="642" y="747"/>
                  </a:lnTo>
                  <a:lnTo>
                    <a:pt x="646" y="747"/>
                  </a:lnTo>
                  <a:lnTo>
                    <a:pt x="649" y="749"/>
                  </a:lnTo>
                  <a:lnTo>
                    <a:pt x="651" y="753"/>
                  </a:lnTo>
                  <a:lnTo>
                    <a:pt x="654" y="756"/>
                  </a:lnTo>
                  <a:lnTo>
                    <a:pt x="656" y="760"/>
                  </a:lnTo>
                  <a:lnTo>
                    <a:pt x="656" y="740"/>
                  </a:lnTo>
                  <a:lnTo>
                    <a:pt x="644" y="726"/>
                  </a:lnTo>
                  <a:lnTo>
                    <a:pt x="630" y="712"/>
                  </a:lnTo>
                  <a:lnTo>
                    <a:pt x="614" y="702"/>
                  </a:lnTo>
                  <a:lnTo>
                    <a:pt x="614" y="711"/>
                  </a:lnTo>
                  <a:lnTo>
                    <a:pt x="621" y="716"/>
                  </a:lnTo>
                  <a:lnTo>
                    <a:pt x="628" y="721"/>
                  </a:lnTo>
                  <a:lnTo>
                    <a:pt x="635" y="726"/>
                  </a:lnTo>
                  <a:lnTo>
                    <a:pt x="640" y="733"/>
                  </a:lnTo>
                  <a:lnTo>
                    <a:pt x="640" y="737"/>
                  </a:lnTo>
                  <a:lnTo>
                    <a:pt x="639" y="737"/>
                  </a:lnTo>
                  <a:lnTo>
                    <a:pt x="639" y="739"/>
                  </a:lnTo>
                  <a:lnTo>
                    <a:pt x="639" y="739"/>
                  </a:lnTo>
                  <a:lnTo>
                    <a:pt x="637" y="740"/>
                  </a:lnTo>
                  <a:lnTo>
                    <a:pt x="633" y="742"/>
                  </a:lnTo>
                  <a:lnTo>
                    <a:pt x="632" y="744"/>
                  </a:lnTo>
                  <a:lnTo>
                    <a:pt x="626" y="744"/>
                  </a:lnTo>
                  <a:lnTo>
                    <a:pt x="621" y="744"/>
                  </a:lnTo>
                  <a:lnTo>
                    <a:pt x="619" y="744"/>
                  </a:lnTo>
                  <a:lnTo>
                    <a:pt x="619" y="742"/>
                  </a:lnTo>
                  <a:lnTo>
                    <a:pt x="618" y="742"/>
                  </a:lnTo>
                  <a:lnTo>
                    <a:pt x="618" y="742"/>
                  </a:lnTo>
                  <a:lnTo>
                    <a:pt x="614" y="740"/>
                  </a:lnTo>
                  <a:lnTo>
                    <a:pt x="602" y="725"/>
                  </a:lnTo>
                  <a:lnTo>
                    <a:pt x="591" y="709"/>
                  </a:lnTo>
                  <a:lnTo>
                    <a:pt x="583" y="691"/>
                  </a:lnTo>
                  <a:lnTo>
                    <a:pt x="591" y="691"/>
                  </a:lnTo>
                  <a:lnTo>
                    <a:pt x="595" y="693"/>
                  </a:lnTo>
                  <a:lnTo>
                    <a:pt x="598" y="693"/>
                  </a:lnTo>
                  <a:lnTo>
                    <a:pt x="602" y="693"/>
                  </a:lnTo>
                  <a:lnTo>
                    <a:pt x="605" y="691"/>
                  </a:lnTo>
                  <a:lnTo>
                    <a:pt x="591" y="686"/>
                  </a:lnTo>
                  <a:lnTo>
                    <a:pt x="583" y="678"/>
                  </a:lnTo>
                  <a:lnTo>
                    <a:pt x="576" y="667"/>
                  </a:lnTo>
                  <a:lnTo>
                    <a:pt x="570" y="655"/>
                  </a:lnTo>
                  <a:lnTo>
                    <a:pt x="567" y="643"/>
                  </a:lnTo>
                  <a:lnTo>
                    <a:pt x="562" y="632"/>
                  </a:lnTo>
                  <a:lnTo>
                    <a:pt x="555" y="623"/>
                  </a:lnTo>
                  <a:lnTo>
                    <a:pt x="544" y="618"/>
                  </a:lnTo>
                  <a:lnTo>
                    <a:pt x="548" y="595"/>
                  </a:lnTo>
                  <a:lnTo>
                    <a:pt x="536" y="582"/>
                  </a:lnTo>
                  <a:lnTo>
                    <a:pt x="525" y="566"/>
                  </a:lnTo>
                  <a:lnTo>
                    <a:pt x="516" y="550"/>
                  </a:lnTo>
                  <a:lnTo>
                    <a:pt x="504" y="534"/>
                  </a:lnTo>
                  <a:lnTo>
                    <a:pt x="490" y="522"/>
                  </a:lnTo>
                  <a:lnTo>
                    <a:pt x="471" y="513"/>
                  </a:lnTo>
                  <a:lnTo>
                    <a:pt x="448" y="508"/>
                  </a:lnTo>
                  <a:lnTo>
                    <a:pt x="429" y="499"/>
                  </a:lnTo>
                  <a:lnTo>
                    <a:pt x="415" y="487"/>
                  </a:lnTo>
                  <a:lnTo>
                    <a:pt x="399" y="473"/>
                  </a:lnTo>
                  <a:lnTo>
                    <a:pt x="384" y="465"/>
                  </a:lnTo>
                  <a:lnTo>
                    <a:pt x="352" y="465"/>
                  </a:lnTo>
                  <a:lnTo>
                    <a:pt x="342" y="459"/>
                  </a:lnTo>
                  <a:lnTo>
                    <a:pt x="333" y="452"/>
                  </a:lnTo>
                  <a:lnTo>
                    <a:pt x="323" y="447"/>
                  </a:lnTo>
                  <a:lnTo>
                    <a:pt x="307" y="445"/>
                  </a:lnTo>
                  <a:lnTo>
                    <a:pt x="307" y="468"/>
                  </a:lnTo>
                  <a:lnTo>
                    <a:pt x="289" y="477"/>
                  </a:lnTo>
                  <a:lnTo>
                    <a:pt x="274" y="486"/>
                  </a:lnTo>
                  <a:lnTo>
                    <a:pt x="253" y="491"/>
                  </a:lnTo>
                  <a:lnTo>
                    <a:pt x="258" y="475"/>
                  </a:lnTo>
                  <a:lnTo>
                    <a:pt x="265" y="459"/>
                  </a:lnTo>
                  <a:lnTo>
                    <a:pt x="275" y="445"/>
                  </a:lnTo>
                  <a:lnTo>
                    <a:pt x="284" y="430"/>
                  </a:lnTo>
                  <a:lnTo>
                    <a:pt x="275" y="430"/>
                  </a:lnTo>
                  <a:lnTo>
                    <a:pt x="275" y="433"/>
                  </a:lnTo>
                  <a:lnTo>
                    <a:pt x="262" y="444"/>
                  </a:lnTo>
                  <a:lnTo>
                    <a:pt x="251" y="458"/>
                  </a:lnTo>
                  <a:lnTo>
                    <a:pt x="244" y="473"/>
                  </a:lnTo>
                  <a:lnTo>
                    <a:pt x="239" y="489"/>
                  </a:lnTo>
                  <a:lnTo>
                    <a:pt x="232" y="506"/>
                  </a:lnTo>
                  <a:lnTo>
                    <a:pt x="221" y="522"/>
                  </a:lnTo>
                  <a:lnTo>
                    <a:pt x="214" y="529"/>
                  </a:lnTo>
                  <a:lnTo>
                    <a:pt x="200" y="540"/>
                  </a:lnTo>
                  <a:lnTo>
                    <a:pt x="183" y="550"/>
                  </a:lnTo>
                  <a:lnTo>
                    <a:pt x="162" y="562"/>
                  </a:lnTo>
                  <a:lnTo>
                    <a:pt x="141" y="576"/>
                  </a:lnTo>
                  <a:lnTo>
                    <a:pt x="120" y="589"/>
                  </a:lnTo>
                  <a:lnTo>
                    <a:pt x="99" y="599"/>
                  </a:lnTo>
                  <a:lnTo>
                    <a:pt x="83" y="606"/>
                  </a:lnTo>
                  <a:lnTo>
                    <a:pt x="73" y="609"/>
                  </a:lnTo>
                  <a:lnTo>
                    <a:pt x="73" y="606"/>
                  </a:lnTo>
                  <a:lnTo>
                    <a:pt x="77" y="606"/>
                  </a:lnTo>
                  <a:lnTo>
                    <a:pt x="89" y="594"/>
                  </a:lnTo>
                  <a:lnTo>
                    <a:pt x="104" y="583"/>
                  </a:lnTo>
                  <a:lnTo>
                    <a:pt x="122" y="573"/>
                  </a:lnTo>
                  <a:lnTo>
                    <a:pt x="139" y="562"/>
                  </a:lnTo>
                  <a:lnTo>
                    <a:pt x="155" y="550"/>
                  </a:lnTo>
                  <a:lnTo>
                    <a:pt x="167" y="536"/>
                  </a:lnTo>
                  <a:lnTo>
                    <a:pt x="176" y="520"/>
                  </a:lnTo>
                  <a:lnTo>
                    <a:pt x="179" y="499"/>
                  </a:lnTo>
                  <a:lnTo>
                    <a:pt x="166" y="503"/>
                  </a:lnTo>
                  <a:lnTo>
                    <a:pt x="157" y="506"/>
                  </a:lnTo>
                  <a:lnTo>
                    <a:pt x="145" y="510"/>
                  </a:lnTo>
                  <a:lnTo>
                    <a:pt x="145" y="506"/>
                  </a:lnTo>
                  <a:lnTo>
                    <a:pt x="145" y="503"/>
                  </a:lnTo>
                  <a:lnTo>
                    <a:pt x="145" y="503"/>
                  </a:lnTo>
                  <a:lnTo>
                    <a:pt x="143" y="501"/>
                  </a:lnTo>
                  <a:lnTo>
                    <a:pt x="143" y="501"/>
                  </a:lnTo>
                  <a:lnTo>
                    <a:pt x="141" y="501"/>
                  </a:lnTo>
                  <a:lnTo>
                    <a:pt x="138" y="499"/>
                  </a:lnTo>
                  <a:lnTo>
                    <a:pt x="136" y="501"/>
                  </a:lnTo>
                  <a:lnTo>
                    <a:pt x="134" y="503"/>
                  </a:lnTo>
                  <a:lnTo>
                    <a:pt x="132" y="505"/>
                  </a:lnTo>
                  <a:lnTo>
                    <a:pt x="131" y="505"/>
                  </a:lnTo>
                  <a:lnTo>
                    <a:pt x="127" y="506"/>
                  </a:lnTo>
                  <a:lnTo>
                    <a:pt x="122" y="506"/>
                  </a:lnTo>
                  <a:lnTo>
                    <a:pt x="120" y="496"/>
                  </a:lnTo>
                  <a:lnTo>
                    <a:pt x="115" y="482"/>
                  </a:lnTo>
                  <a:lnTo>
                    <a:pt x="111" y="472"/>
                  </a:lnTo>
                  <a:lnTo>
                    <a:pt x="108" y="475"/>
                  </a:lnTo>
                  <a:lnTo>
                    <a:pt x="106" y="477"/>
                  </a:lnTo>
                  <a:lnTo>
                    <a:pt x="104" y="477"/>
                  </a:lnTo>
                  <a:lnTo>
                    <a:pt x="101" y="477"/>
                  </a:lnTo>
                  <a:lnTo>
                    <a:pt x="99" y="475"/>
                  </a:lnTo>
                  <a:lnTo>
                    <a:pt x="82" y="463"/>
                  </a:lnTo>
                  <a:lnTo>
                    <a:pt x="68" y="445"/>
                  </a:lnTo>
                  <a:lnTo>
                    <a:pt x="57" y="426"/>
                  </a:lnTo>
                  <a:lnTo>
                    <a:pt x="63" y="416"/>
                  </a:lnTo>
                  <a:lnTo>
                    <a:pt x="68" y="403"/>
                  </a:lnTo>
                  <a:lnTo>
                    <a:pt x="73" y="393"/>
                  </a:lnTo>
                  <a:lnTo>
                    <a:pt x="80" y="384"/>
                  </a:lnTo>
                  <a:lnTo>
                    <a:pt x="92" y="377"/>
                  </a:lnTo>
                  <a:lnTo>
                    <a:pt x="103" y="374"/>
                  </a:lnTo>
                  <a:lnTo>
                    <a:pt x="113" y="369"/>
                  </a:lnTo>
                  <a:lnTo>
                    <a:pt x="120" y="362"/>
                  </a:lnTo>
                  <a:lnTo>
                    <a:pt x="125" y="351"/>
                  </a:lnTo>
                  <a:lnTo>
                    <a:pt x="125" y="334"/>
                  </a:lnTo>
                  <a:lnTo>
                    <a:pt x="127" y="332"/>
                  </a:lnTo>
                  <a:lnTo>
                    <a:pt x="129" y="332"/>
                  </a:lnTo>
                  <a:lnTo>
                    <a:pt x="129" y="330"/>
                  </a:lnTo>
                  <a:lnTo>
                    <a:pt x="129" y="328"/>
                  </a:lnTo>
                  <a:lnTo>
                    <a:pt x="131" y="327"/>
                  </a:lnTo>
                  <a:lnTo>
                    <a:pt x="115" y="327"/>
                  </a:lnTo>
                  <a:lnTo>
                    <a:pt x="111" y="330"/>
                  </a:lnTo>
                  <a:lnTo>
                    <a:pt x="110" y="332"/>
                  </a:lnTo>
                  <a:lnTo>
                    <a:pt x="108" y="334"/>
                  </a:lnTo>
                  <a:lnTo>
                    <a:pt x="104" y="335"/>
                  </a:lnTo>
                  <a:lnTo>
                    <a:pt x="101" y="337"/>
                  </a:lnTo>
                  <a:lnTo>
                    <a:pt x="96" y="337"/>
                  </a:lnTo>
                  <a:lnTo>
                    <a:pt x="85" y="334"/>
                  </a:lnTo>
                  <a:lnTo>
                    <a:pt x="70" y="328"/>
                  </a:lnTo>
                  <a:lnTo>
                    <a:pt x="52" y="325"/>
                  </a:lnTo>
                  <a:lnTo>
                    <a:pt x="38" y="318"/>
                  </a:lnTo>
                  <a:lnTo>
                    <a:pt x="35" y="292"/>
                  </a:lnTo>
                  <a:lnTo>
                    <a:pt x="42" y="292"/>
                  </a:lnTo>
                  <a:lnTo>
                    <a:pt x="45" y="290"/>
                  </a:lnTo>
                  <a:lnTo>
                    <a:pt x="50" y="288"/>
                  </a:lnTo>
                  <a:lnTo>
                    <a:pt x="54" y="287"/>
                  </a:lnTo>
                  <a:lnTo>
                    <a:pt x="57" y="287"/>
                  </a:lnTo>
                  <a:lnTo>
                    <a:pt x="61" y="283"/>
                  </a:lnTo>
                  <a:lnTo>
                    <a:pt x="64" y="280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1" y="273"/>
                  </a:lnTo>
                  <a:lnTo>
                    <a:pt x="77" y="273"/>
                  </a:lnTo>
                  <a:lnTo>
                    <a:pt x="78" y="271"/>
                  </a:lnTo>
                  <a:lnTo>
                    <a:pt x="80" y="271"/>
                  </a:lnTo>
                  <a:lnTo>
                    <a:pt x="82" y="269"/>
                  </a:lnTo>
                  <a:lnTo>
                    <a:pt x="83" y="269"/>
                  </a:lnTo>
                  <a:lnTo>
                    <a:pt x="87" y="269"/>
                  </a:lnTo>
                  <a:lnTo>
                    <a:pt x="92" y="274"/>
                  </a:lnTo>
                  <a:lnTo>
                    <a:pt x="97" y="278"/>
                  </a:lnTo>
                  <a:lnTo>
                    <a:pt x="103" y="283"/>
                  </a:lnTo>
                  <a:lnTo>
                    <a:pt x="106" y="288"/>
                  </a:lnTo>
                  <a:lnTo>
                    <a:pt x="118" y="283"/>
                  </a:lnTo>
                  <a:lnTo>
                    <a:pt x="118" y="276"/>
                  </a:lnTo>
                  <a:lnTo>
                    <a:pt x="115" y="271"/>
                  </a:lnTo>
                  <a:lnTo>
                    <a:pt x="113" y="266"/>
                  </a:lnTo>
                  <a:lnTo>
                    <a:pt x="111" y="260"/>
                  </a:lnTo>
                  <a:lnTo>
                    <a:pt x="110" y="255"/>
                  </a:lnTo>
                  <a:lnTo>
                    <a:pt x="106" y="250"/>
                  </a:lnTo>
                  <a:lnTo>
                    <a:pt x="94" y="236"/>
                  </a:lnTo>
                  <a:lnTo>
                    <a:pt x="80" y="225"/>
                  </a:lnTo>
                  <a:lnTo>
                    <a:pt x="64" y="215"/>
                  </a:lnTo>
                  <a:lnTo>
                    <a:pt x="50" y="205"/>
                  </a:lnTo>
                  <a:lnTo>
                    <a:pt x="42" y="189"/>
                  </a:lnTo>
                  <a:lnTo>
                    <a:pt x="45" y="184"/>
                  </a:lnTo>
                  <a:lnTo>
                    <a:pt x="47" y="178"/>
                  </a:lnTo>
                  <a:lnTo>
                    <a:pt x="49" y="173"/>
                  </a:lnTo>
                  <a:lnTo>
                    <a:pt x="70" y="175"/>
                  </a:lnTo>
                  <a:lnTo>
                    <a:pt x="90" y="173"/>
                  </a:lnTo>
                  <a:lnTo>
                    <a:pt x="106" y="164"/>
                  </a:lnTo>
                  <a:lnTo>
                    <a:pt x="111" y="152"/>
                  </a:lnTo>
                  <a:lnTo>
                    <a:pt x="115" y="140"/>
                  </a:lnTo>
                  <a:lnTo>
                    <a:pt x="118" y="129"/>
                  </a:lnTo>
                  <a:lnTo>
                    <a:pt x="131" y="119"/>
                  </a:lnTo>
                  <a:lnTo>
                    <a:pt x="148" y="110"/>
                  </a:lnTo>
                  <a:lnTo>
                    <a:pt x="167" y="105"/>
                  </a:lnTo>
                  <a:lnTo>
                    <a:pt x="183" y="98"/>
                  </a:lnTo>
                  <a:lnTo>
                    <a:pt x="199" y="88"/>
                  </a:lnTo>
                  <a:lnTo>
                    <a:pt x="204" y="91"/>
                  </a:lnTo>
                  <a:lnTo>
                    <a:pt x="207" y="93"/>
                  </a:lnTo>
                  <a:lnTo>
                    <a:pt x="207" y="96"/>
                  </a:lnTo>
                  <a:lnTo>
                    <a:pt x="209" y="98"/>
                  </a:lnTo>
                  <a:lnTo>
                    <a:pt x="209" y="102"/>
                  </a:lnTo>
                  <a:lnTo>
                    <a:pt x="211" y="103"/>
                  </a:lnTo>
                  <a:lnTo>
                    <a:pt x="214" y="107"/>
                  </a:lnTo>
                  <a:lnTo>
                    <a:pt x="218" y="110"/>
                  </a:lnTo>
                  <a:lnTo>
                    <a:pt x="223" y="110"/>
                  </a:lnTo>
                  <a:lnTo>
                    <a:pt x="227" y="110"/>
                  </a:lnTo>
                  <a:lnTo>
                    <a:pt x="230" y="109"/>
                  </a:lnTo>
                  <a:lnTo>
                    <a:pt x="234" y="107"/>
                  </a:lnTo>
                  <a:lnTo>
                    <a:pt x="237" y="107"/>
                  </a:lnTo>
                  <a:lnTo>
                    <a:pt x="241" y="107"/>
                  </a:lnTo>
                  <a:lnTo>
                    <a:pt x="244" y="109"/>
                  </a:lnTo>
                  <a:lnTo>
                    <a:pt x="248" y="112"/>
                  </a:lnTo>
                  <a:lnTo>
                    <a:pt x="253" y="117"/>
                  </a:lnTo>
                  <a:lnTo>
                    <a:pt x="256" y="121"/>
                  </a:lnTo>
                  <a:lnTo>
                    <a:pt x="260" y="124"/>
                  </a:lnTo>
                  <a:lnTo>
                    <a:pt x="265" y="126"/>
                  </a:lnTo>
                  <a:lnTo>
                    <a:pt x="270" y="128"/>
                  </a:lnTo>
                  <a:lnTo>
                    <a:pt x="275" y="126"/>
                  </a:lnTo>
                  <a:lnTo>
                    <a:pt x="279" y="126"/>
                  </a:lnTo>
                  <a:lnTo>
                    <a:pt x="282" y="124"/>
                  </a:lnTo>
                  <a:lnTo>
                    <a:pt x="288" y="122"/>
                  </a:lnTo>
                  <a:lnTo>
                    <a:pt x="291" y="122"/>
                  </a:lnTo>
                  <a:lnTo>
                    <a:pt x="302" y="126"/>
                  </a:lnTo>
                  <a:lnTo>
                    <a:pt x="317" y="131"/>
                  </a:lnTo>
                  <a:lnTo>
                    <a:pt x="331" y="138"/>
                  </a:lnTo>
                  <a:lnTo>
                    <a:pt x="345" y="142"/>
                  </a:lnTo>
                  <a:lnTo>
                    <a:pt x="375" y="138"/>
                  </a:lnTo>
                  <a:lnTo>
                    <a:pt x="394" y="147"/>
                  </a:lnTo>
                  <a:lnTo>
                    <a:pt x="412" y="159"/>
                  </a:lnTo>
                  <a:lnTo>
                    <a:pt x="429" y="170"/>
                  </a:lnTo>
                  <a:lnTo>
                    <a:pt x="448" y="180"/>
                  </a:lnTo>
                  <a:lnTo>
                    <a:pt x="471" y="184"/>
                  </a:lnTo>
                  <a:lnTo>
                    <a:pt x="471" y="177"/>
                  </a:lnTo>
                  <a:lnTo>
                    <a:pt x="466" y="171"/>
                  </a:lnTo>
                  <a:lnTo>
                    <a:pt x="461" y="164"/>
                  </a:lnTo>
                  <a:lnTo>
                    <a:pt x="455" y="157"/>
                  </a:lnTo>
                  <a:lnTo>
                    <a:pt x="452" y="149"/>
                  </a:lnTo>
                  <a:lnTo>
                    <a:pt x="473" y="147"/>
                  </a:lnTo>
                  <a:lnTo>
                    <a:pt x="487" y="143"/>
                  </a:lnTo>
                  <a:lnTo>
                    <a:pt x="499" y="136"/>
                  </a:lnTo>
                  <a:lnTo>
                    <a:pt x="509" y="129"/>
                  </a:lnTo>
                  <a:lnTo>
                    <a:pt x="520" y="121"/>
                  </a:lnTo>
                  <a:lnTo>
                    <a:pt x="532" y="115"/>
                  </a:lnTo>
                  <a:lnTo>
                    <a:pt x="548" y="112"/>
                  </a:lnTo>
                  <a:lnTo>
                    <a:pt x="551" y="114"/>
                  </a:lnTo>
                  <a:lnTo>
                    <a:pt x="557" y="115"/>
                  </a:lnTo>
                  <a:lnTo>
                    <a:pt x="560" y="117"/>
                  </a:lnTo>
                  <a:lnTo>
                    <a:pt x="563" y="119"/>
                  </a:lnTo>
                  <a:lnTo>
                    <a:pt x="557" y="119"/>
                  </a:lnTo>
                  <a:lnTo>
                    <a:pt x="539" y="133"/>
                  </a:lnTo>
                  <a:lnTo>
                    <a:pt x="520" y="145"/>
                  </a:lnTo>
                  <a:lnTo>
                    <a:pt x="499" y="154"/>
                  </a:lnTo>
                  <a:lnTo>
                    <a:pt x="499" y="161"/>
                  </a:lnTo>
                  <a:lnTo>
                    <a:pt x="518" y="164"/>
                  </a:lnTo>
                  <a:lnTo>
                    <a:pt x="527" y="154"/>
                  </a:lnTo>
                  <a:lnTo>
                    <a:pt x="536" y="149"/>
                  </a:lnTo>
                  <a:lnTo>
                    <a:pt x="548" y="147"/>
                  </a:lnTo>
                  <a:lnTo>
                    <a:pt x="560" y="147"/>
                  </a:lnTo>
                  <a:lnTo>
                    <a:pt x="576" y="145"/>
                  </a:lnTo>
                  <a:lnTo>
                    <a:pt x="577" y="140"/>
                  </a:lnTo>
                  <a:lnTo>
                    <a:pt x="579" y="135"/>
                  </a:lnTo>
                  <a:lnTo>
                    <a:pt x="583" y="129"/>
                  </a:lnTo>
                  <a:lnTo>
                    <a:pt x="586" y="126"/>
                  </a:lnTo>
                  <a:lnTo>
                    <a:pt x="591" y="138"/>
                  </a:lnTo>
                  <a:lnTo>
                    <a:pt x="597" y="147"/>
                  </a:lnTo>
                  <a:lnTo>
                    <a:pt x="605" y="154"/>
                  </a:lnTo>
                  <a:lnTo>
                    <a:pt x="618" y="157"/>
                  </a:lnTo>
                  <a:lnTo>
                    <a:pt x="621" y="154"/>
                  </a:lnTo>
                  <a:lnTo>
                    <a:pt x="623" y="152"/>
                  </a:lnTo>
                  <a:lnTo>
                    <a:pt x="626" y="150"/>
                  </a:lnTo>
                  <a:lnTo>
                    <a:pt x="628" y="149"/>
                  </a:lnTo>
                  <a:lnTo>
                    <a:pt x="632" y="149"/>
                  </a:lnTo>
                  <a:lnTo>
                    <a:pt x="633" y="149"/>
                  </a:lnTo>
                  <a:lnTo>
                    <a:pt x="637" y="154"/>
                  </a:lnTo>
                  <a:lnTo>
                    <a:pt x="639" y="157"/>
                  </a:lnTo>
                  <a:lnTo>
                    <a:pt x="640" y="161"/>
                  </a:lnTo>
                  <a:lnTo>
                    <a:pt x="646" y="159"/>
                  </a:lnTo>
                  <a:lnTo>
                    <a:pt x="651" y="156"/>
                  </a:lnTo>
                  <a:lnTo>
                    <a:pt x="654" y="152"/>
                  </a:lnTo>
                  <a:lnTo>
                    <a:pt x="659" y="150"/>
                  </a:lnTo>
                  <a:lnTo>
                    <a:pt x="663" y="149"/>
                  </a:lnTo>
                  <a:lnTo>
                    <a:pt x="682" y="154"/>
                  </a:lnTo>
                  <a:lnTo>
                    <a:pt x="698" y="166"/>
                  </a:lnTo>
                  <a:lnTo>
                    <a:pt x="714" y="178"/>
                  </a:lnTo>
                  <a:lnTo>
                    <a:pt x="729" y="189"/>
                  </a:lnTo>
                  <a:lnTo>
                    <a:pt x="735" y="189"/>
                  </a:lnTo>
                  <a:lnTo>
                    <a:pt x="740" y="189"/>
                  </a:lnTo>
                  <a:lnTo>
                    <a:pt x="743" y="187"/>
                  </a:lnTo>
                  <a:lnTo>
                    <a:pt x="749" y="185"/>
                  </a:lnTo>
                  <a:lnTo>
                    <a:pt x="752" y="184"/>
                  </a:lnTo>
                  <a:lnTo>
                    <a:pt x="755" y="184"/>
                  </a:lnTo>
                  <a:lnTo>
                    <a:pt x="759" y="187"/>
                  </a:lnTo>
                  <a:lnTo>
                    <a:pt x="762" y="191"/>
                  </a:lnTo>
                  <a:lnTo>
                    <a:pt x="766" y="196"/>
                  </a:lnTo>
                  <a:lnTo>
                    <a:pt x="769" y="203"/>
                  </a:lnTo>
                  <a:lnTo>
                    <a:pt x="771" y="206"/>
                  </a:lnTo>
                  <a:lnTo>
                    <a:pt x="768" y="208"/>
                  </a:lnTo>
                  <a:lnTo>
                    <a:pt x="764" y="210"/>
                  </a:lnTo>
                  <a:lnTo>
                    <a:pt x="764" y="210"/>
                  </a:lnTo>
                  <a:lnTo>
                    <a:pt x="762" y="211"/>
                  </a:lnTo>
                  <a:lnTo>
                    <a:pt x="762" y="213"/>
                  </a:lnTo>
                  <a:lnTo>
                    <a:pt x="761" y="215"/>
                  </a:lnTo>
                  <a:lnTo>
                    <a:pt x="759" y="218"/>
                  </a:lnTo>
                  <a:lnTo>
                    <a:pt x="771" y="218"/>
                  </a:lnTo>
                  <a:lnTo>
                    <a:pt x="787" y="220"/>
                  </a:lnTo>
                  <a:lnTo>
                    <a:pt x="803" y="220"/>
                  </a:lnTo>
                  <a:lnTo>
                    <a:pt x="817" y="220"/>
                  </a:lnTo>
                  <a:lnTo>
                    <a:pt x="825" y="222"/>
                  </a:lnTo>
                  <a:lnTo>
                    <a:pt x="834" y="232"/>
                  </a:lnTo>
                  <a:lnTo>
                    <a:pt x="843" y="243"/>
                  </a:lnTo>
                  <a:lnTo>
                    <a:pt x="851" y="253"/>
                  </a:lnTo>
                  <a:lnTo>
                    <a:pt x="851" y="218"/>
                  </a:lnTo>
                  <a:lnTo>
                    <a:pt x="860" y="218"/>
                  </a:lnTo>
                  <a:lnTo>
                    <a:pt x="867" y="218"/>
                  </a:lnTo>
                  <a:lnTo>
                    <a:pt x="872" y="217"/>
                  </a:lnTo>
                  <a:lnTo>
                    <a:pt x="879" y="215"/>
                  </a:lnTo>
                  <a:lnTo>
                    <a:pt x="879" y="211"/>
                  </a:lnTo>
                  <a:lnTo>
                    <a:pt x="848" y="211"/>
                  </a:lnTo>
                  <a:lnTo>
                    <a:pt x="846" y="206"/>
                  </a:lnTo>
                  <a:lnTo>
                    <a:pt x="845" y="205"/>
                  </a:lnTo>
                  <a:lnTo>
                    <a:pt x="843" y="201"/>
                  </a:lnTo>
                  <a:lnTo>
                    <a:pt x="841" y="198"/>
                  </a:lnTo>
                  <a:lnTo>
                    <a:pt x="841" y="192"/>
                  </a:lnTo>
                  <a:lnTo>
                    <a:pt x="845" y="192"/>
                  </a:lnTo>
                  <a:lnTo>
                    <a:pt x="845" y="189"/>
                  </a:lnTo>
                  <a:lnTo>
                    <a:pt x="890" y="184"/>
                  </a:lnTo>
                  <a:lnTo>
                    <a:pt x="890" y="196"/>
                  </a:lnTo>
                  <a:lnTo>
                    <a:pt x="895" y="199"/>
                  </a:lnTo>
                  <a:lnTo>
                    <a:pt x="899" y="205"/>
                  </a:lnTo>
                  <a:lnTo>
                    <a:pt x="902" y="208"/>
                  </a:lnTo>
                  <a:lnTo>
                    <a:pt x="906" y="215"/>
                  </a:lnTo>
                  <a:lnTo>
                    <a:pt x="925" y="215"/>
                  </a:lnTo>
                  <a:lnTo>
                    <a:pt x="937" y="218"/>
                  </a:lnTo>
                  <a:lnTo>
                    <a:pt x="949" y="220"/>
                  </a:lnTo>
                  <a:lnTo>
                    <a:pt x="961" y="222"/>
                  </a:lnTo>
                  <a:lnTo>
                    <a:pt x="979" y="222"/>
                  </a:lnTo>
                  <a:lnTo>
                    <a:pt x="981" y="220"/>
                  </a:lnTo>
                  <a:lnTo>
                    <a:pt x="982" y="218"/>
                  </a:lnTo>
                  <a:lnTo>
                    <a:pt x="984" y="217"/>
                  </a:lnTo>
                  <a:lnTo>
                    <a:pt x="986" y="215"/>
                  </a:lnTo>
                  <a:lnTo>
                    <a:pt x="986" y="203"/>
                  </a:lnTo>
                  <a:lnTo>
                    <a:pt x="1009" y="203"/>
                  </a:lnTo>
                  <a:lnTo>
                    <a:pt x="1016" y="218"/>
                  </a:lnTo>
                  <a:lnTo>
                    <a:pt x="1024" y="234"/>
                  </a:lnTo>
                  <a:lnTo>
                    <a:pt x="1026" y="227"/>
                  </a:lnTo>
                  <a:lnTo>
                    <a:pt x="1026" y="224"/>
                  </a:lnTo>
                  <a:lnTo>
                    <a:pt x="1028" y="218"/>
                  </a:lnTo>
                  <a:lnTo>
                    <a:pt x="1028" y="215"/>
                  </a:lnTo>
                  <a:lnTo>
                    <a:pt x="1040" y="215"/>
                  </a:lnTo>
                  <a:lnTo>
                    <a:pt x="1040" y="201"/>
                  </a:lnTo>
                  <a:lnTo>
                    <a:pt x="1040" y="185"/>
                  </a:lnTo>
                  <a:lnTo>
                    <a:pt x="1042" y="171"/>
                  </a:lnTo>
                  <a:lnTo>
                    <a:pt x="1040" y="164"/>
                  </a:lnTo>
                  <a:lnTo>
                    <a:pt x="1028" y="150"/>
                  </a:lnTo>
                  <a:lnTo>
                    <a:pt x="1019" y="135"/>
                  </a:lnTo>
                  <a:lnTo>
                    <a:pt x="1017" y="117"/>
                  </a:lnTo>
                  <a:lnTo>
                    <a:pt x="1021" y="100"/>
                  </a:lnTo>
                  <a:lnTo>
                    <a:pt x="1033" y="81"/>
                  </a:lnTo>
                  <a:lnTo>
                    <a:pt x="1042" y="77"/>
                  </a:lnTo>
                  <a:lnTo>
                    <a:pt x="1052" y="74"/>
                  </a:lnTo>
                  <a:lnTo>
                    <a:pt x="1063" y="72"/>
                  </a:lnTo>
                  <a:close/>
                  <a:moveTo>
                    <a:pt x="851" y="23"/>
                  </a:moveTo>
                  <a:lnTo>
                    <a:pt x="872" y="37"/>
                  </a:lnTo>
                  <a:lnTo>
                    <a:pt x="885" y="54"/>
                  </a:lnTo>
                  <a:lnTo>
                    <a:pt x="892" y="75"/>
                  </a:lnTo>
                  <a:lnTo>
                    <a:pt x="897" y="102"/>
                  </a:lnTo>
                  <a:lnTo>
                    <a:pt x="902" y="129"/>
                  </a:lnTo>
                  <a:lnTo>
                    <a:pt x="918" y="131"/>
                  </a:lnTo>
                  <a:lnTo>
                    <a:pt x="928" y="133"/>
                  </a:lnTo>
                  <a:lnTo>
                    <a:pt x="937" y="140"/>
                  </a:lnTo>
                  <a:lnTo>
                    <a:pt x="942" y="149"/>
                  </a:lnTo>
                  <a:lnTo>
                    <a:pt x="944" y="164"/>
                  </a:lnTo>
                  <a:lnTo>
                    <a:pt x="941" y="164"/>
                  </a:lnTo>
                  <a:lnTo>
                    <a:pt x="939" y="163"/>
                  </a:lnTo>
                  <a:lnTo>
                    <a:pt x="937" y="161"/>
                  </a:lnTo>
                  <a:lnTo>
                    <a:pt x="935" y="159"/>
                  </a:lnTo>
                  <a:lnTo>
                    <a:pt x="932" y="157"/>
                  </a:lnTo>
                  <a:lnTo>
                    <a:pt x="932" y="164"/>
                  </a:lnTo>
                  <a:lnTo>
                    <a:pt x="935" y="168"/>
                  </a:lnTo>
                  <a:lnTo>
                    <a:pt x="937" y="170"/>
                  </a:lnTo>
                  <a:lnTo>
                    <a:pt x="939" y="170"/>
                  </a:lnTo>
                  <a:lnTo>
                    <a:pt x="939" y="173"/>
                  </a:lnTo>
                  <a:lnTo>
                    <a:pt x="939" y="175"/>
                  </a:lnTo>
                  <a:lnTo>
                    <a:pt x="941" y="180"/>
                  </a:lnTo>
                  <a:lnTo>
                    <a:pt x="932" y="182"/>
                  </a:lnTo>
                  <a:lnTo>
                    <a:pt x="923" y="184"/>
                  </a:lnTo>
                  <a:lnTo>
                    <a:pt x="913" y="184"/>
                  </a:lnTo>
                  <a:lnTo>
                    <a:pt x="895" y="177"/>
                  </a:lnTo>
                  <a:lnTo>
                    <a:pt x="878" y="175"/>
                  </a:lnTo>
                  <a:lnTo>
                    <a:pt x="858" y="178"/>
                  </a:lnTo>
                  <a:lnTo>
                    <a:pt x="839" y="184"/>
                  </a:lnTo>
                  <a:lnTo>
                    <a:pt x="820" y="187"/>
                  </a:lnTo>
                  <a:lnTo>
                    <a:pt x="799" y="187"/>
                  </a:lnTo>
                  <a:lnTo>
                    <a:pt x="775" y="180"/>
                  </a:lnTo>
                  <a:lnTo>
                    <a:pt x="762" y="177"/>
                  </a:lnTo>
                  <a:lnTo>
                    <a:pt x="752" y="175"/>
                  </a:lnTo>
                  <a:lnTo>
                    <a:pt x="743" y="173"/>
                  </a:lnTo>
                  <a:lnTo>
                    <a:pt x="735" y="168"/>
                  </a:lnTo>
                  <a:lnTo>
                    <a:pt x="729" y="157"/>
                  </a:lnTo>
                  <a:lnTo>
                    <a:pt x="733" y="157"/>
                  </a:lnTo>
                  <a:lnTo>
                    <a:pt x="742" y="149"/>
                  </a:lnTo>
                  <a:lnTo>
                    <a:pt x="755" y="145"/>
                  </a:lnTo>
                  <a:lnTo>
                    <a:pt x="771" y="143"/>
                  </a:lnTo>
                  <a:lnTo>
                    <a:pt x="787" y="142"/>
                  </a:lnTo>
                  <a:lnTo>
                    <a:pt x="787" y="138"/>
                  </a:lnTo>
                  <a:lnTo>
                    <a:pt x="780" y="133"/>
                  </a:lnTo>
                  <a:lnTo>
                    <a:pt x="775" y="129"/>
                  </a:lnTo>
                  <a:lnTo>
                    <a:pt x="768" y="128"/>
                  </a:lnTo>
                  <a:lnTo>
                    <a:pt x="755" y="126"/>
                  </a:lnTo>
                  <a:lnTo>
                    <a:pt x="749" y="126"/>
                  </a:lnTo>
                  <a:lnTo>
                    <a:pt x="736" y="126"/>
                  </a:lnTo>
                  <a:lnTo>
                    <a:pt x="721" y="126"/>
                  </a:lnTo>
                  <a:lnTo>
                    <a:pt x="719" y="115"/>
                  </a:lnTo>
                  <a:lnTo>
                    <a:pt x="714" y="105"/>
                  </a:lnTo>
                  <a:lnTo>
                    <a:pt x="710" y="96"/>
                  </a:lnTo>
                  <a:lnTo>
                    <a:pt x="707" y="86"/>
                  </a:lnTo>
                  <a:lnTo>
                    <a:pt x="707" y="68"/>
                  </a:lnTo>
                  <a:lnTo>
                    <a:pt x="714" y="58"/>
                  </a:lnTo>
                  <a:lnTo>
                    <a:pt x="721" y="46"/>
                  </a:lnTo>
                  <a:lnTo>
                    <a:pt x="729" y="35"/>
                  </a:lnTo>
                  <a:lnTo>
                    <a:pt x="740" y="28"/>
                  </a:lnTo>
                  <a:lnTo>
                    <a:pt x="752" y="30"/>
                  </a:lnTo>
                  <a:lnTo>
                    <a:pt x="755" y="30"/>
                  </a:lnTo>
                  <a:lnTo>
                    <a:pt x="755" y="33"/>
                  </a:lnTo>
                  <a:lnTo>
                    <a:pt x="755" y="35"/>
                  </a:lnTo>
                  <a:lnTo>
                    <a:pt x="754" y="35"/>
                  </a:lnTo>
                  <a:lnTo>
                    <a:pt x="754" y="37"/>
                  </a:lnTo>
                  <a:lnTo>
                    <a:pt x="754" y="37"/>
                  </a:lnTo>
                  <a:lnTo>
                    <a:pt x="755" y="39"/>
                  </a:lnTo>
                  <a:lnTo>
                    <a:pt x="755" y="42"/>
                  </a:lnTo>
                  <a:lnTo>
                    <a:pt x="764" y="42"/>
                  </a:lnTo>
                  <a:lnTo>
                    <a:pt x="776" y="42"/>
                  </a:lnTo>
                  <a:lnTo>
                    <a:pt x="787" y="42"/>
                  </a:lnTo>
                  <a:lnTo>
                    <a:pt x="794" y="42"/>
                  </a:lnTo>
                  <a:lnTo>
                    <a:pt x="797" y="44"/>
                  </a:lnTo>
                  <a:lnTo>
                    <a:pt x="799" y="46"/>
                  </a:lnTo>
                  <a:lnTo>
                    <a:pt x="801" y="49"/>
                  </a:lnTo>
                  <a:lnTo>
                    <a:pt x="803" y="53"/>
                  </a:lnTo>
                  <a:lnTo>
                    <a:pt x="806" y="54"/>
                  </a:lnTo>
                  <a:lnTo>
                    <a:pt x="810" y="58"/>
                  </a:lnTo>
                  <a:lnTo>
                    <a:pt x="811" y="53"/>
                  </a:lnTo>
                  <a:lnTo>
                    <a:pt x="813" y="51"/>
                  </a:lnTo>
                  <a:lnTo>
                    <a:pt x="817" y="49"/>
                  </a:lnTo>
                  <a:lnTo>
                    <a:pt x="818" y="47"/>
                  </a:lnTo>
                  <a:lnTo>
                    <a:pt x="824" y="47"/>
                  </a:lnTo>
                  <a:lnTo>
                    <a:pt x="829" y="46"/>
                  </a:lnTo>
                  <a:lnTo>
                    <a:pt x="836" y="60"/>
                  </a:lnTo>
                  <a:lnTo>
                    <a:pt x="843" y="70"/>
                  </a:lnTo>
                  <a:lnTo>
                    <a:pt x="848" y="77"/>
                  </a:lnTo>
                  <a:lnTo>
                    <a:pt x="850" y="72"/>
                  </a:lnTo>
                  <a:lnTo>
                    <a:pt x="851" y="67"/>
                  </a:lnTo>
                  <a:lnTo>
                    <a:pt x="851" y="61"/>
                  </a:lnTo>
                  <a:lnTo>
                    <a:pt x="851" y="54"/>
                  </a:lnTo>
                  <a:lnTo>
                    <a:pt x="845" y="44"/>
                  </a:lnTo>
                  <a:lnTo>
                    <a:pt x="846" y="33"/>
                  </a:lnTo>
                  <a:lnTo>
                    <a:pt x="851" y="23"/>
                  </a:lnTo>
                  <a:close/>
                  <a:moveTo>
                    <a:pt x="871" y="7"/>
                  </a:moveTo>
                  <a:lnTo>
                    <a:pt x="879" y="7"/>
                  </a:lnTo>
                  <a:lnTo>
                    <a:pt x="886" y="9"/>
                  </a:lnTo>
                  <a:lnTo>
                    <a:pt x="893" y="11"/>
                  </a:lnTo>
                  <a:lnTo>
                    <a:pt x="899" y="14"/>
                  </a:lnTo>
                  <a:lnTo>
                    <a:pt x="900" y="19"/>
                  </a:lnTo>
                  <a:lnTo>
                    <a:pt x="900" y="23"/>
                  </a:lnTo>
                  <a:lnTo>
                    <a:pt x="902" y="28"/>
                  </a:lnTo>
                  <a:lnTo>
                    <a:pt x="902" y="35"/>
                  </a:lnTo>
                  <a:lnTo>
                    <a:pt x="897" y="35"/>
                  </a:lnTo>
                  <a:lnTo>
                    <a:pt x="893" y="37"/>
                  </a:lnTo>
                  <a:lnTo>
                    <a:pt x="888" y="37"/>
                  </a:lnTo>
                  <a:lnTo>
                    <a:pt x="883" y="39"/>
                  </a:lnTo>
                  <a:lnTo>
                    <a:pt x="874" y="30"/>
                  </a:lnTo>
                  <a:lnTo>
                    <a:pt x="864" y="23"/>
                  </a:lnTo>
                  <a:lnTo>
                    <a:pt x="871" y="7"/>
                  </a:lnTo>
                  <a:close/>
                  <a:moveTo>
                    <a:pt x="4266" y="0"/>
                  </a:moveTo>
                  <a:lnTo>
                    <a:pt x="4285" y="0"/>
                  </a:lnTo>
                  <a:lnTo>
                    <a:pt x="4301" y="4"/>
                  </a:lnTo>
                  <a:lnTo>
                    <a:pt x="4316" y="7"/>
                  </a:lnTo>
                  <a:lnTo>
                    <a:pt x="4320" y="23"/>
                  </a:lnTo>
                  <a:lnTo>
                    <a:pt x="4269" y="23"/>
                  </a:lnTo>
                  <a:lnTo>
                    <a:pt x="4267" y="18"/>
                  </a:lnTo>
                  <a:lnTo>
                    <a:pt x="4267" y="13"/>
                  </a:lnTo>
                  <a:lnTo>
                    <a:pt x="4266" y="7"/>
                  </a:lnTo>
                  <a:lnTo>
                    <a:pt x="4266" y="0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xmlns="" id="{781050E8-29C4-48C3-B4AD-0FAFDEB9CA1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95439" y="1790700"/>
              <a:ext cx="6908801" cy="3509964"/>
            </a:xfrm>
            <a:custGeom>
              <a:avLst/>
              <a:gdLst>
                <a:gd name="T0" fmla="*/ 660 w 4352"/>
                <a:gd name="T1" fmla="*/ 268 h 2211"/>
                <a:gd name="T2" fmla="*/ 761 w 4352"/>
                <a:gd name="T3" fmla="*/ 293 h 2211"/>
                <a:gd name="T4" fmla="*/ 891 w 4352"/>
                <a:gd name="T5" fmla="*/ 513 h 2211"/>
                <a:gd name="T6" fmla="*/ 763 w 4352"/>
                <a:gd name="T7" fmla="*/ 572 h 2211"/>
                <a:gd name="T8" fmla="*/ 541 w 4352"/>
                <a:gd name="T9" fmla="*/ 326 h 2211"/>
                <a:gd name="T10" fmla="*/ 381 w 4352"/>
                <a:gd name="T11" fmla="*/ 211 h 2211"/>
                <a:gd name="T12" fmla="*/ 442 w 4352"/>
                <a:gd name="T13" fmla="*/ 265 h 2211"/>
                <a:gd name="T14" fmla="*/ 20 w 4352"/>
                <a:gd name="T15" fmla="*/ 288 h 2211"/>
                <a:gd name="T16" fmla="*/ 452 w 4352"/>
                <a:gd name="T17" fmla="*/ 157 h 2211"/>
                <a:gd name="T18" fmla="*/ 3751 w 4352"/>
                <a:gd name="T19" fmla="*/ 141 h 2211"/>
                <a:gd name="T20" fmla="*/ 320 w 4352"/>
                <a:gd name="T21" fmla="*/ 123 h 2211"/>
                <a:gd name="T22" fmla="*/ 299 w 4352"/>
                <a:gd name="T23" fmla="*/ 143 h 2211"/>
                <a:gd name="T24" fmla="*/ 163 w 4352"/>
                <a:gd name="T25" fmla="*/ 127 h 2211"/>
                <a:gd name="T26" fmla="*/ 140 w 4352"/>
                <a:gd name="T27" fmla="*/ 101 h 2211"/>
                <a:gd name="T28" fmla="*/ 3675 w 4352"/>
                <a:gd name="T29" fmla="*/ 153 h 2211"/>
                <a:gd name="T30" fmla="*/ 639 w 4352"/>
                <a:gd name="T31" fmla="*/ 162 h 2211"/>
                <a:gd name="T32" fmla="*/ 508 w 4352"/>
                <a:gd name="T33" fmla="*/ 150 h 2211"/>
                <a:gd name="T34" fmla="*/ 404 w 4352"/>
                <a:gd name="T35" fmla="*/ 89 h 2211"/>
                <a:gd name="T36" fmla="*/ 180 w 4352"/>
                <a:gd name="T37" fmla="*/ 82 h 2211"/>
                <a:gd name="T38" fmla="*/ 2683 w 4352"/>
                <a:gd name="T39" fmla="*/ 75 h 2211"/>
                <a:gd name="T40" fmla="*/ 2475 w 4352"/>
                <a:gd name="T41" fmla="*/ 199 h 2211"/>
                <a:gd name="T42" fmla="*/ 407 w 4352"/>
                <a:gd name="T43" fmla="*/ 52 h 2211"/>
                <a:gd name="T44" fmla="*/ 3303 w 4352"/>
                <a:gd name="T45" fmla="*/ 117 h 2211"/>
                <a:gd name="T46" fmla="*/ 3357 w 4352"/>
                <a:gd name="T47" fmla="*/ 195 h 2211"/>
                <a:gd name="T48" fmla="*/ 3540 w 4352"/>
                <a:gd name="T49" fmla="*/ 305 h 2211"/>
                <a:gd name="T50" fmla="*/ 3767 w 4352"/>
                <a:gd name="T51" fmla="*/ 261 h 2211"/>
                <a:gd name="T52" fmla="*/ 4073 w 4352"/>
                <a:gd name="T53" fmla="*/ 364 h 2211"/>
                <a:gd name="T54" fmla="*/ 4312 w 4352"/>
                <a:gd name="T55" fmla="*/ 511 h 2211"/>
                <a:gd name="T56" fmla="*/ 4193 w 4352"/>
                <a:gd name="T57" fmla="*/ 539 h 2211"/>
                <a:gd name="T58" fmla="*/ 4015 w 4352"/>
                <a:gd name="T59" fmla="*/ 677 h 2211"/>
                <a:gd name="T60" fmla="*/ 3874 w 4352"/>
                <a:gd name="T61" fmla="*/ 780 h 2211"/>
                <a:gd name="T62" fmla="*/ 3928 w 4352"/>
                <a:gd name="T63" fmla="*/ 640 h 2211"/>
                <a:gd name="T64" fmla="*/ 3622 w 4352"/>
                <a:gd name="T65" fmla="*/ 768 h 2211"/>
                <a:gd name="T66" fmla="*/ 3591 w 4352"/>
                <a:gd name="T67" fmla="*/ 1045 h 2211"/>
                <a:gd name="T68" fmla="*/ 3456 w 4352"/>
                <a:gd name="T69" fmla="*/ 1122 h 2211"/>
                <a:gd name="T70" fmla="*/ 3402 w 4352"/>
                <a:gd name="T71" fmla="*/ 1218 h 2211"/>
                <a:gd name="T72" fmla="*/ 3245 w 4352"/>
                <a:gd name="T73" fmla="*/ 1413 h 2211"/>
                <a:gd name="T74" fmla="*/ 3168 w 4352"/>
                <a:gd name="T75" fmla="*/ 1686 h 2211"/>
                <a:gd name="T76" fmla="*/ 2987 w 4352"/>
                <a:gd name="T77" fmla="*/ 1387 h 2211"/>
                <a:gd name="T78" fmla="*/ 2720 w 4352"/>
                <a:gd name="T79" fmla="*/ 1406 h 2211"/>
                <a:gd name="T80" fmla="*/ 2434 w 4352"/>
                <a:gd name="T81" fmla="*/ 1335 h 2211"/>
                <a:gd name="T82" fmla="*/ 2339 w 4352"/>
                <a:gd name="T83" fmla="*/ 1523 h 2211"/>
                <a:gd name="T84" fmla="*/ 2231 w 4352"/>
                <a:gd name="T85" fmla="*/ 1378 h 2211"/>
                <a:gd name="T86" fmla="*/ 2310 w 4352"/>
                <a:gd name="T87" fmla="*/ 1714 h 2211"/>
                <a:gd name="T88" fmla="*/ 2001 w 4352"/>
                <a:gd name="T89" fmla="*/ 2208 h 2211"/>
                <a:gd name="T90" fmla="*/ 1920 w 4352"/>
                <a:gd name="T91" fmla="*/ 1862 h 2211"/>
                <a:gd name="T92" fmla="*/ 1625 w 4352"/>
                <a:gd name="T93" fmla="*/ 1644 h 2211"/>
                <a:gd name="T94" fmla="*/ 1636 w 4352"/>
                <a:gd name="T95" fmla="*/ 1195 h 2211"/>
                <a:gd name="T96" fmla="*/ 1709 w 4352"/>
                <a:gd name="T97" fmla="*/ 1028 h 2211"/>
                <a:gd name="T98" fmla="*/ 1793 w 4352"/>
                <a:gd name="T99" fmla="*/ 865 h 2211"/>
                <a:gd name="T100" fmla="*/ 1973 w 4352"/>
                <a:gd name="T101" fmla="*/ 801 h 2211"/>
                <a:gd name="T102" fmla="*/ 2118 w 4352"/>
                <a:gd name="T103" fmla="*/ 659 h 2211"/>
                <a:gd name="T104" fmla="*/ 1997 w 4352"/>
                <a:gd name="T105" fmla="*/ 686 h 2211"/>
                <a:gd name="T106" fmla="*/ 1831 w 4352"/>
                <a:gd name="T107" fmla="*/ 577 h 2211"/>
                <a:gd name="T108" fmla="*/ 2041 w 4352"/>
                <a:gd name="T109" fmla="*/ 342 h 2211"/>
                <a:gd name="T110" fmla="*/ 2259 w 4352"/>
                <a:gd name="T111" fmla="*/ 391 h 2211"/>
                <a:gd name="T112" fmla="*/ 2278 w 4352"/>
                <a:gd name="T113" fmla="*/ 499 h 2211"/>
                <a:gd name="T114" fmla="*/ 2439 w 4352"/>
                <a:gd name="T115" fmla="*/ 387 h 2211"/>
                <a:gd name="T116" fmla="*/ 2566 w 4352"/>
                <a:gd name="T117" fmla="*/ 382 h 2211"/>
                <a:gd name="T118" fmla="*/ 2667 w 4352"/>
                <a:gd name="T119" fmla="*/ 261 h 2211"/>
                <a:gd name="T120" fmla="*/ 2737 w 4352"/>
                <a:gd name="T121" fmla="*/ 467 h 2211"/>
                <a:gd name="T122" fmla="*/ 2861 w 4352"/>
                <a:gd name="T123" fmla="*/ 275 h 2211"/>
                <a:gd name="T124" fmla="*/ 3161 w 4352"/>
                <a:gd name="T125" fmla="*/ 17 h 2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52" h="2211">
                  <a:moveTo>
                    <a:pt x="2697" y="200"/>
                  </a:moveTo>
                  <a:lnTo>
                    <a:pt x="2708" y="204"/>
                  </a:lnTo>
                  <a:lnTo>
                    <a:pt x="2708" y="211"/>
                  </a:lnTo>
                  <a:lnTo>
                    <a:pt x="2704" y="211"/>
                  </a:lnTo>
                  <a:lnTo>
                    <a:pt x="2702" y="213"/>
                  </a:lnTo>
                  <a:lnTo>
                    <a:pt x="2701" y="214"/>
                  </a:lnTo>
                  <a:lnTo>
                    <a:pt x="2699" y="214"/>
                  </a:lnTo>
                  <a:lnTo>
                    <a:pt x="2697" y="214"/>
                  </a:lnTo>
                  <a:lnTo>
                    <a:pt x="2694" y="214"/>
                  </a:lnTo>
                  <a:lnTo>
                    <a:pt x="2694" y="209"/>
                  </a:lnTo>
                  <a:lnTo>
                    <a:pt x="2694" y="206"/>
                  </a:lnTo>
                  <a:lnTo>
                    <a:pt x="2695" y="204"/>
                  </a:lnTo>
                  <a:lnTo>
                    <a:pt x="2697" y="200"/>
                  </a:lnTo>
                  <a:close/>
                  <a:moveTo>
                    <a:pt x="562" y="192"/>
                  </a:moveTo>
                  <a:lnTo>
                    <a:pt x="562" y="195"/>
                  </a:lnTo>
                  <a:lnTo>
                    <a:pt x="566" y="195"/>
                  </a:lnTo>
                  <a:lnTo>
                    <a:pt x="564" y="213"/>
                  </a:lnTo>
                  <a:lnTo>
                    <a:pt x="566" y="228"/>
                  </a:lnTo>
                  <a:lnTo>
                    <a:pt x="573" y="242"/>
                  </a:lnTo>
                  <a:lnTo>
                    <a:pt x="576" y="244"/>
                  </a:lnTo>
                  <a:lnTo>
                    <a:pt x="580" y="244"/>
                  </a:lnTo>
                  <a:lnTo>
                    <a:pt x="583" y="246"/>
                  </a:lnTo>
                  <a:lnTo>
                    <a:pt x="589" y="246"/>
                  </a:lnTo>
                  <a:lnTo>
                    <a:pt x="589" y="204"/>
                  </a:lnTo>
                  <a:lnTo>
                    <a:pt x="615" y="204"/>
                  </a:lnTo>
                  <a:lnTo>
                    <a:pt x="620" y="216"/>
                  </a:lnTo>
                  <a:lnTo>
                    <a:pt x="627" y="228"/>
                  </a:lnTo>
                  <a:lnTo>
                    <a:pt x="634" y="239"/>
                  </a:lnTo>
                  <a:lnTo>
                    <a:pt x="646" y="242"/>
                  </a:lnTo>
                  <a:lnTo>
                    <a:pt x="646" y="247"/>
                  </a:lnTo>
                  <a:lnTo>
                    <a:pt x="648" y="258"/>
                  </a:lnTo>
                  <a:lnTo>
                    <a:pt x="650" y="270"/>
                  </a:lnTo>
                  <a:lnTo>
                    <a:pt x="650" y="277"/>
                  </a:lnTo>
                  <a:lnTo>
                    <a:pt x="653" y="275"/>
                  </a:lnTo>
                  <a:lnTo>
                    <a:pt x="655" y="275"/>
                  </a:lnTo>
                  <a:lnTo>
                    <a:pt x="655" y="275"/>
                  </a:lnTo>
                  <a:lnTo>
                    <a:pt x="657" y="274"/>
                  </a:lnTo>
                  <a:lnTo>
                    <a:pt x="658" y="272"/>
                  </a:lnTo>
                  <a:lnTo>
                    <a:pt x="660" y="268"/>
                  </a:lnTo>
                  <a:lnTo>
                    <a:pt x="662" y="263"/>
                  </a:lnTo>
                  <a:lnTo>
                    <a:pt x="664" y="258"/>
                  </a:lnTo>
                  <a:lnTo>
                    <a:pt x="665" y="254"/>
                  </a:lnTo>
                  <a:lnTo>
                    <a:pt x="669" y="251"/>
                  </a:lnTo>
                  <a:lnTo>
                    <a:pt x="672" y="249"/>
                  </a:lnTo>
                  <a:lnTo>
                    <a:pt x="678" y="247"/>
                  </a:lnTo>
                  <a:lnTo>
                    <a:pt x="681" y="244"/>
                  </a:lnTo>
                  <a:lnTo>
                    <a:pt x="685" y="242"/>
                  </a:lnTo>
                  <a:lnTo>
                    <a:pt x="681" y="242"/>
                  </a:lnTo>
                  <a:lnTo>
                    <a:pt x="681" y="239"/>
                  </a:lnTo>
                  <a:lnTo>
                    <a:pt x="672" y="242"/>
                  </a:lnTo>
                  <a:lnTo>
                    <a:pt x="667" y="246"/>
                  </a:lnTo>
                  <a:lnTo>
                    <a:pt x="660" y="251"/>
                  </a:lnTo>
                  <a:lnTo>
                    <a:pt x="650" y="254"/>
                  </a:lnTo>
                  <a:lnTo>
                    <a:pt x="648" y="239"/>
                  </a:lnTo>
                  <a:lnTo>
                    <a:pt x="646" y="228"/>
                  </a:lnTo>
                  <a:lnTo>
                    <a:pt x="643" y="219"/>
                  </a:lnTo>
                  <a:lnTo>
                    <a:pt x="639" y="207"/>
                  </a:lnTo>
                  <a:lnTo>
                    <a:pt x="643" y="206"/>
                  </a:lnTo>
                  <a:lnTo>
                    <a:pt x="644" y="206"/>
                  </a:lnTo>
                  <a:lnTo>
                    <a:pt x="648" y="204"/>
                  </a:lnTo>
                  <a:lnTo>
                    <a:pt x="653" y="204"/>
                  </a:lnTo>
                  <a:lnTo>
                    <a:pt x="658" y="207"/>
                  </a:lnTo>
                  <a:lnTo>
                    <a:pt x="662" y="209"/>
                  </a:lnTo>
                  <a:lnTo>
                    <a:pt x="667" y="211"/>
                  </a:lnTo>
                  <a:lnTo>
                    <a:pt x="672" y="213"/>
                  </a:lnTo>
                  <a:lnTo>
                    <a:pt x="678" y="214"/>
                  </a:lnTo>
                  <a:lnTo>
                    <a:pt x="685" y="226"/>
                  </a:lnTo>
                  <a:lnTo>
                    <a:pt x="692" y="240"/>
                  </a:lnTo>
                  <a:lnTo>
                    <a:pt x="697" y="253"/>
                  </a:lnTo>
                  <a:lnTo>
                    <a:pt x="704" y="261"/>
                  </a:lnTo>
                  <a:lnTo>
                    <a:pt x="707" y="263"/>
                  </a:lnTo>
                  <a:lnTo>
                    <a:pt x="713" y="263"/>
                  </a:lnTo>
                  <a:lnTo>
                    <a:pt x="718" y="263"/>
                  </a:lnTo>
                  <a:lnTo>
                    <a:pt x="723" y="263"/>
                  </a:lnTo>
                  <a:lnTo>
                    <a:pt x="726" y="263"/>
                  </a:lnTo>
                  <a:lnTo>
                    <a:pt x="730" y="265"/>
                  </a:lnTo>
                  <a:lnTo>
                    <a:pt x="747" y="277"/>
                  </a:lnTo>
                  <a:lnTo>
                    <a:pt x="761" y="293"/>
                  </a:lnTo>
                  <a:lnTo>
                    <a:pt x="777" y="307"/>
                  </a:lnTo>
                  <a:lnTo>
                    <a:pt x="777" y="319"/>
                  </a:lnTo>
                  <a:lnTo>
                    <a:pt x="791" y="324"/>
                  </a:lnTo>
                  <a:lnTo>
                    <a:pt x="803" y="331"/>
                  </a:lnTo>
                  <a:lnTo>
                    <a:pt x="810" y="342"/>
                  </a:lnTo>
                  <a:lnTo>
                    <a:pt x="819" y="354"/>
                  </a:lnTo>
                  <a:lnTo>
                    <a:pt x="826" y="366"/>
                  </a:lnTo>
                  <a:lnTo>
                    <a:pt x="835" y="377"/>
                  </a:lnTo>
                  <a:lnTo>
                    <a:pt x="829" y="384"/>
                  </a:lnTo>
                  <a:lnTo>
                    <a:pt x="826" y="387"/>
                  </a:lnTo>
                  <a:lnTo>
                    <a:pt x="824" y="392"/>
                  </a:lnTo>
                  <a:lnTo>
                    <a:pt x="822" y="396"/>
                  </a:lnTo>
                  <a:lnTo>
                    <a:pt x="829" y="408"/>
                  </a:lnTo>
                  <a:lnTo>
                    <a:pt x="840" y="417"/>
                  </a:lnTo>
                  <a:lnTo>
                    <a:pt x="854" y="422"/>
                  </a:lnTo>
                  <a:lnTo>
                    <a:pt x="854" y="427"/>
                  </a:lnTo>
                  <a:lnTo>
                    <a:pt x="854" y="429"/>
                  </a:lnTo>
                  <a:lnTo>
                    <a:pt x="856" y="431"/>
                  </a:lnTo>
                  <a:lnTo>
                    <a:pt x="856" y="432"/>
                  </a:lnTo>
                  <a:lnTo>
                    <a:pt x="857" y="434"/>
                  </a:lnTo>
                  <a:lnTo>
                    <a:pt x="861" y="436"/>
                  </a:lnTo>
                  <a:lnTo>
                    <a:pt x="864" y="439"/>
                  </a:lnTo>
                  <a:lnTo>
                    <a:pt x="870" y="441"/>
                  </a:lnTo>
                  <a:lnTo>
                    <a:pt x="873" y="443"/>
                  </a:lnTo>
                  <a:lnTo>
                    <a:pt x="877" y="446"/>
                  </a:lnTo>
                  <a:lnTo>
                    <a:pt x="878" y="448"/>
                  </a:lnTo>
                  <a:lnTo>
                    <a:pt x="880" y="452"/>
                  </a:lnTo>
                  <a:lnTo>
                    <a:pt x="878" y="453"/>
                  </a:lnTo>
                  <a:lnTo>
                    <a:pt x="878" y="455"/>
                  </a:lnTo>
                  <a:lnTo>
                    <a:pt x="878" y="455"/>
                  </a:lnTo>
                  <a:lnTo>
                    <a:pt x="878" y="457"/>
                  </a:lnTo>
                  <a:lnTo>
                    <a:pt x="880" y="459"/>
                  </a:lnTo>
                  <a:lnTo>
                    <a:pt x="884" y="460"/>
                  </a:lnTo>
                  <a:lnTo>
                    <a:pt x="889" y="462"/>
                  </a:lnTo>
                  <a:lnTo>
                    <a:pt x="892" y="464"/>
                  </a:lnTo>
                  <a:lnTo>
                    <a:pt x="898" y="464"/>
                  </a:lnTo>
                  <a:lnTo>
                    <a:pt x="903" y="464"/>
                  </a:lnTo>
                  <a:lnTo>
                    <a:pt x="896" y="511"/>
                  </a:lnTo>
                  <a:lnTo>
                    <a:pt x="891" y="513"/>
                  </a:lnTo>
                  <a:lnTo>
                    <a:pt x="885" y="513"/>
                  </a:lnTo>
                  <a:lnTo>
                    <a:pt x="880" y="514"/>
                  </a:lnTo>
                  <a:lnTo>
                    <a:pt x="873" y="514"/>
                  </a:lnTo>
                  <a:lnTo>
                    <a:pt x="866" y="506"/>
                  </a:lnTo>
                  <a:lnTo>
                    <a:pt x="857" y="497"/>
                  </a:lnTo>
                  <a:lnTo>
                    <a:pt x="850" y="488"/>
                  </a:lnTo>
                  <a:lnTo>
                    <a:pt x="845" y="476"/>
                  </a:lnTo>
                  <a:lnTo>
                    <a:pt x="838" y="476"/>
                  </a:lnTo>
                  <a:lnTo>
                    <a:pt x="833" y="478"/>
                  </a:lnTo>
                  <a:lnTo>
                    <a:pt x="828" y="478"/>
                  </a:lnTo>
                  <a:lnTo>
                    <a:pt x="822" y="480"/>
                  </a:lnTo>
                  <a:lnTo>
                    <a:pt x="831" y="507"/>
                  </a:lnTo>
                  <a:lnTo>
                    <a:pt x="838" y="537"/>
                  </a:lnTo>
                  <a:lnTo>
                    <a:pt x="850" y="537"/>
                  </a:lnTo>
                  <a:lnTo>
                    <a:pt x="857" y="551"/>
                  </a:lnTo>
                  <a:lnTo>
                    <a:pt x="863" y="565"/>
                  </a:lnTo>
                  <a:lnTo>
                    <a:pt x="864" y="584"/>
                  </a:lnTo>
                  <a:lnTo>
                    <a:pt x="863" y="586"/>
                  </a:lnTo>
                  <a:lnTo>
                    <a:pt x="861" y="588"/>
                  </a:lnTo>
                  <a:lnTo>
                    <a:pt x="861" y="590"/>
                  </a:lnTo>
                  <a:lnTo>
                    <a:pt x="859" y="591"/>
                  </a:lnTo>
                  <a:lnTo>
                    <a:pt x="857" y="593"/>
                  </a:lnTo>
                  <a:lnTo>
                    <a:pt x="854" y="595"/>
                  </a:lnTo>
                  <a:lnTo>
                    <a:pt x="847" y="591"/>
                  </a:lnTo>
                  <a:lnTo>
                    <a:pt x="838" y="586"/>
                  </a:lnTo>
                  <a:lnTo>
                    <a:pt x="829" y="581"/>
                  </a:lnTo>
                  <a:lnTo>
                    <a:pt x="822" y="577"/>
                  </a:lnTo>
                  <a:lnTo>
                    <a:pt x="819" y="576"/>
                  </a:lnTo>
                  <a:lnTo>
                    <a:pt x="816" y="576"/>
                  </a:lnTo>
                  <a:lnTo>
                    <a:pt x="826" y="590"/>
                  </a:lnTo>
                  <a:lnTo>
                    <a:pt x="835" y="602"/>
                  </a:lnTo>
                  <a:lnTo>
                    <a:pt x="842" y="617"/>
                  </a:lnTo>
                  <a:lnTo>
                    <a:pt x="838" y="617"/>
                  </a:lnTo>
                  <a:lnTo>
                    <a:pt x="826" y="612"/>
                  </a:lnTo>
                  <a:lnTo>
                    <a:pt x="810" y="609"/>
                  </a:lnTo>
                  <a:lnTo>
                    <a:pt x="793" y="605"/>
                  </a:lnTo>
                  <a:lnTo>
                    <a:pt x="781" y="598"/>
                  </a:lnTo>
                  <a:lnTo>
                    <a:pt x="770" y="588"/>
                  </a:lnTo>
                  <a:lnTo>
                    <a:pt x="763" y="572"/>
                  </a:lnTo>
                  <a:lnTo>
                    <a:pt x="756" y="558"/>
                  </a:lnTo>
                  <a:lnTo>
                    <a:pt x="746" y="544"/>
                  </a:lnTo>
                  <a:lnTo>
                    <a:pt x="735" y="534"/>
                  </a:lnTo>
                  <a:lnTo>
                    <a:pt x="720" y="542"/>
                  </a:lnTo>
                  <a:lnTo>
                    <a:pt x="702" y="548"/>
                  </a:lnTo>
                  <a:lnTo>
                    <a:pt x="681" y="549"/>
                  </a:lnTo>
                  <a:lnTo>
                    <a:pt x="679" y="544"/>
                  </a:lnTo>
                  <a:lnTo>
                    <a:pt x="678" y="539"/>
                  </a:lnTo>
                  <a:lnTo>
                    <a:pt x="678" y="534"/>
                  </a:lnTo>
                  <a:lnTo>
                    <a:pt x="678" y="527"/>
                  </a:lnTo>
                  <a:lnTo>
                    <a:pt x="693" y="521"/>
                  </a:lnTo>
                  <a:lnTo>
                    <a:pt x="713" y="516"/>
                  </a:lnTo>
                  <a:lnTo>
                    <a:pt x="730" y="511"/>
                  </a:lnTo>
                  <a:lnTo>
                    <a:pt x="735" y="501"/>
                  </a:lnTo>
                  <a:lnTo>
                    <a:pt x="740" y="487"/>
                  </a:lnTo>
                  <a:lnTo>
                    <a:pt x="746" y="471"/>
                  </a:lnTo>
                  <a:lnTo>
                    <a:pt x="749" y="455"/>
                  </a:lnTo>
                  <a:lnTo>
                    <a:pt x="751" y="443"/>
                  </a:lnTo>
                  <a:lnTo>
                    <a:pt x="749" y="434"/>
                  </a:lnTo>
                  <a:lnTo>
                    <a:pt x="742" y="422"/>
                  </a:lnTo>
                  <a:lnTo>
                    <a:pt x="733" y="415"/>
                  </a:lnTo>
                  <a:lnTo>
                    <a:pt x="723" y="408"/>
                  </a:lnTo>
                  <a:lnTo>
                    <a:pt x="716" y="399"/>
                  </a:lnTo>
                  <a:lnTo>
                    <a:pt x="707" y="357"/>
                  </a:lnTo>
                  <a:lnTo>
                    <a:pt x="693" y="354"/>
                  </a:lnTo>
                  <a:lnTo>
                    <a:pt x="683" y="347"/>
                  </a:lnTo>
                  <a:lnTo>
                    <a:pt x="674" y="340"/>
                  </a:lnTo>
                  <a:lnTo>
                    <a:pt x="665" y="338"/>
                  </a:lnTo>
                  <a:lnTo>
                    <a:pt x="657" y="342"/>
                  </a:lnTo>
                  <a:lnTo>
                    <a:pt x="651" y="347"/>
                  </a:lnTo>
                  <a:lnTo>
                    <a:pt x="646" y="352"/>
                  </a:lnTo>
                  <a:lnTo>
                    <a:pt x="639" y="357"/>
                  </a:lnTo>
                  <a:lnTo>
                    <a:pt x="627" y="361"/>
                  </a:lnTo>
                  <a:lnTo>
                    <a:pt x="615" y="354"/>
                  </a:lnTo>
                  <a:lnTo>
                    <a:pt x="599" y="349"/>
                  </a:lnTo>
                  <a:lnTo>
                    <a:pt x="582" y="345"/>
                  </a:lnTo>
                  <a:lnTo>
                    <a:pt x="566" y="340"/>
                  </a:lnTo>
                  <a:lnTo>
                    <a:pt x="552" y="335"/>
                  </a:lnTo>
                  <a:lnTo>
                    <a:pt x="541" y="326"/>
                  </a:lnTo>
                  <a:lnTo>
                    <a:pt x="534" y="312"/>
                  </a:lnTo>
                  <a:lnTo>
                    <a:pt x="536" y="310"/>
                  </a:lnTo>
                  <a:lnTo>
                    <a:pt x="536" y="309"/>
                  </a:lnTo>
                  <a:lnTo>
                    <a:pt x="538" y="309"/>
                  </a:lnTo>
                  <a:lnTo>
                    <a:pt x="538" y="307"/>
                  </a:lnTo>
                  <a:lnTo>
                    <a:pt x="538" y="303"/>
                  </a:lnTo>
                  <a:lnTo>
                    <a:pt x="531" y="302"/>
                  </a:lnTo>
                  <a:lnTo>
                    <a:pt x="524" y="300"/>
                  </a:lnTo>
                  <a:lnTo>
                    <a:pt x="519" y="296"/>
                  </a:lnTo>
                  <a:lnTo>
                    <a:pt x="515" y="291"/>
                  </a:lnTo>
                  <a:lnTo>
                    <a:pt x="512" y="284"/>
                  </a:lnTo>
                  <a:lnTo>
                    <a:pt x="521" y="267"/>
                  </a:lnTo>
                  <a:lnTo>
                    <a:pt x="528" y="244"/>
                  </a:lnTo>
                  <a:lnTo>
                    <a:pt x="531" y="219"/>
                  </a:lnTo>
                  <a:lnTo>
                    <a:pt x="534" y="195"/>
                  </a:lnTo>
                  <a:lnTo>
                    <a:pt x="562" y="192"/>
                  </a:lnTo>
                  <a:close/>
                  <a:moveTo>
                    <a:pt x="400" y="188"/>
                  </a:moveTo>
                  <a:lnTo>
                    <a:pt x="416" y="188"/>
                  </a:lnTo>
                  <a:lnTo>
                    <a:pt x="425" y="223"/>
                  </a:lnTo>
                  <a:lnTo>
                    <a:pt x="432" y="261"/>
                  </a:lnTo>
                  <a:lnTo>
                    <a:pt x="428" y="261"/>
                  </a:lnTo>
                  <a:lnTo>
                    <a:pt x="423" y="268"/>
                  </a:lnTo>
                  <a:lnTo>
                    <a:pt x="412" y="265"/>
                  </a:lnTo>
                  <a:lnTo>
                    <a:pt x="409" y="268"/>
                  </a:lnTo>
                  <a:lnTo>
                    <a:pt x="409" y="272"/>
                  </a:lnTo>
                  <a:lnTo>
                    <a:pt x="409" y="275"/>
                  </a:lnTo>
                  <a:lnTo>
                    <a:pt x="409" y="277"/>
                  </a:lnTo>
                  <a:lnTo>
                    <a:pt x="407" y="279"/>
                  </a:lnTo>
                  <a:lnTo>
                    <a:pt x="405" y="282"/>
                  </a:lnTo>
                  <a:lnTo>
                    <a:pt x="400" y="284"/>
                  </a:lnTo>
                  <a:lnTo>
                    <a:pt x="395" y="281"/>
                  </a:lnTo>
                  <a:lnTo>
                    <a:pt x="388" y="275"/>
                  </a:lnTo>
                  <a:lnTo>
                    <a:pt x="381" y="272"/>
                  </a:lnTo>
                  <a:lnTo>
                    <a:pt x="381" y="261"/>
                  </a:lnTo>
                  <a:lnTo>
                    <a:pt x="358" y="258"/>
                  </a:lnTo>
                  <a:lnTo>
                    <a:pt x="362" y="226"/>
                  </a:lnTo>
                  <a:lnTo>
                    <a:pt x="369" y="223"/>
                  </a:lnTo>
                  <a:lnTo>
                    <a:pt x="376" y="218"/>
                  </a:lnTo>
                  <a:lnTo>
                    <a:pt x="381" y="211"/>
                  </a:lnTo>
                  <a:lnTo>
                    <a:pt x="376" y="209"/>
                  </a:lnTo>
                  <a:lnTo>
                    <a:pt x="372" y="207"/>
                  </a:lnTo>
                  <a:lnTo>
                    <a:pt x="369" y="206"/>
                  </a:lnTo>
                  <a:lnTo>
                    <a:pt x="365" y="202"/>
                  </a:lnTo>
                  <a:lnTo>
                    <a:pt x="363" y="199"/>
                  </a:lnTo>
                  <a:lnTo>
                    <a:pt x="362" y="192"/>
                  </a:lnTo>
                  <a:lnTo>
                    <a:pt x="381" y="190"/>
                  </a:lnTo>
                  <a:lnTo>
                    <a:pt x="400" y="188"/>
                  </a:lnTo>
                  <a:close/>
                  <a:moveTo>
                    <a:pt x="3661" y="172"/>
                  </a:moveTo>
                  <a:lnTo>
                    <a:pt x="3673" y="178"/>
                  </a:lnTo>
                  <a:lnTo>
                    <a:pt x="3673" y="185"/>
                  </a:lnTo>
                  <a:lnTo>
                    <a:pt x="3657" y="185"/>
                  </a:lnTo>
                  <a:lnTo>
                    <a:pt x="3661" y="172"/>
                  </a:lnTo>
                  <a:close/>
                  <a:moveTo>
                    <a:pt x="438" y="172"/>
                  </a:moveTo>
                  <a:lnTo>
                    <a:pt x="451" y="174"/>
                  </a:lnTo>
                  <a:lnTo>
                    <a:pt x="465" y="176"/>
                  </a:lnTo>
                  <a:lnTo>
                    <a:pt x="477" y="178"/>
                  </a:lnTo>
                  <a:lnTo>
                    <a:pt x="486" y="181"/>
                  </a:lnTo>
                  <a:lnTo>
                    <a:pt x="487" y="185"/>
                  </a:lnTo>
                  <a:lnTo>
                    <a:pt x="487" y="190"/>
                  </a:lnTo>
                  <a:lnTo>
                    <a:pt x="489" y="197"/>
                  </a:lnTo>
                  <a:lnTo>
                    <a:pt x="489" y="204"/>
                  </a:lnTo>
                  <a:lnTo>
                    <a:pt x="487" y="207"/>
                  </a:lnTo>
                  <a:lnTo>
                    <a:pt x="486" y="211"/>
                  </a:lnTo>
                  <a:lnTo>
                    <a:pt x="484" y="216"/>
                  </a:lnTo>
                  <a:lnTo>
                    <a:pt x="480" y="219"/>
                  </a:lnTo>
                  <a:lnTo>
                    <a:pt x="477" y="221"/>
                  </a:lnTo>
                  <a:lnTo>
                    <a:pt x="473" y="223"/>
                  </a:lnTo>
                  <a:lnTo>
                    <a:pt x="472" y="225"/>
                  </a:lnTo>
                  <a:lnTo>
                    <a:pt x="468" y="226"/>
                  </a:lnTo>
                  <a:lnTo>
                    <a:pt x="466" y="230"/>
                  </a:lnTo>
                  <a:lnTo>
                    <a:pt x="468" y="239"/>
                  </a:lnTo>
                  <a:lnTo>
                    <a:pt x="466" y="249"/>
                  </a:lnTo>
                  <a:lnTo>
                    <a:pt x="465" y="256"/>
                  </a:lnTo>
                  <a:lnTo>
                    <a:pt x="461" y="261"/>
                  </a:lnTo>
                  <a:lnTo>
                    <a:pt x="458" y="263"/>
                  </a:lnTo>
                  <a:lnTo>
                    <a:pt x="454" y="265"/>
                  </a:lnTo>
                  <a:lnTo>
                    <a:pt x="449" y="265"/>
                  </a:lnTo>
                  <a:lnTo>
                    <a:pt x="442" y="265"/>
                  </a:lnTo>
                  <a:lnTo>
                    <a:pt x="438" y="254"/>
                  </a:lnTo>
                  <a:lnTo>
                    <a:pt x="442" y="244"/>
                  </a:lnTo>
                  <a:lnTo>
                    <a:pt x="442" y="232"/>
                  </a:lnTo>
                  <a:lnTo>
                    <a:pt x="438" y="218"/>
                  </a:lnTo>
                  <a:lnTo>
                    <a:pt x="437" y="202"/>
                  </a:lnTo>
                  <a:lnTo>
                    <a:pt x="435" y="188"/>
                  </a:lnTo>
                  <a:lnTo>
                    <a:pt x="438" y="172"/>
                  </a:lnTo>
                  <a:close/>
                  <a:moveTo>
                    <a:pt x="60" y="171"/>
                  </a:moveTo>
                  <a:lnTo>
                    <a:pt x="74" y="172"/>
                  </a:lnTo>
                  <a:lnTo>
                    <a:pt x="74" y="185"/>
                  </a:lnTo>
                  <a:lnTo>
                    <a:pt x="91" y="185"/>
                  </a:lnTo>
                  <a:lnTo>
                    <a:pt x="105" y="185"/>
                  </a:lnTo>
                  <a:lnTo>
                    <a:pt x="121" y="185"/>
                  </a:lnTo>
                  <a:lnTo>
                    <a:pt x="124" y="192"/>
                  </a:lnTo>
                  <a:lnTo>
                    <a:pt x="128" y="200"/>
                  </a:lnTo>
                  <a:lnTo>
                    <a:pt x="131" y="209"/>
                  </a:lnTo>
                  <a:lnTo>
                    <a:pt x="135" y="216"/>
                  </a:lnTo>
                  <a:lnTo>
                    <a:pt x="135" y="219"/>
                  </a:lnTo>
                  <a:lnTo>
                    <a:pt x="124" y="232"/>
                  </a:lnTo>
                  <a:lnTo>
                    <a:pt x="110" y="237"/>
                  </a:lnTo>
                  <a:lnTo>
                    <a:pt x="96" y="242"/>
                  </a:lnTo>
                  <a:lnTo>
                    <a:pt x="88" y="258"/>
                  </a:lnTo>
                  <a:lnTo>
                    <a:pt x="81" y="272"/>
                  </a:lnTo>
                  <a:lnTo>
                    <a:pt x="79" y="288"/>
                  </a:lnTo>
                  <a:lnTo>
                    <a:pt x="82" y="303"/>
                  </a:lnTo>
                  <a:lnTo>
                    <a:pt x="67" y="305"/>
                  </a:lnTo>
                  <a:lnTo>
                    <a:pt x="53" y="310"/>
                  </a:lnTo>
                  <a:lnTo>
                    <a:pt x="35" y="315"/>
                  </a:lnTo>
                  <a:lnTo>
                    <a:pt x="34" y="312"/>
                  </a:lnTo>
                  <a:lnTo>
                    <a:pt x="32" y="309"/>
                  </a:lnTo>
                  <a:lnTo>
                    <a:pt x="30" y="307"/>
                  </a:lnTo>
                  <a:lnTo>
                    <a:pt x="30" y="303"/>
                  </a:lnTo>
                  <a:lnTo>
                    <a:pt x="28" y="300"/>
                  </a:lnTo>
                  <a:lnTo>
                    <a:pt x="30" y="298"/>
                  </a:lnTo>
                  <a:lnTo>
                    <a:pt x="30" y="296"/>
                  </a:lnTo>
                  <a:lnTo>
                    <a:pt x="30" y="295"/>
                  </a:lnTo>
                  <a:lnTo>
                    <a:pt x="32" y="291"/>
                  </a:lnTo>
                  <a:lnTo>
                    <a:pt x="32" y="288"/>
                  </a:lnTo>
                  <a:lnTo>
                    <a:pt x="20" y="288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18" y="279"/>
                  </a:lnTo>
                  <a:lnTo>
                    <a:pt x="18" y="277"/>
                  </a:lnTo>
                  <a:lnTo>
                    <a:pt x="16" y="275"/>
                  </a:lnTo>
                  <a:lnTo>
                    <a:pt x="13" y="272"/>
                  </a:lnTo>
                  <a:lnTo>
                    <a:pt x="11" y="272"/>
                  </a:lnTo>
                  <a:lnTo>
                    <a:pt x="9" y="272"/>
                  </a:lnTo>
                  <a:lnTo>
                    <a:pt x="9" y="272"/>
                  </a:lnTo>
                  <a:lnTo>
                    <a:pt x="7" y="272"/>
                  </a:lnTo>
                  <a:lnTo>
                    <a:pt x="6" y="272"/>
                  </a:lnTo>
                  <a:lnTo>
                    <a:pt x="0" y="272"/>
                  </a:lnTo>
                  <a:lnTo>
                    <a:pt x="0" y="261"/>
                  </a:lnTo>
                  <a:lnTo>
                    <a:pt x="13" y="247"/>
                  </a:lnTo>
                  <a:lnTo>
                    <a:pt x="21" y="228"/>
                  </a:lnTo>
                  <a:lnTo>
                    <a:pt x="28" y="207"/>
                  </a:lnTo>
                  <a:lnTo>
                    <a:pt x="23" y="204"/>
                  </a:lnTo>
                  <a:lnTo>
                    <a:pt x="21" y="199"/>
                  </a:lnTo>
                  <a:lnTo>
                    <a:pt x="20" y="195"/>
                  </a:lnTo>
                  <a:lnTo>
                    <a:pt x="18" y="188"/>
                  </a:lnTo>
                  <a:lnTo>
                    <a:pt x="16" y="181"/>
                  </a:lnTo>
                  <a:lnTo>
                    <a:pt x="30" y="178"/>
                  </a:lnTo>
                  <a:lnTo>
                    <a:pt x="41" y="176"/>
                  </a:lnTo>
                  <a:lnTo>
                    <a:pt x="49" y="172"/>
                  </a:lnTo>
                  <a:lnTo>
                    <a:pt x="60" y="171"/>
                  </a:lnTo>
                  <a:close/>
                  <a:moveTo>
                    <a:pt x="1556" y="130"/>
                  </a:moveTo>
                  <a:lnTo>
                    <a:pt x="1571" y="130"/>
                  </a:lnTo>
                  <a:lnTo>
                    <a:pt x="1571" y="134"/>
                  </a:lnTo>
                  <a:lnTo>
                    <a:pt x="1568" y="134"/>
                  </a:lnTo>
                  <a:lnTo>
                    <a:pt x="1564" y="136"/>
                  </a:lnTo>
                  <a:lnTo>
                    <a:pt x="1563" y="136"/>
                  </a:lnTo>
                  <a:lnTo>
                    <a:pt x="1563" y="136"/>
                  </a:lnTo>
                  <a:lnTo>
                    <a:pt x="1561" y="136"/>
                  </a:lnTo>
                  <a:lnTo>
                    <a:pt x="1561" y="136"/>
                  </a:lnTo>
                  <a:lnTo>
                    <a:pt x="1559" y="134"/>
                  </a:lnTo>
                  <a:lnTo>
                    <a:pt x="1556" y="130"/>
                  </a:lnTo>
                  <a:close/>
                  <a:moveTo>
                    <a:pt x="454" y="130"/>
                  </a:moveTo>
                  <a:lnTo>
                    <a:pt x="458" y="153"/>
                  </a:lnTo>
                  <a:lnTo>
                    <a:pt x="452" y="157"/>
                  </a:lnTo>
                  <a:lnTo>
                    <a:pt x="449" y="158"/>
                  </a:lnTo>
                  <a:lnTo>
                    <a:pt x="445" y="160"/>
                  </a:lnTo>
                  <a:lnTo>
                    <a:pt x="440" y="164"/>
                  </a:lnTo>
                  <a:lnTo>
                    <a:pt x="435" y="165"/>
                  </a:lnTo>
                  <a:lnTo>
                    <a:pt x="433" y="164"/>
                  </a:lnTo>
                  <a:lnTo>
                    <a:pt x="432" y="164"/>
                  </a:lnTo>
                  <a:lnTo>
                    <a:pt x="430" y="162"/>
                  </a:lnTo>
                  <a:lnTo>
                    <a:pt x="428" y="162"/>
                  </a:lnTo>
                  <a:lnTo>
                    <a:pt x="423" y="162"/>
                  </a:lnTo>
                  <a:lnTo>
                    <a:pt x="423" y="158"/>
                  </a:lnTo>
                  <a:lnTo>
                    <a:pt x="423" y="157"/>
                  </a:lnTo>
                  <a:lnTo>
                    <a:pt x="421" y="157"/>
                  </a:lnTo>
                  <a:lnTo>
                    <a:pt x="421" y="155"/>
                  </a:lnTo>
                  <a:lnTo>
                    <a:pt x="419" y="153"/>
                  </a:lnTo>
                  <a:lnTo>
                    <a:pt x="419" y="146"/>
                  </a:lnTo>
                  <a:lnTo>
                    <a:pt x="428" y="141"/>
                  </a:lnTo>
                  <a:lnTo>
                    <a:pt x="435" y="136"/>
                  </a:lnTo>
                  <a:lnTo>
                    <a:pt x="442" y="132"/>
                  </a:lnTo>
                  <a:lnTo>
                    <a:pt x="454" y="130"/>
                  </a:lnTo>
                  <a:close/>
                  <a:moveTo>
                    <a:pt x="109" y="127"/>
                  </a:moveTo>
                  <a:lnTo>
                    <a:pt x="112" y="127"/>
                  </a:lnTo>
                  <a:lnTo>
                    <a:pt x="116" y="129"/>
                  </a:lnTo>
                  <a:lnTo>
                    <a:pt x="117" y="129"/>
                  </a:lnTo>
                  <a:lnTo>
                    <a:pt x="117" y="129"/>
                  </a:lnTo>
                  <a:lnTo>
                    <a:pt x="117" y="129"/>
                  </a:lnTo>
                  <a:lnTo>
                    <a:pt x="119" y="130"/>
                  </a:lnTo>
                  <a:lnTo>
                    <a:pt x="121" y="134"/>
                  </a:lnTo>
                  <a:lnTo>
                    <a:pt x="109" y="134"/>
                  </a:lnTo>
                  <a:lnTo>
                    <a:pt x="109" y="127"/>
                  </a:lnTo>
                  <a:close/>
                  <a:moveTo>
                    <a:pt x="3744" y="115"/>
                  </a:moveTo>
                  <a:lnTo>
                    <a:pt x="3760" y="117"/>
                  </a:lnTo>
                  <a:lnTo>
                    <a:pt x="3776" y="120"/>
                  </a:lnTo>
                  <a:lnTo>
                    <a:pt x="3790" y="125"/>
                  </a:lnTo>
                  <a:lnTo>
                    <a:pt x="3800" y="134"/>
                  </a:lnTo>
                  <a:lnTo>
                    <a:pt x="3807" y="146"/>
                  </a:lnTo>
                  <a:lnTo>
                    <a:pt x="3811" y="162"/>
                  </a:lnTo>
                  <a:lnTo>
                    <a:pt x="3788" y="158"/>
                  </a:lnTo>
                  <a:lnTo>
                    <a:pt x="3767" y="151"/>
                  </a:lnTo>
                  <a:lnTo>
                    <a:pt x="3751" y="141"/>
                  </a:lnTo>
                  <a:lnTo>
                    <a:pt x="3741" y="127"/>
                  </a:lnTo>
                  <a:lnTo>
                    <a:pt x="3743" y="125"/>
                  </a:lnTo>
                  <a:lnTo>
                    <a:pt x="3743" y="123"/>
                  </a:lnTo>
                  <a:lnTo>
                    <a:pt x="3744" y="122"/>
                  </a:lnTo>
                  <a:lnTo>
                    <a:pt x="3744" y="118"/>
                  </a:lnTo>
                  <a:lnTo>
                    <a:pt x="3744" y="115"/>
                  </a:lnTo>
                  <a:close/>
                  <a:moveTo>
                    <a:pt x="384" y="104"/>
                  </a:moveTo>
                  <a:lnTo>
                    <a:pt x="390" y="104"/>
                  </a:lnTo>
                  <a:lnTo>
                    <a:pt x="391" y="104"/>
                  </a:lnTo>
                  <a:lnTo>
                    <a:pt x="393" y="106"/>
                  </a:lnTo>
                  <a:lnTo>
                    <a:pt x="395" y="106"/>
                  </a:lnTo>
                  <a:lnTo>
                    <a:pt x="397" y="108"/>
                  </a:lnTo>
                  <a:lnTo>
                    <a:pt x="398" y="111"/>
                  </a:lnTo>
                  <a:lnTo>
                    <a:pt x="400" y="113"/>
                  </a:lnTo>
                  <a:lnTo>
                    <a:pt x="400" y="118"/>
                  </a:lnTo>
                  <a:lnTo>
                    <a:pt x="400" y="123"/>
                  </a:lnTo>
                  <a:lnTo>
                    <a:pt x="397" y="134"/>
                  </a:lnTo>
                  <a:lnTo>
                    <a:pt x="395" y="150"/>
                  </a:lnTo>
                  <a:lnTo>
                    <a:pt x="393" y="162"/>
                  </a:lnTo>
                  <a:lnTo>
                    <a:pt x="388" y="164"/>
                  </a:lnTo>
                  <a:lnTo>
                    <a:pt x="384" y="165"/>
                  </a:lnTo>
                  <a:lnTo>
                    <a:pt x="381" y="169"/>
                  </a:lnTo>
                  <a:lnTo>
                    <a:pt x="377" y="169"/>
                  </a:lnTo>
                  <a:lnTo>
                    <a:pt x="377" y="167"/>
                  </a:lnTo>
                  <a:lnTo>
                    <a:pt x="376" y="167"/>
                  </a:lnTo>
                  <a:lnTo>
                    <a:pt x="376" y="167"/>
                  </a:lnTo>
                  <a:lnTo>
                    <a:pt x="374" y="165"/>
                  </a:lnTo>
                  <a:lnTo>
                    <a:pt x="370" y="162"/>
                  </a:lnTo>
                  <a:lnTo>
                    <a:pt x="369" y="158"/>
                  </a:lnTo>
                  <a:lnTo>
                    <a:pt x="369" y="153"/>
                  </a:lnTo>
                  <a:lnTo>
                    <a:pt x="369" y="150"/>
                  </a:lnTo>
                  <a:lnTo>
                    <a:pt x="365" y="146"/>
                  </a:lnTo>
                  <a:lnTo>
                    <a:pt x="358" y="141"/>
                  </a:lnTo>
                  <a:lnTo>
                    <a:pt x="349" y="139"/>
                  </a:lnTo>
                  <a:lnTo>
                    <a:pt x="341" y="141"/>
                  </a:lnTo>
                  <a:lnTo>
                    <a:pt x="332" y="139"/>
                  </a:lnTo>
                  <a:lnTo>
                    <a:pt x="323" y="134"/>
                  </a:lnTo>
                  <a:lnTo>
                    <a:pt x="316" y="123"/>
                  </a:lnTo>
                  <a:lnTo>
                    <a:pt x="320" y="123"/>
                  </a:lnTo>
                  <a:lnTo>
                    <a:pt x="322" y="120"/>
                  </a:lnTo>
                  <a:lnTo>
                    <a:pt x="323" y="118"/>
                  </a:lnTo>
                  <a:lnTo>
                    <a:pt x="323" y="117"/>
                  </a:lnTo>
                  <a:lnTo>
                    <a:pt x="325" y="117"/>
                  </a:lnTo>
                  <a:lnTo>
                    <a:pt x="327" y="117"/>
                  </a:lnTo>
                  <a:lnTo>
                    <a:pt x="330" y="117"/>
                  </a:lnTo>
                  <a:lnTo>
                    <a:pt x="336" y="115"/>
                  </a:lnTo>
                  <a:lnTo>
                    <a:pt x="346" y="118"/>
                  </a:lnTo>
                  <a:lnTo>
                    <a:pt x="358" y="117"/>
                  </a:lnTo>
                  <a:lnTo>
                    <a:pt x="372" y="115"/>
                  </a:lnTo>
                  <a:lnTo>
                    <a:pt x="384" y="115"/>
                  </a:lnTo>
                  <a:lnTo>
                    <a:pt x="384" y="104"/>
                  </a:lnTo>
                  <a:close/>
                  <a:moveTo>
                    <a:pt x="255" y="101"/>
                  </a:moveTo>
                  <a:lnTo>
                    <a:pt x="257" y="104"/>
                  </a:lnTo>
                  <a:lnTo>
                    <a:pt x="259" y="106"/>
                  </a:lnTo>
                  <a:lnTo>
                    <a:pt x="260" y="110"/>
                  </a:lnTo>
                  <a:lnTo>
                    <a:pt x="260" y="113"/>
                  </a:lnTo>
                  <a:lnTo>
                    <a:pt x="262" y="117"/>
                  </a:lnTo>
                  <a:lnTo>
                    <a:pt x="262" y="123"/>
                  </a:lnTo>
                  <a:lnTo>
                    <a:pt x="259" y="123"/>
                  </a:lnTo>
                  <a:lnTo>
                    <a:pt x="259" y="127"/>
                  </a:lnTo>
                  <a:lnTo>
                    <a:pt x="262" y="127"/>
                  </a:lnTo>
                  <a:lnTo>
                    <a:pt x="267" y="129"/>
                  </a:lnTo>
                  <a:lnTo>
                    <a:pt x="273" y="130"/>
                  </a:lnTo>
                  <a:lnTo>
                    <a:pt x="278" y="130"/>
                  </a:lnTo>
                  <a:lnTo>
                    <a:pt x="285" y="130"/>
                  </a:lnTo>
                  <a:lnTo>
                    <a:pt x="288" y="127"/>
                  </a:lnTo>
                  <a:lnTo>
                    <a:pt x="290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4" y="125"/>
                  </a:lnTo>
                  <a:lnTo>
                    <a:pt x="297" y="127"/>
                  </a:lnTo>
                  <a:lnTo>
                    <a:pt x="299" y="129"/>
                  </a:lnTo>
                  <a:lnTo>
                    <a:pt x="299" y="130"/>
                  </a:lnTo>
                  <a:lnTo>
                    <a:pt x="299" y="132"/>
                  </a:lnTo>
                  <a:lnTo>
                    <a:pt x="301" y="134"/>
                  </a:lnTo>
                  <a:lnTo>
                    <a:pt x="301" y="137"/>
                  </a:lnTo>
                  <a:lnTo>
                    <a:pt x="299" y="141"/>
                  </a:lnTo>
                  <a:lnTo>
                    <a:pt x="299" y="143"/>
                  </a:lnTo>
                  <a:lnTo>
                    <a:pt x="299" y="143"/>
                  </a:lnTo>
                  <a:lnTo>
                    <a:pt x="299" y="144"/>
                  </a:lnTo>
                  <a:lnTo>
                    <a:pt x="299" y="146"/>
                  </a:lnTo>
                  <a:lnTo>
                    <a:pt x="297" y="150"/>
                  </a:lnTo>
                  <a:lnTo>
                    <a:pt x="287" y="155"/>
                  </a:lnTo>
                  <a:lnTo>
                    <a:pt x="274" y="155"/>
                  </a:lnTo>
                  <a:lnTo>
                    <a:pt x="260" y="155"/>
                  </a:lnTo>
                  <a:lnTo>
                    <a:pt x="246" y="158"/>
                  </a:lnTo>
                  <a:lnTo>
                    <a:pt x="236" y="165"/>
                  </a:lnTo>
                  <a:lnTo>
                    <a:pt x="224" y="174"/>
                  </a:lnTo>
                  <a:lnTo>
                    <a:pt x="213" y="183"/>
                  </a:lnTo>
                  <a:lnTo>
                    <a:pt x="198" y="188"/>
                  </a:lnTo>
                  <a:lnTo>
                    <a:pt x="196" y="185"/>
                  </a:lnTo>
                  <a:lnTo>
                    <a:pt x="194" y="181"/>
                  </a:lnTo>
                  <a:lnTo>
                    <a:pt x="194" y="178"/>
                  </a:lnTo>
                  <a:lnTo>
                    <a:pt x="192" y="172"/>
                  </a:lnTo>
                  <a:lnTo>
                    <a:pt x="198" y="169"/>
                  </a:lnTo>
                  <a:lnTo>
                    <a:pt x="203" y="165"/>
                  </a:lnTo>
                  <a:lnTo>
                    <a:pt x="206" y="160"/>
                  </a:lnTo>
                  <a:lnTo>
                    <a:pt x="210" y="155"/>
                  </a:lnTo>
                  <a:lnTo>
                    <a:pt x="212" y="150"/>
                  </a:lnTo>
                  <a:lnTo>
                    <a:pt x="192" y="150"/>
                  </a:lnTo>
                  <a:lnTo>
                    <a:pt x="180" y="155"/>
                  </a:lnTo>
                  <a:lnTo>
                    <a:pt x="166" y="157"/>
                  </a:lnTo>
                  <a:lnTo>
                    <a:pt x="150" y="155"/>
                  </a:lnTo>
                  <a:lnTo>
                    <a:pt x="140" y="150"/>
                  </a:lnTo>
                  <a:lnTo>
                    <a:pt x="135" y="150"/>
                  </a:lnTo>
                  <a:lnTo>
                    <a:pt x="135" y="146"/>
                  </a:lnTo>
                  <a:lnTo>
                    <a:pt x="140" y="144"/>
                  </a:lnTo>
                  <a:lnTo>
                    <a:pt x="144" y="143"/>
                  </a:lnTo>
                  <a:lnTo>
                    <a:pt x="145" y="141"/>
                  </a:lnTo>
                  <a:lnTo>
                    <a:pt x="149" y="139"/>
                  </a:lnTo>
                  <a:lnTo>
                    <a:pt x="150" y="134"/>
                  </a:lnTo>
                  <a:lnTo>
                    <a:pt x="147" y="134"/>
                  </a:lnTo>
                  <a:lnTo>
                    <a:pt x="147" y="130"/>
                  </a:lnTo>
                  <a:lnTo>
                    <a:pt x="152" y="130"/>
                  </a:lnTo>
                  <a:lnTo>
                    <a:pt x="156" y="129"/>
                  </a:lnTo>
                  <a:lnTo>
                    <a:pt x="159" y="129"/>
                  </a:lnTo>
                  <a:lnTo>
                    <a:pt x="163" y="127"/>
                  </a:lnTo>
                  <a:lnTo>
                    <a:pt x="161" y="125"/>
                  </a:lnTo>
                  <a:lnTo>
                    <a:pt x="159" y="123"/>
                  </a:lnTo>
                  <a:lnTo>
                    <a:pt x="157" y="122"/>
                  </a:lnTo>
                  <a:lnTo>
                    <a:pt x="157" y="120"/>
                  </a:lnTo>
                  <a:lnTo>
                    <a:pt x="156" y="118"/>
                  </a:lnTo>
                  <a:lnTo>
                    <a:pt x="154" y="115"/>
                  </a:lnTo>
                  <a:lnTo>
                    <a:pt x="157" y="115"/>
                  </a:lnTo>
                  <a:lnTo>
                    <a:pt x="159" y="113"/>
                  </a:lnTo>
                  <a:lnTo>
                    <a:pt x="159" y="113"/>
                  </a:lnTo>
                  <a:lnTo>
                    <a:pt x="161" y="113"/>
                  </a:lnTo>
                  <a:lnTo>
                    <a:pt x="163" y="111"/>
                  </a:lnTo>
                  <a:lnTo>
                    <a:pt x="182" y="117"/>
                  </a:lnTo>
                  <a:lnTo>
                    <a:pt x="198" y="123"/>
                  </a:lnTo>
                  <a:lnTo>
                    <a:pt x="212" y="130"/>
                  </a:lnTo>
                  <a:lnTo>
                    <a:pt x="227" y="136"/>
                  </a:lnTo>
                  <a:lnTo>
                    <a:pt x="246" y="137"/>
                  </a:lnTo>
                  <a:lnTo>
                    <a:pt x="243" y="129"/>
                  </a:lnTo>
                  <a:lnTo>
                    <a:pt x="240" y="122"/>
                  </a:lnTo>
                  <a:lnTo>
                    <a:pt x="238" y="117"/>
                  </a:lnTo>
                  <a:lnTo>
                    <a:pt x="236" y="104"/>
                  </a:lnTo>
                  <a:lnTo>
                    <a:pt x="240" y="103"/>
                  </a:lnTo>
                  <a:lnTo>
                    <a:pt x="243" y="101"/>
                  </a:lnTo>
                  <a:lnTo>
                    <a:pt x="248" y="101"/>
                  </a:lnTo>
                  <a:lnTo>
                    <a:pt x="255" y="101"/>
                  </a:lnTo>
                  <a:close/>
                  <a:moveTo>
                    <a:pt x="742" y="80"/>
                  </a:moveTo>
                  <a:lnTo>
                    <a:pt x="754" y="85"/>
                  </a:lnTo>
                  <a:lnTo>
                    <a:pt x="754" y="89"/>
                  </a:lnTo>
                  <a:lnTo>
                    <a:pt x="749" y="89"/>
                  </a:lnTo>
                  <a:lnTo>
                    <a:pt x="746" y="89"/>
                  </a:lnTo>
                  <a:lnTo>
                    <a:pt x="744" y="89"/>
                  </a:lnTo>
                  <a:lnTo>
                    <a:pt x="742" y="87"/>
                  </a:lnTo>
                  <a:lnTo>
                    <a:pt x="742" y="87"/>
                  </a:lnTo>
                  <a:lnTo>
                    <a:pt x="742" y="85"/>
                  </a:lnTo>
                  <a:lnTo>
                    <a:pt x="742" y="80"/>
                  </a:lnTo>
                  <a:close/>
                  <a:moveTo>
                    <a:pt x="140" y="80"/>
                  </a:moveTo>
                  <a:lnTo>
                    <a:pt x="140" y="87"/>
                  </a:lnTo>
                  <a:lnTo>
                    <a:pt x="140" y="92"/>
                  </a:lnTo>
                  <a:lnTo>
                    <a:pt x="142" y="97"/>
                  </a:lnTo>
                  <a:lnTo>
                    <a:pt x="140" y="101"/>
                  </a:lnTo>
                  <a:lnTo>
                    <a:pt x="140" y="104"/>
                  </a:lnTo>
                  <a:lnTo>
                    <a:pt x="135" y="108"/>
                  </a:lnTo>
                  <a:lnTo>
                    <a:pt x="130" y="111"/>
                  </a:lnTo>
                  <a:lnTo>
                    <a:pt x="124" y="115"/>
                  </a:lnTo>
                  <a:lnTo>
                    <a:pt x="121" y="120"/>
                  </a:lnTo>
                  <a:lnTo>
                    <a:pt x="114" y="117"/>
                  </a:lnTo>
                  <a:lnTo>
                    <a:pt x="110" y="115"/>
                  </a:lnTo>
                  <a:lnTo>
                    <a:pt x="107" y="113"/>
                  </a:lnTo>
                  <a:lnTo>
                    <a:pt x="105" y="111"/>
                  </a:lnTo>
                  <a:lnTo>
                    <a:pt x="102" y="108"/>
                  </a:lnTo>
                  <a:lnTo>
                    <a:pt x="100" y="125"/>
                  </a:lnTo>
                  <a:lnTo>
                    <a:pt x="95" y="134"/>
                  </a:lnTo>
                  <a:lnTo>
                    <a:pt x="82" y="137"/>
                  </a:lnTo>
                  <a:lnTo>
                    <a:pt x="72" y="137"/>
                  </a:lnTo>
                  <a:lnTo>
                    <a:pt x="61" y="137"/>
                  </a:lnTo>
                  <a:lnTo>
                    <a:pt x="48" y="137"/>
                  </a:lnTo>
                  <a:lnTo>
                    <a:pt x="48" y="123"/>
                  </a:lnTo>
                  <a:lnTo>
                    <a:pt x="67" y="110"/>
                  </a:lnTo>
                  <a:lnTo>
                    <a:pt x="88" y="97"/>
                  </a:lnTo>
                  <a:lnTo>
                    <a:pt x="112" y="87"/>
                  </a:lnTo>
                  <a:lnTo>
                    <a:pt x="140" y="80"/>
                  </a:lnTo>
                  <a:close/>
                  <a:moveTo>
                    <a:pt x="3671" y="80"/>
                  </a:moveTo>
                  <a:lnTo>
                    <a:pt x="3680" y="80"/>
                  </a:lnTo>
                  <a:lnTo>
                    <a:pt x="3683" y="89"/>
                  </a:lnTo>
                  <a:lnTo>
                    <a:pt x="3683" y="99"/>
                  </a:lnTo>
                  <a:lnTo>
                    <a:pt x="3683" y="111"/>
                  </a:lnTo>
                  <a:lnTo>
                    <a:pt x="3699" y="106"/>
                  </a:lnTo>
                  <a:lnTo>
                    <a:pt x="3711" y="99"/>
                  </a:lnTo>
                  <a:lnTo>
                    <a:pt x="3725" y="92"/>
                  </a:lnTo>
                  <a:lnTo>
                    <a:pt x="3725" y="146"/>
                  </a:lnTo>
                  <a:lnTo>
                    <a:pt x="3725" y="148"/>
                  </a:lnTo>
                  <a:lnTo>
                    <a:pt x="3723" y="148"/>
                  </a:lnTo>
                  <a:lnTo>
                    <a:pt x="3723" y="148"/>
                  </a:lnTo>
                  <a:lnTo>
                    <a:pt x="3723" y="148"/>
                  </a:lnTo>
                  <a:lnTo>
                    <a:pt x="3723" y="148"/>
                  </a:lnTo>
                  <a:lnTo>
                    <a:pt x="3722" y="150"/>
                  </a:lnTo>
                  <a:lnTo>
                    <a:pt x="3709" y="150"/>
                  </a:lnTo>
                  <a:lnTo>
                    <a:pt x="3692" y="151"/>
                  </a:lnTo>
                  <a:lnTo>
                    <a:pt x="3675" y="153"/>
                  </a:lnTo>
                  <a:lnTo>
                    <a:pt x="3661" y="155"/>
                  </a:lnTo>
                  <a:lnTo>
                    <a:pt x="3650" y="157"/>
                  </a:lnTo>
                  <a:lnTo>
                    <a:pt x="3645" y="158"/>
                  </a:lnTo>
                  <a:lnTo>
                    <a:pt x="3633" y="148"/>
                  </a:lnTo>
                  <a:lnTo>
                    <a:pt x="3624" y="134"/>
                  </a:lnTo>
                  <a:lnTo>
                    <a:pt x="3619" y="115"/>
                  </a:lnTo>
                  <a:lnTo>
                    <a:pt x="3620" y="110"/>
                  </a:lnTo>
                  <a:lnTo>
                    <a:pt x="3622" y="106"/>
                  </a:lnTo>
                  <a:lnTo>
                    <a:pt x="3624" y="103"/>
                  </a:lnTo>
                  <a:lnTo>
                    <a:pt x="3626" y="99"/>
                  </a:lnTo>
                  <a:lnTo>
                    <a:pt x="3627" y="96"/>
                  </a:lnTo>
                  <a:lnTo>
                    <a:pt x="3634" y="92"/>
                  </a:lnTo>
                  <a:lnTo>
                    <a:pt x="3643" y="87"/>
                  </a:lnTo>
                  <a:lnTo>
                    <a:pt x="3657" y="82"/>
                  </a:lnTo>
                  <a:lnTo>
                    <a:pt x="3671" y="80"/>
                  </a:lnTo>
                  <a:close/>
                  <a:moveTo>
                    <a:pt x="458" y="73"/>
                  </a:moveTo>
                  <a:lnTo>
                    <a:pt x="461" y="83"/>
                  </a:lnTo>
                  <a:lnTo>
                    <a:pt x="468" y="87"/>
                  </a:lnTo>
                  <a:lnTo>
                    <a:pt x="479" y="87"/>
                  </a:lnTo>
                  <a:lnTo>
                    <a:pt x="496" y="85"/>
                  </a:lnTo>
                  <a:lnTo>
                    <a:pt x="496" y="89"/>
                  </a:lnTo>
                  <a:lnTo>
                    <a:pt x="498" y="94"/>
                  </a:lnTo>
                  <a:lnTo>
                    <a:pt x="500" y="99"/>
                  </a:lnTo>
                  <a:lnTo>
                    <a:pt x="500" y="103"/>
                  </a:lnTo>
                  <a:lnTo>
                    <a:pt x="500" y="108"/>
                  </a:lnTo>
                  <a:lnTo>
                    <a:pt x="500" y="111"/>
                  </a:lnTo>
                  <a:lnTo>
                    <a:pt x="519" y="122"/>
                  </a:lnTo>
                  <a:lnTo>
                    <a:pt x="541" y="127"/>
                  </a:lnTo>
                  <a:lnTo>
                    <a:pt x="566" y="127"/>
                  </a:lnTo>
                  <a:lnTo>
                    <a:pt x="590" y="127"/>
                  </a:lnTo>
                  <a:lnTo>
                    <a:pt x="617" y="125"/>
                  </a:lnTo>
                  <a:lnTo>
                    <a:pt x="639" y="127"/>
                  </a:lnTo>
                  <a:lnTo>
                    <a:pt x="639" y="132"/>
                  </a:lnTo>
                  <a:lnTo>
                    <a:pt x="641" y="137"/>
                  </a:lnTo>
                  <a:lnTo>
                    <a:pt x="643" y="141"/>
                  </a:lnTo>
                  <a:lnTo>
                    <a:pt x="643" y="143"/>
                  </a:lnTo>
                  <a:lnTo>
                    <a:pt x="643" y="146"/>
                  </a:lnTo>
                  <a:lnTo>
                    <a:pt x="643" y="150"/>
                  </a:lnTo>
                  <a:lnTo>
                    <a:pt x="639" y="162"/>
                  </a:lnTo>
                  <a:lnTo>
                    <a:pt x="629" y="162"/>
                  </a:lnTo>
                  <a:lnTo>
                    <a:pt x="617" y="160"/>
                  </a:lnTo>
                  <a:lnTo>
                    <a:pt x="608" y="158"/>
                  </a:lnTo>
                  <a:lnTo>
                    <a:pt x="604" y="158"/>
                  </a:lnTo>
                  <a:lnTo>
                    <a:pt x="601" y="160"/>
                  </a:lnTo>
                  <a:lnTo>
                    <a:pt x="599" y="164"/>
                  </a:lnTo>
                  <a:lnTo>
                    <a:pt x="597" y="165"/>
                  </a:lnTo>
                  <a:lnTo>
                    <a:pt x="594" y="165"/>
                  </a:lnTo>
                  <a:lnTo>
                    <a:pt x="592" y="167"/>
                  </a:lnTo>
                  <a:lnTo>
                    <a:pt x="587" y="169"/>
                  </a:lnTo>
                  <a:lnTo>
                    <a:pt x="582" y="169"/>
                  </a:lnTo>
                  <a:lnTo>
                    <a:pt x="576" y="171"/>
                  </a:lnTo>
                  <a:lnTo>
                    <a:pt x="573" y="172"/>
                  </a:lnTo>
                  <a:lnTo>
                    <a:pt x="568" y="172"/>
                  </a:lnTo>
                  <a:lnTo>
                    <a:pt x="562" y="172"/>
                  </a:lnTo>
                  <a:lnTo>
                    <a:pt x="559" y="167"/>
                  </a:lnTo>
                  <a:lnTo>
                    <a:pt x="557" y="162"/>
                  </a:lnTo>
                  <a:lnTo>
                    <a:pt x="554" y="158"/>
                  </a:lnTo>
                  <a:lnTo>
                    <a:pt x="554" y="162"/>
                  </a:lnTo>
                  <a:lnTo>
                    <a:pt x="550" y="165"/>
                  </a:lnTo>
                  <a:lnTo>
                    <a:pt x="548" y="169"/>
                  </a:lnTo>
                  <a:lnTo>
                    <a:pt x="547" y="172"/>
                  </a:lnTo>
                  <a:lnTo>
                    <a:pt x="538" y="172"/>
                  </a:lnTo>
                  <a:lnTo>
                    <a:pt x="534" y="167"/>
                  </a:lnTo>
                  <a:lnTo>
                    <a:pt x="531" y="160"/>
                  </a:lnTo>
                  <a:lnTo>
                    <a:pt x="528" y="153"/>
                  </a:lnTo>
                  <a:lnTo>
                    <a:pt x="526" y="158"/>
                  </a:lnTo>
                  <a:lnTo>
                    <a:pt x="524" y="162"/>
                  </a:lnTo>
                  <a:lnTo>
                    <a:pt x="522" y="164"/>
                  </a:lnTo>
                  <a:lnTo>
                    <a:pt x="522" y="164"/>
                  </a:lnTo>
                  <a:lnTo>
                    <a:pt x="519" y="164"/>
                  </a:lnTo>
                  <a:lnTo>
                    <a:pt x="515" y="162"/>
                  </a:lnTo>
                  <a:lnTo>
                    <a:pt x="512" y="160"/>
                  </a:lnTo>
                  <a:lnTo>
                    <a:pt x="510" y="158"/>
                  </a:lnTo>
                  <a:lnTo>
                    <a:pt x="510" y="157"/>
                  </a:lnTo>
                  <a:lnTo>
                    <a:pt x="510" y="155"/>
                  </a:lnTo>
                  <a:lnTo>
                    <a:pt x="510" y="153"/>
                  </a:lnTo>
                  <a:lnTo>
                    <a:pt x="510" y="151"/>
                  </a:lnTo>
                  <a:lnTo>
                    <a:pt x="508" y="150"/>
                  </a:lnTo>
                  <a:lnTo>
                    <a:pt x="507" y="150"/>
                  </a:lnTo>
                  <a:lnTo>
                    <a:pt x="505" y="151"/>
                  </a:lnTo>
                  <a:lnTo>
                    <a:pt x="501" y="151"/>
                  </a:lnTo>
                  <a:lnTo>
                    <a:pt x="496" y="153"/>
                  </a:lnTo>
                  <a:lnTo>
                    <a:pt x="493" y="153"/>
                  </a:lnTo>
                  <a:lnTo>
                    <a:pt x="487" y="155"/>
                  </a:lnTo>
                  <a:lnTo>
                    <a:pt x="486" y="153"/>
                  </a:lnTo>
                  <a:lnTo>
                    <a:pt x="484" y="153"/>
                  </a:lnTo>
                  <a:lnTo>
                    <a:pt x="480" y="151"/>
                  </a:lnTo>
                  <a:lnTo>
                    <a:pt x="479" y="150"/>
                  </a:lnTo>
                  <a:lnTo>
                    <a:pt x="475" y="148"/>
                  </a:lnTo>
                  <a:lnTo>
                    <a:pt x="473" y="146"/>
                  </a:lnTo>
                  <a:lnTo>
                    <a:pt x="475" y="136"/>
                  </a:lnTo>
                  <a:lnTo>
                    <a:pt x="473" y="129"/>
                  </a:lnTo>
                  <a:lnTo>
                    <a:pt x="470" y="123"/>
                  </a:lnTo>
                  <a:lnTo>
                    <a:pt x="466" y="115"/>
                  </a:lnTo>
                  <a:lnTo>
                    <a:pt x="466" y="104"/>
                  </a:lnTo>
                  <a:lnTo>
                    <a:pt x="449" y="103"/>
                  </a:lnTo>
                  <a:lnTo>
                    <a:pt x="433" y="97"/>
                  </a:lnTo>
                  <a:lnTo>
                    <a:pt x="419" y="92"/>
                  </a:lnTo>
                  <a:lnTo>
                    <a:pt x="418" y="90"/>
                  </a:lnTo>
                  <a:lnTo>
                    <a:pt x="418" y="89"/>
                  </a:lnTo>
                  <a:lnTo>
                    <a:pt x="418" y="87"/>
                  </a:lnTo>
                  <a:lnTo>
                    <a:pt x="416" y="85"/>
                  </a:lnTo>
                  <a:lnTo>
                    <a:pt x="416" y="80"/>
                  </a:lnTo>
                  <a:lnTo>
                    <a:pt x="423" y="78"/>
                  </a:lnTo>
                  <a:lnTo>
                    <a:pt x="432" y="78"/>
                  </a:lnTo>
                  <a:lnTo>
                    <a:pt x="442" y="76"/>
                  </a:lnTo>
                  <a:lnTo>
                    <a:pt x="445" y="75"/>
                  </a:lnTo>
                  <a:lnTo>
                    <a:pt x="449" y="75"/>
                  </a:lnTo>
                  <a:lnTo>
                    <a:pt x="452" y="73"/>
                  </a:lnTo>
                  <a:lnTo>
                    <a:pt x="458" y="73"/>
                  </a:lnTo>
                  <a:close/>
                  <a:moveTo>
                    <a:pt x="377" y="73"/>
                  </a:moveTo>
                  <a:lnTo>
                    <a:pt x="409" y="73"/>
                  </a:lnTo>
                  <a:lnTo>
                    <a:pt x="409" y="76"/>
                  </a:lnTo>
                  <a:lnTo>
                    <a:pt x="411" y="80"/>
                  </a:lnTo>
                  <a:lnTo>
                    <a:pt x="411" y="83"/>
                  </a:lnTo>
                  <a:lnTo>
                    <a:pt x="412" y="89"/>
                  </a:lnTo>
                  <a:lnTo>
                    <a:pt x="404" y="89"/>
                  </a:lnTo>
                  <a:lnTo>
                    <a:pt x="400" y="89"/>
                  </a:lnTo>
                  <a:lnTo>
                    <a:pt x="397" y="89"/>
                  </a:lnTo>
                  <a:lnTo>
                    <a:pt x="390" y="87"/>
                  </a:lnTo>
                  <a:lnTo>
                    <a:pt x="384" y="87"/>
                  </a:lnTo>
                  <a:lnTo>
                    <a:pt x="377" y="85"/>
                  </a:lnTo>
                  <a:lnTo>
                    <a:pt x="377" y="73"/>
                  </a:lnTo>
                  <a:close/>
                  <a:moveTo>
                    <a:pt x="301" y="69"/>
                  </a:moveTo>
                  <a:lnTo>
                    <a:pt x="308" y="73"/>
                  </a:lnTo>
                  <a:lnTo>
                    <a:pt x="315" y="76"/>
                  </a:lnTo>
                  <a:lnTo>
                    <a:pt x="318" y="82"/>
                  </a:lnTo>
                  <a:lnTo>
                    <a:pt x="322" y="89"/>
                  </a:lnTo>
                  <a:lnTo>
                    <a:pt x="323" y="96"/>
                  </a:lnTo>
                  <a:lnTo>
                    <a:pt x="313" y="96"/>
                  </a:lnTo>
                  <a:lnTo>
                    <a:pt x="313" y="92"/>
                  </a:lnTo>
                  <a:lnTo>
                    <a:pt x="308" y="89"/>
                  </a:lnTo>
                  <a:lnTo>
                    <a:pt x="306" y="85"/>
                  </a:lnTo>
                  <a:lnTo>
                    <a:pt x="304" y="82"/>
                  </a:lnTo>
                  <a:lnTo>
                    <a:pt x="302" y="76"/>
                  </a:lnTo>
                  <a:lnTo>
                    <a:pt x="301" y="69"/>
                  </a:lnTo>
                  <a:close/>
                  <a:moveTo>
                    <a:pt x="489" y="61"/>
                  </a:moveTo>
                  <a:lnTo>
                    <a:pt x="505" y="61"/>
                  </a:lnTo>
                  <a:lnTo>
                    <a:pt x="505" y="69"/>
                  </a:lnTo>
                  <a:lnTo>
                    <a:pt x="489" y="69"/>
                  </a:lnTo>
                  <a:lnTo>
                    <a:pt x="489" y="61"/>
                  </a:lnTo>
                  <a:close/>
                  <a:moveTo>
                    <a:pt x="192" y="61"/>
                  </a:moveTo>
                  <a:lnTo>
                    <a:pt x="201" y="62"/>
                  </a:lnTo>
                  <a:lnTo>
                    <a:pt x="208" y="62"/>
                  </a:lnTo>
                  <a:lnTo>
                    <a:pt x="215" y="64"/>
                  </a:lnTo>
                  <a:lnTo>
                    <a:pt x="220" y="66"/>
                  </a:lnTo>
                  <a:lnTo>
                    <a:pt x="217" y="71"/>
                  </a:lnTo>
                  <a:lnTo>
                    <a:pt x="213" y="76"/>
                  </a:lnTo>
                  <a:lnTo>
                    <a:pt x="210" y="80"/>
                  </a:lnTo>
                  <a:lnTo>
                    <a:pt x="205" y="85"/>
                  </a:lnTo>
                  <a:lnTo>
                    <a:pt x="199" y="89"/>
                  </a:lnTo>
                  <a:lnTo>
                    <a:pt x="194" y="90"/>
                  </a:lnTo>
                  <a:lnTo>
                    <a:pt x="191" y="90"/>
                  </a:lnTo>
                  <a:lnTo>
                    <a:pt x="185" y="89"/>
                  </a:lnTo>
                  <a:lnTo>
                    <a:pt x="182" y="85"/>
                  </a:lnTo>
                  <a:lnTo>
                    <a:pt x="180" y="82"/>
                  </a:lnTo>
                  <a:lnTo>
                    <a:pt x="178" y="78"/>
                  </a:lnTo>
                  <a:lnTo>
                    <a:pt x="178" y="73"/>
                  </a:lnTo>
                  <a:lnTo>
                    <a:pt x="185" y="68"/>
                  </a:lnTo>
                  <a:lnTo>
                    <a:pt x="192" y="61"/>
                  </a:lnTo>
                  <a:close/>
                  <a:moveTo>
                    <a:pt x="435" y="54"/>
                  </a:moveTo>
                  <a:lnTo>
                    <a:pt x="440" y="54"/>
                  </a:lnTo>
                  <a:lnTo>
                    <a:pt x="444" y="54"/>
                  </a:lnTo>
                  <a:lnTo>
                    <a:pt x="447" y="54"/>
                  </a:lnTo>
                  <a:lnTo>
                    <a:pt x="449" y="54"/>
                  </a:lnTo>
                  <a:lnTo>
                    <a:pt x="452" y="54"/>
                  </a:lnTo>
                  <a:lnTo>
                    <a:pt x="456" y="54"/>
                  </a:lnTo>
                  <a:lnTo>
                    <a:pt x="461" y="54"/>
                  </a:lnTo>
                  <a:lnTo>
                    <a:pt x="461" y="61"/>
                  </a:lnTo>
                  <a:lnTo>
                    <a:pt x="438" y="66"/>
                  </a:lnTo>
                  <a:lnTo>
                    <a:pt x="435" y="54"/>
                  </a:lnTo>
                  <a:close/>
                  <a:moveTo>
                    <a:pt x="220" y="43"/>
                  </a:moveTo>
                  <a:lnTo>
                    <a:pt x="227" y="45"/>
                  </a:lnTo>
                  <a:lnTo>
                    <a:pt x="234" y="47"/>
                  </a:lnTo>
                  <a:lnTo>
                    <a:pt x="240" y="50"/>
                  </a:lnTo>
                  <a:lnTo>
                    <a:pt x="236" y="50"/>
                  </a:lnTo>
                  <a:lnTo>
                    <a:pt x="227" y="54"/>
                  </a:lnTo>
                  <a:lnTo>
                    <a:pt x="217" y="54"/>
                  </a:lnTo>
                  <a:lnTo>
                    <a:pt x="205" y="54"/>
                  </a:lnTo>
                  <a:lnTo>
                    <a:pt x="205" y="50"/>
                  </a:lnTo>
                  <a:lnTo>
                    <a:pt x="208" y="50"/>
                  </a:lnTo>
                  <a:lnTo>
                    <a:pt x="212" y="47"/>
                  </a:lnTo>
                  <a:lnTo>
                    <a:pt x="217" y="45"/>
                  </a:lnTo>
                  <a:lnTo>
                    <a:pt x="220" y="43"/>
                  </a:lnTo>
                  <a:close/>
                  <a:moveTo>
                    <a:pt x="2671" y="41"/>
                  </a:moveTo>
                  <a:lnTo>
                    <a:pt x="2688" y="43"/>
                  </a:lnTo>
                  <a:lnTo>
                    <a:pt x="2692" y="47"/>
                  </a:lnTo>
                  <a:lnTo>
                    <a:pt x="2694" y="50"/>
                  </a:lnTo>
                  <a:lnTo>
                    <a:pt x="2697" y="54"/>
                  </a:lnTo>
                  <a:lnTo>
                    <a:pt x="2695" y="57"/>
                  </a:lnTo>
                  <a:lnTo>
                    <a:pt x="2695" y="59"/>
                  </a:lnTo>
                  <a:lnTo>
                    <a:pt x="2695" y="59"/>
                  </a:lnTo>
                  <a:lnTo>
                    <a:pt x="2694" y="61"/>
                  </a:lnTo>
                  <a:lnTo>
                    <a:pt x="2694" y="61"/>
                  </a:lnTo>
                  <a:lnTo>
                    <a:pt x="2683" y="75"/>
                  </a:lnTo>
                  <a:lnTo>
                    <a:pt x="2669" y="85"/>
                  </a:lnTo>
                  <a:lnTo>
                    <a:pt x="2653" y="94"/>
                  </a:lnTo>
                  <a:lnTo>
                    <a:pt x="2634" y="101"/>
                  </a:lnTo>
                  <a:lnTo>
                    <a:pt x="2617" y="108"/>
                  </a:lnTo>
                  <a:lnTo>
                    <a:pt x="2601" y="115"/>
                  </a:lnTo>
                  <a:lnTo>
                    <a:pt x="2584" y="129"/>
                  </a:lnTo>
                  <a:lnTo>
                    <a:pt x="2564" y="150"/>
                  </a:lnTo>
                  <a:lnTo>
                    <a:pt x="2544" y="174"/>
                  </a:lnTo>
                  <a:lnTo>
                    <a:pt x="2524" y="202"/>
                  </a:lnTo>
                  <a:lnTo>
                    <a:pt x="2509" y="230"/>
                  </a:lnTo>
                  <a:lnTo>
                    <a:pt x="2498" y="258"/>
                  </a:lnTo>
                  <a:lnTo>
                    <a:pt x="2493" y="284"/>
                  </a:lnTo>
                  <a:lnTo>
                    <a:pt x="2495" y="293"/>
                  </a:lnTo>
                  <a:lnTo>
                    <a:pt x="2502" y="303"/>
                  </a:lnTo>
                  <a:lnTo>
                    <a:pt x="2510" y="314"/>
                  </a:lnTo>
                  <a:lnTo>
                    <a:pt x="2521" y="322"/>
                  </a:lnTo>
                  <a:lnTo>
                    <a:pt x="2521" y="326"/>
                  </a:lnTo>
                  <a:lnTo>
                    <a:pt x="2516" y="326"/>
                  </a:lnTo>
                  <a:lnTo>
                    <a:pt x="2512" y="335"/>
                  </a:lnTo>
                  <a:lnTo>
                    <a:pt x="2498" y="329"/>
                  </a:lnTo>
                  <a:lnTo>
                    <a:pt x="2482" y="326"/>
                  </a:lnTo>
                  <a:lnTo>
                    <a:pt x="2477" y="312"/>
                  </a:lnTo>
                  <a:lnTo>
                    <a:pt x="2468" y="300"/>
                  </a:lnTo>
                  <a:lnTo>
                    <a:pt x="2460" y="291"/>
                  </a:lnTo>
                  <a:lnTo>
                    <a:pt x="2451" y="282"/>
                  </a:lnTo>
                  <a:lnTo>
                    <a:pt x="2444" y="268"/>
                  </a:lnTo>
                  <a:lnTo>
                    <a:pt x="2454" y="261"/>
                  </a:lnTo>
                  <a:lnTo>
                    <a:pt x="2460" y="258"/>
                  </a:lnTo>
                  <a:lnTo>
                    <a:pt x="2460" y="253"/>
                  </a:lnTo>
                  <a:lnTo>
                    <a:pt x="2458" y="249"/>
                  </a:lnTo>
                  <a:lnTo>
                    <a:pt x="2456" y="242"/>
                  </a:lnTo>
                  <a:lnTo>
                    <a:pt x="2458" y="235"/>
                  </a:lnTo>
                  <a:lnTo>
                    <a:pt x="2463" y="226"/>
                  </a:lnTo>
                  <a:lnTo>
                    <a:pt x="2470" y="221"/>
                  </a:lnTo>
                  <a:lnTo>
                    <a:pt x="2477" y="214"/>
                  </a:lnTo>
                  <a:lnTo>
                    <a:pt x="2482" y="204"/>
                  </a:lnTo>
                  <a:lnTo>
                    <a:pt x="2479" y="202"/>
                  </a:lnTo>
                  <a:lnTo>
                    <a:pt x="2475" y="200"/>
                  </a:lnTo>
                  <a:lnTo>
                    <a:pt x="2475" y="199"/>
                  </a:lnTo>
                  <a:lnTo>
                    <a:pt x="2474" y="199"/>
                  </a:lnTo>
                  <a:lnTo>
                    <a:pt x="2474" y="197"/>
                  </a:lnTo>
                  <a:lnTo>
                    <a:pt x="2474" y="195"/>
                  </a:lnTo>
                  <a:lnTo>
                    <a:pt x="2482" y="186"/>
                  </a:lnTo>
                  <a:lnTo>
                    <a:pt x="2491" y="178"/>
                  </a:lnTo>
                  <a:lnTo>
                    <a:pt x="2496" y="165"/>
                  </a:lnTo>
                  <a:lnTo>
                    <a:pt x="2498" y="162"/>
                  </a:lnTo>
                  <a:lnTo>
                    <a:pt x="2496" y="157"/>
                  </a:lnTo>
                  <a:lnTo>
                    <a:pt x="2496" y="153"/>
                  </a:lnTo>
                  <a:lnTo>
                    <a:pt x="2495" y="151"/>
                  </a:lnTo>
                  <a:lnTo>
                    <a:pt x="2495" y="146"/>
                  </a:lnTo>
                  <a:lnTo>
                    <a:pt x="2495" y="143"/>
                  </a:lnTo>
                  <a:lnTo>
                    <a:pt x="2496" y="137"/>
                  </a:lnTo>
                  <a:lnTo>
                    <a:pt x="2510" y="122"/>
                  </a:lnTo>
                  <a:lnTo>
                    <a:pt x="2528" y="106"/>
                  </a:lnTo>
                  <a:lnTo>
                    <a:pt x="2550" y="90"/>
                  </a:lnTo>
                  <a:lnTo>
                    <a:pt x="2573" y="78"/>
                  </a:lnTo>
                  <a:lnTo>
                    <a:pt x="2592" y="69"/>
                  </a:lnTo>
                  <a:lnTo>
                    <a:pt x="2624" y="69"/>
                  </a:lnTo>
                  <a:lnTo>
                    <a:pt x="2634" y="64"/>
                  </a:lnTo>
                  <a:lnTo>
                    <a:pt x="2641" y="59"/>
                  </a:lnTo>
                  <a:lnTo>
                    <a:pt x="2646" y="52"/>
                  </a:lnTo>
                  <a:lnTo>
                    <a:pt x="2652" y="48"/>
                  </a:lnTo>
                  <a:lnTo>
                    <a:pt x="2659" y="45"/>
                  </a:lnTo>
                  <a:lnTo>
                    <a:pt x="2671" y="41"/>
                  </a:lnTo>
                  <a:close/>
                  <a:moveTo>
                    <a:pt x="400" y="15"/>
                  </a:moveTo>
                  <a:lnTo>
                    <a:pt x="416" y="15"/>
                  </a:lnTo>
                  <a:lnTo>
                    <a:pt x="421" y="22"/>
                  </a:lnTo>
                  <a:lnTo>
                    <a:pt x="428" y="29"/>
                  </a:lnTo>
                  <a:lnTo>
                    <a:pt x="435" y="34"/>
                  </a:lnTo>
                  <a:lnTo>
                    <a:pt x="432" y="38"/>
                  </a:lnTo>
                  <a:lnTo>
                    <a:pt x="430" y="40"/>
                  </a:lnTo>
                  <a:lnTo>
                    <a:pt x="428" y="41"/>
                  </a:lnTo>
                  <a:lnTo>
                    <a:pt x="426" y="45"/>
                  </a:lnTo>
                  <a:lnTo>
                    <a:pt x="425" y="48"/>
                  </a:lnTo>
                  <a:lnTo>
                    <a:pt x="423" y="54"/>
                  </a:lnTo>
                  <a:lnTo>
                    <a:pt x="418" y="54"/>
                  </a:lnTo>
                  <a:lnTo>
                    <a:pt x="411" y="54"/>
                  </a:lnTo>
                  <a:lnTo>
                    <a:pt x="407" y="52"/>
                  </a:lnTo>
                  <a:lnTo>
                    <a:pt x="402" y="52"/>
                  </a:lnTo>
                  <a:lnTo>
                    <a:pt x="397" y="50"/>
                  </a:lnTo>
                  <a:lnTo>
                    <a:pt x="397" y="43"/>
                  </a:lnTo>
                  <a:lnTo>
                    <a:pt x="398" y="38"/>
                  </a:lnTo>
                  <a:lnTo>
                    <a:pt x="400" y="31"/>
                  </a:lnTo>
                  <a:lnTo>
                    <a:pt x="400" y="24"/>
                  </a:lnTo>
                  <a:lnTo>
                    <a:pt x="400" y="15"/>
                  </a:lnTo>
                  <a:close/>
                  <a:moveTo>
                    <a:pt x="3165" y="0"/>
                  </a:moveTo>
                  <a:lnTo>
                    <a:pt x="3184" y="0"/>
                  </a:lnTo>
                  <a:lnTo>
                    <a:pt x="3188" y="5"/>
                  </a:lnTo>
                  <a:lnTo>
                    <a:pt x="3189" y="7"/>
                  </a:lnTo>
                  <a:lnTo>
                    <a:pt x="3191" y="10"/>
                  </a:lnTo>
                  <a:lnTo>
                    <a:pt x="3195" y="14"/>
                  </a:lnTo>
                  <a:lnTo>
                    <a:pt x="3196" y="19"/>
                  </a:lnTo>
                  <a:lnTo>
                    <a:pt x="3191" y="21"/>
                  </a:lnTo>
                  <a:lnTo>
                    <a:pt x="3189" y="22"/>
                  </a:lnTo>
                  <a:lnTo>
                    <a:pt x="3186" y="24"/>
                  </a:lnTo>
                  <a:lnTo>
                    <a:pt x="3184" y="27"/>
                  </a:lnTo>
                  <a:lnTo>
                    <a:pt x="3182" y="29"/>
                  </a:lnTo>
                  <a:lnTo>
                    <a:pt x="3181" y="34"/>
                  </a:lnTo>
                  <a:lnTo>
                    <a:pt x="3195" y="38"/>
                  </a:lnTo>
                  <a:lnTo>
                    <a:pt x="3202" y="41"/>
                  </a:lnTo>
                  <a:lnTo>
                    <a:pt x="3209" y="48"/>
                  </a:lnTo>
                  <a:lnTo>
                    <a:pt x="3216" y="57"/>
                  </a:lnTo>
                  <a:lnTo>
                    <a:pt x="3228" y="52"/>
                  </a:lnTo>
                  <a:lnTo>
                    <a:pt x="3240" y="50"/>
                  </a:lnTo>
                  <a:lnTo>
                    <a:pt x="3254" y="48"/>
                  </a:lnTo>
                  <a:lnTo>
                    <a:pt x="3270" y="43"/>
                  </a:lnTo>
                  <a:lnTo>
                    <a:pt x="3271" y="41"/>
                  </a:lnTo>
                  <a:lnTo>
                    <a:pt x="3271" y="41"/>
                  </a:lnTo>
                  <a:lnTo>
                    <a:pt x="3273" y="43"/>
                  </a:lnTo>
                  <a:lnTo>
                    <a:pt x="3273" y="45"/>
                  </a:lnTo>
                  <a:lnTo>
                    <a:pt x="3273" y="47"/>
                  </a:lnTo>
                  <a:lnTo>
                    <a:pt x="3287" y="54"/>
                  </a:lnTo>
                  <a:lnTo>
                    <a:pt x="3298" y="62"/>
                  </a:lnTo>
                  <a:lnTo>
                    <a:pt x="3306" y="73"/>
                  </a:lnTo>
                  <a:lnTo>
                    <a:pt x="3315" y="85"/>
                  </a:lnTo>
                  <a:lnTo>
                    <a:pt x="3315" y="108"/>
                  </a:lnTo>
                  <a:lnTo>
                    <a:pt x="3303" y="117"/>
                  </a:lnTo>
                  <a:lnTo>
                    <a:pt x="3298" y="125"/>
                  </a:lnTo>
                  <a:lnTo>
                    <a:pt x="3294" y="134"/>
                  </a:lnTo>
                  <a:lnTo>
                    <a:pt x="3289" y="143"/>
                  </a:lnTo>
                  <a:lnTo>
                    <a:pt x="3275" y="151"/>
                  </a:lnTo>
                  <a:lnTo>
                    <a:pt x="3259" y="160"/>
                  </a:lnTo>
                  <a:lnTo>
                    <a:pt x="3243" y="171"/>
                  </a:lnTo>
                  <a:lnTo>
                    <a:pt x="3231" y="185"/>
                  </a:lnTo>
                  <a:lnTo>
                    <a:pt x="3235" y="185"/>
                  </a:lnTo>
                  <a:lnTo>
                    <a:pt x="3247" y="178"/>
                  </a:lnTo>
                  <a:lnTo>
                    <a:pt x="3261" y="176"/>
                  </a:lnTo>
                  <a:lnTo>
                    <a:pt x="3277" y="178"/>
                  </a:lnTo>
                  <a:lnTo>
                    <a:pt x="3277" y="181"/>
                  </a:lnTo>
                  <a:lnTo>
                    <a:pt x="3275" y="185"/>
                  </a:lnTo>
                  <a:lnTo>
                    <a:pt x="3275" y="186"/>
                  </a:lnTo>
                  <a:lnTo>
                    <a:pt x="3275" y="188"/>
                  </a:lnTo>
                  <a:lnTo>
                    <a:pt x="3275" y="188"/>
                  </a:lnTo>
                  <a:lnTo>
                    <a:pt x="3275" y="190"/>
                  </a:lnTo>
                  <a:lnTo>
                    <a:pt x="3277" y="190"/>
                  </a:lnTo>
                  <a:lnTo>
                    <a:pt x="3280" y="192"/>
                  </a:lnTo>
                  <a:lnTo>
                    <a:pt x="3285" y="186"/>
                  </a:lnTo>
                  <a:lnTo>
                    <a:pt x="3292" y="181"/>
                  </a:lnTo>
                  <a:lnTo>
                    <a:pt x="3299" y="176"/>
                  </a:lnTo>
                  <a:lnTo>
                    <a:pt x="3308" y="172"/>
                  </a:lnTo>
                  <a:lnTo>
                    <a:pt x="3308" y="178"/>
                  </a:lnTo>
                  <a:lnTo>
                    <a:pt x="3305" y="183"/>
                  </a:lnTo>
                  <a:lnTo>
                    <a:pt x="3303" y="188"/>
                  </a:lnTo>
                  <a:lnTo>
                    <a:pt x="3301" y="195"/>
                  </a:lnTo>
                  <a:lnTo>
                    <a:pt x="3299" y="204"/>
                  </a:lnTo>
                  <a:lnTo>
                    <a:pt x="3301" y="206"/>
                  </a:lnTo>
                  <a:lnTo>
                    <a:pt x="3301" y="206"/>
                  </a:lnTo>
                  <a:lnTo>
                    <a:pt x="3301" y="206"/>
                  </a:lnTo>
                  <a:lnTo>
                    <a:pt x="3301" y="206"/>
                  </a:lnTo>
                  <a:lnTo>
                    <a:pt x="3303" y="206"/>
                  </a:lnTo>
                  <a:lnTo>
                    <a:pt x="3303" y="207"/>
                  </a:lnTo>
                  <a:lnTo>
                    <a:pt x="3312" y="207"/>
                  </a:lnTo>
                  <a:lnTo>
                    <a:pt x="3312" y="195"/>
                  </a:lnTo>
                  <a:lnTo>
                    <a:pt x="3329" y="193"/>
                  </a:lnTo>
                  <a:lnTo>
                    <a:pt x="3345" y="193"/>
                  </a:lnTo>
                  <a:lnTo>
                    <a:pt x="3357" y="195"/>
                  </a:lnTo>
                  <a:lnTo>
                    <a:pt x="3369" y="204"/>
                  </a:lnTo>
                  <a:lnTo>
                    <a:pt x="3369" y="206"/>
                  </a:lnTo>
                  <a:lnTo>
                    <a:pt x="3369" y="211"/>
                  </a:lnTo>
                  <a:lnTo>
                    <a:pt x="3371" y="216"/>
                  </a:lnTo>
                  <a:lnTo>
                    <a:pt x="3371" y="221"/>
                  </a:lnTo>
                  <a:lnTo>
                    <a:pt x="3373" y="226"/>
                  </a:lnTo>
                  <a:lnTo>
                    <a:pt x="3423" y="230"/>
                  </a:lnTo>
                  <a:lnTo>
                    <a:pt x="3427" y="219"/>
                  </a:lnTo>
                  <a:lnTo>
                    <a:pt x="3427" y="216"/>
                  </a:lnTo>
                  <a:lnTo>
                    <a:pt x="3427" y="214"/>
                  </a:lnTo>
                  <a:lnTo>
                    <a:pt x="3427" y="211"/>
                  </a:lnTo>
                  <a:lnTo>
                    <a:pt x="3427" y="206"/>
                  </a:lnTo>
                  <a:lnTo>
                    <a:pt x="3427" y="200"/>
                  </a:lnTo>
                  <a:lnTo>
                    <a:pt x="3430" y="199"/>
                  </a:lnTo>
                  <a:lnTo>
                    <a:pt x="3430" y="199"/>
                  </a:lnTo>
                  <a:lnTo>
                    <a:pt x="3432" y="199"/>
                  </a:lnTo>
                  <a:lnTo>
                    <a:pt x="3432" y="197"/>
                  </a:lnTo>
                  <a:lnTo>
                    <a:pt x="3434" y="195"/>
                  </a:lnTo>
                  <a:lnTo>
                    <a:pt x="3444" y="200"/>
                  </a:lnTo>
                  <a:lnTo>
                    <a:pt x="3455" y="206"/>
                  </a:lnTo>
                  <a:lnTo>
                    <a:pt x="3465" y="211"/>
                  </a:lnTo>
                  <a:lnTo>
                    <a:pt x="3476" y="202"/>
                  </a:lnTo>
                  <a:lnTo>
                    <a:pt x="3488" y="197"/>
                  </a:lnTo>
                  <a:lnTo>
                    <a:pt x="3507" y="195"/>
                  </a:lnTo>
                  <a:lnTo>
                    <a:pt x="3507" y="200"/>
                  </a:lnTo>
                  <a:lnTo>
                    <a:pt x="3510" y="200"/>
                  </a:lnTo>
                  <a:lnTo>
                    <a:pt x="3519" y="235"/>
                  </a:lnTo>
                  <a:lnTo>
                    <a:pt x="3507" y="247"/>
                  </a:lnTo>
                  <a:lnTo>
                    <a:pt x="3500" y="265"/>
                  </a:lnTo>
                  <a:lnTo>
                    <a:pt x="3502" y="268"/>
                  </a:lnTo>
                  <a:lnTo>
                    <a:pt x="3504" y="272"/>
                  </a:lnTo>
                  <a:lnTo>
                    <a:pt x="3504" y="275"/>
                  </a:lnTo>
                  <a:lnTo>
                    <a:pt x="3505" y="279"/>
                  </a:lnTo>
                  <a:lnTo>
                    <a:pt x="3507" y="284"/>
                  </a:lnTo>
                  <a:lnTo>
                    <a:pt x="3516" y="293"/>
                  </a:lnTo>
                  <a:lnTo>
                    <a:pt x="3528" y="300"/>
                  </a:lnTo>
                  <a:lnTo>
                    <a:pt x="3538" y="307"/>
                  </a:lnTo>
                  <a:lnTo>
                    <a:pt x="3538" y="307"/>
                  </a:lnTo>
                  <a:lnTo>
                    <a:pt x="3540" y="305"/>
                  </a:lnTo>
                  <a:lnTo>
                    <a:pt x="3540" y="305"/>
                  </a:lnTo>
                  <a:lnTo>
                    <a:pt x="3540" y="305"/>
                  </a:lnTo>
                  <a:lnTo>
                    <a:pt x="3540" y="305"/>
                  </a:lnTo>
                  <a:lnTo>
                    <a:pt x="3542" y="303"/>
                  </a:lnTo>
                  <a:lnTo>
                    <a:pt x="3547" y="295"/>
                  </a:lnTo>
                  <a:lnTo>
                    <a:pt x="3551" y="284"/>
                  </a:lnTo>
                  <a:lnTo>
                    <a:pt x="3554" y="274"/>
                  </a:lnTo>
                  <a:lnTo>
                    <a:pt x="3561" y="265"/>
                  </a:lnTo>
                  <a:lnTo>
                    <a:pt x="3561" y="274"/>
                  </a:lnTo>
                  <a:lnTo>
                    <a:pt x="3563" y="281"/>
                  </a:lnTo>
                  <a:lnTo>
                    <a:pt x="3566" y="286"/>
                  </a:lnTo>
                  <a:lnTo>
                    <a:pt x="3572" y="289"/>
                  </a:lnTo>
                  <a:lnTo>
                    <a:pt x="3579" y="291"/>
                  </a:lnTo>
                  <a:lnTo>
                    <a:pt x="3587" y="293"/>
                  </a:lnTo>
                  <a:lnTo>
                    <a:pt x="3600" y="272"/>
                  </a:lnTo>
                  <a:lnTo>
                    <a:pt x="3605" y="277"/>
                  </a:lnTo>
                  <a:lnTo>
                    <a:pt x="3610" y="281"/>
                  </a:lnTo>
                  <a:lnTo>
                    <a:pt x="3613" y="286"/>
                  </a:lnTo>
                  <a:lnTo>
                    <a:pt x="3619" y="289"/>
                  </a:lnTo>
                  <a:lnTo>
                    <a:pt x="3626" y="293"/>
                  </a:lnTo>
                  <a:lnTo>
                    <a:pt x="3629" y="289"/>
                  </a:lnTo>
                  <a:lnTo>
                    <a:pt x="3633" y="286"/>
                  </a:lnTo>
                  <a:lnTo>
                    <a:pt x="3636" y="286"/>
                  </a:lnTo>
                  <a:lnTo>
                    <a:pt x="3638" y="286"/>
                  </a:lnTo>
                  <a:lnTo>
                    <a:pt x="3643" y="286"/>
                  </a:lnTo>
                  <a:lnTo>
                    <a:pt x="3647" y="288"/>
                  </a:lnTo>
                  <a:lnTo>
                    <a:pt x="3654" y="288"/>
                  </a:lnTo>
                  <a:lnTo>
                    <a:pt x="3652" y="270"/>
                  </a:lnTo>
                  <a:lnTo>
                    <a:pt x="3648" y="258"/>
                  </a:lnTo>
                  <a:lnTo>
                    <a:pt x="3645" y="242"/>
                  </a:lnTo>
                  <a:lnTo>
                    <a:pt x="3657" y="239"/>
                  </a:lnTo>
                  <a:lnTo>
                    <a:pt x="3668" y="235"/>
                  </a:lnTo>
                  <a:lnTo>
                    <a:pt x="3685" y="235"/>
                  </a:lnTo>
                  <a:lnTo>
                    <a:pt x="3704" y="237"/>
                  </a:lnTo>
                  <a:lnTo>
                    <a:pt x="3723" y="242"/>
                  </a:lnTo>
                  <a:lnTo>
                    <a:pt x="3741" y="247"/>
                  </a:lnTo>
                  <a:lnTo>
                    <a:pt x="3757" y="253"/>
                  </a:lnTo>
                  <a:lnTo>
                    <a:pt x="3764" y="258"/>
                  </a:lnTo>
                  <a:lnTo>
                    <a:pt x="3767" y="261"/>
                  </a:lnTo>
                  <a:lnTo>
                    <a:pt x="3769" y="267"/>
                  </a:lnTo>
                  <a:lnTo>
                    <a:pt x="3769" y="270"/>
                  </a:lnTo>
                  <a:lnTo>
                    <a:pt x="3771" y="272"/>
                  </a:lnTo>
                  <a:lnTo>
                    <a:pt x="3771" y="275"/>
                  </a:lnTo>
                  <a:lnTo>
                    <a:pt x="3774" y="277"/>
                  </a:lnTo>
                  <a:lnTo>
                    <a:pt x="3778" y="279"/>
                  </a:lnTo>
                  <a:lnTo>
                    <a:pt x="3783" y="281"/>
                  </a:lnTo>
                  <a:lnTo>
                    <a:pt x="3793" y="277"/>
                  </a:lnTo>
                  <a:lnTo>
                    <a:pt x="3805" y="277"/>
                  </a:lnTo>
                  <a:lnTo>
                    <a:pt x="3818" y="277"/>
                  </a:lnTo>
                  <a:lnTo>
                    <a:pt x="3823" y="288"/>
                  </a:lnTo>
                  <a:lnTo>
                    <a:pt x="3830" y="298"/>
                  </a:lnTo>
                  <a:lnTo>
                    <a:pt x="3840" y="307"/>
                  </a:lnTo>
                  <a:lnTo>
                    <a:pt x="3853" y="312"/>
                  </a:lnTo>
                  <a:lnTo>
                    <a:pt x="3865" y="307"/>
                  </a:lnTo>
                  <a:lnTo>
                    <a:pt x="3882" y="307"/>
                  </a:lnTo>
                  <a:lnTo>
                    <a:pt x="3898" y="309"/>
                  </a:lnTo>
                  <a:lnTo>
                    <a:pt x="3914" y="312"/>
                  </a:lnTo>
                  <a:lnTo>
                    <a:pt x="3926" y="315"/>
                  </a:lnTo>
                  <a:lnTo>
                    <a:pt x="3931" y="331"/>
                  </a:lnTo>
                  <a:lnTo>
                    <a:pt x="3933" y="345"/>
                  </a:lnTo>
                  <a:lnTo>
                    <a:pt x="3936" y="357"/>
                  </a:lnTo>
                  <a:lnTo>
                    <a:pt x="3940" y="359"/>
                  </a:lnTo>
                  <a:lnTo>
                    <a:pt x="3942" y="363"/>
                  </a:lnTo>
                  <a:lnTo>
                    <a:pt x="3945" y="364"/>
                  </a:lnTo>
                  <a:lnTo>
                    <a:pt x="3978" y="361"/>
                  </a:lnTo>
                  <a:lnTo>
                    <a:pt x="4011" y="361"/>
                  </a:lnTo>
                  <a:lnTo>
                    <a:pt x="4045" y="361"/>
                  </a:lnTo>
                  <a:lnTo>
                    <a:pt x="4048" y="368"/>
                  </a:lnTo>
                  <a:lnTo>
                    <a:pt x="4053" y="373"/>
                  </a:lnTo>
                  <a:lnTo>
                    <a:pt x="4059" y="380"/>
                  </a:lnTo>
                  <a:lnTo>
                    <a:pt x="4064" y="384"/>
                  </a:lnTo>
                  <a:lnTo>
                    <a:pt x="4071" y="389"/>
                  </a:lnTo>
                  <a:lnTo>
                    <a:pt x="4071" y="384"/>
                  </a:lnTo>
                  <a:lnTo>
                    <a:pt x="4073" y="382"/>
                  </a:lnTo>
                  <a:lnTo>
                    <a:pt x="4074" y="378"/>
                  </a:lnTo>
                  <a:lnTo>
                    <a:pt x="4074" y="375"/>
                  </a:lnTo>
                  <a:lnTo>
                    <a:pt x="4076" y="370"/>
                  </a:lnTo>
                  <a:lnTo>
                    <a:pt x="4073" y="364"/>
                  </a:lnTo>
                  <a:lnTo>
                    <a:pt x="4071" y="361"/>
                  </a:lnTo>
                  <a:lnTo>
                    <a:pt x="4069" y="359"/>
                  </a:lnTo>
                  <a:lnTo>
                    <a:pt x="4069" y="356"/>
                  </a:lnTo>
                  <a:lnTo>
                    <a:pt x="4071" y="352"/>
                  </a:lnTo>
                  <a:lnTo>
                    <a:pt x="4071" y="347"/>
                  </a:lnTo>
                  <a:lnTo>
                    <a:pt x="4071" y="342"/>
                  </a:lnTo>
                  <a:lnTo>
                    <a:pt x="4088" y="345"/>
                  </a:lnTo>
                  <a:lnTo>
                    <a:pt x="4100" y="352"/>
                  </a:lnTo>
                  <a:lnTo>
                    <a:pt x="4114" y="357"/>
                  </a:lnTo>
                  <a:lnTo>
                    <a:pt x="4120" y="357"/>
                  </a:lnTo>
                  <a:lnTo>
                    <a:pt x="4125" y="357"/>
                  </a:lnTo>
                  <a:lnTo>
                    <a:pt x="4130" y="356"/>
                  </a:lnTo>
                  <a:lnTo>
                    <a:pt x="4134" y="352"/>
                  </a:lnTo>
                  <a:lnTo>
                    <a:pt x="4137" y="350"/>
                  </a:lnTo>
                  <a:lnTo>
                    <a:pt x="4141" y="349"/>
                  </a:lnTo>
                  <a:lnTo>
                    <a:pt x="4198" y="373"/>
                  </a:lnTo>
                  <a:lnTo>
                    <a:pt x="4230" y="406"/>
                  </a:lnTo>
                  <a:lnTo>
                    <a:pt x="4235" y="410"/>
                  </a:lnTo>
                  <a:lnTo>
                    <a:pt x="4240" y="410"/>
                  </a:lnTo>
                  <a:lnTo>
                    <a:pt x="4245" y="411"/>
                  </a:lnTo>
                  <a:lnTo>
                    <a:pt x="4251" y="411"/>
                  </a:lnTo>
                  <a:lnTo>
                    <a:pt x="4256" y="415"/>
                  </a:lnTo>
                  <a:lnTo>
                    <a:pt x="4266" y="424"/>
                  </a:lnTo>
                  <a:lnTo>
                    <a:pt x="4273" y="434"/>
                  </a:lnTo>
                  <a:lnTo>
                    <a:pt x="4280" y="443"/>
                  </a:lnTo>
                  <a:lnTo>
                    <a:pt x="4289" y="450"/>
                  </a:lnTo>
                  <a:lnTo>
                    <a:pt x="4306" y="453"/>
                  </a:lnTo>
                  <a:lnTo>
                    <a:pt x="4308" y="452"/>
                  </a:lnTo>
                  <a:lnTo>
                    <a:pt x="4310" y="452"/>
                  </a:lnTo>
                  <a:lnTo>
                    <a:pt x="4312" y="450"/>
                  </a:lnTo>
                  <a:lnTo>
                    <a:pt x="4313" y="450"/>
                  </a:lnTo>
                  <a:lnTo>
                    <a:pt x="4317" y="450"/>
                  </a:lnTo>
                  <a:lnTo>
                    <a:pt x="4327" y="462"/>
                  </a:lnTo>
                  <a:lnTo>
                    <a:pt x="4338" y="474"/>
                  </a:lnTo>
                  <a:lnTo>
                    <a:pt x="4347" y="487"/>
                  </a:lnTo>
                  <a:lnTo>
                    <a:pt x="4352" y="504"/>
                  </a:lnTo>
                  <a:lnTo>
                    <a:pt x="4317" y="504"/>
                  </a:lnTo>
                  <a:lnTo>
                    <a:pt x="4315" y="507"/>
                  </a:lnTo>
                  <a:lnTo>
                    <a:pt x="4312" y="511"/>
                  </a:lnTo>
                  <a:lnTo>
                    <a:pt x="4310" y="513"/>
                  </a:lnTo>
                  <a:lnTo>
                    <a:pt x="4308" y="518"/>
                  </a:lnTo>
                  <a:lnTo>
                    <a:pt x="4306" y="523"/>
                  </a:lnTo>
                  <a:lnTo>
                    <a:pt x="4310" y="525"/>
                  </a:lnTo>
                  <a:lnTo>
                    <a:pt x="4312" y="527"/>
                  </a:lnTo>
                  <a:lnTo>
                    <a:pt x="4313" y="528"/>
                  </a:lnTo>
                  <a:lnTo>
                    <a:pt x="4315" y="532"/>
                  </a:lnTo>
                  <a:lnTo>
                    <a:pt x="4315" y="534"/>
                  </a:lnTo>
                  <a:lnTo>
                    <a:pt x="4313" y="537"/>
                  </a:lnTo>
                  <a:lnTo>
                    <a:pt x="4310" y="542"/>
                  </a:lnTo>
                  <a:lnTo>
                    <a:pt x="4308" y="544"/>
                  </a:lnTo>
                  <a:lnTo>
                    <a:pt x="4305" y="546"/>
                  </a:lnTo>
                  <a:lnTo>
                    <a:pt x="4301" y="546"/>
                  </a:lnTo>
                  <a:lnTo>
                    <a:pt x="4298" y="546"/>
                  </a:lnTo>
                  <a:lnTo>
                    <a:pt x="4291" y="546"/>
                  </a:lnTo>
                  <a:lnTo>
                    <a:pt x="4284" y="535"/>
                  </a:lnTo>
                  <a:lnTo>
                    <a:pt x="4273" y="530"/>
                  </a:lnTo>
                  <a:lnTo>
                    <a:pt x="4259" y="527"/>
                  </a:lnTo>
                  <a:lnTo>
                    <a:pt x="4259" y="514"/>
                  </a:lnTo>
                  <a:lnTo>
                    <a:pt x="4256" y="513"/>
                  </a:lnTo>
                  <a:lnTo>
                    <a:pt x="4252" y="511"/>
                  </a:lnTo>
                  <a:lnTo>
                    <a:pt x="4251" y="509"/>
                  </a:lnTo>
                  <a:lnTo>
                    <a:pt x="4247" y="507"/>
                  </a:lnTo>
                  <a:lnTo>
                    <a:pt x="4240" y="507"/>
                  </a:lnTo>
                  <a:lnTo>
                    <a:pt x="4238" y="507"/>
                  </a:lnTo>
                  <a:lnTo>
                    <a:pt x="4237" y="509"/>
                  </a:lnTo>
                  <a:lnTo>
                    <a:pt x="4235" y="509"/>
                  </a:lnTo>
                  <a:lnTo>
                    <a:pt x="4233" y="509"/>
                  </a:lnTo>
                  <a:lnTo>
                    <a:pt x="4230" y="511"/>
                  </a:lnTo>
                  <a:lnTo>
                    <a:pt x="4226" y="504"/>
                  </a:lnTo>
                  <a:lnTo>
                    <a:pt x="4221" y="497"/>
                  </a:lnTo>
                  <a:lnTo>
                    <a:pt x="4217" y="492"/>
                  </a:lnTo>
                  <a:lnTo>
                    <a:pt x="4217" y="504"/>
                  </a:lnTo>
                  <a:lnTo>
                    <a:pt x="4214" y="518"/>
                  </a:lnTo>
                  <a:lnTo>
                    <a:pt x="4210" y="530"/>
                  </a:lnTo>
                  <a:lnTo>
                    <a:pt x="4202" y="537"/>
                  </a:lnTo>
                  <a:lnTo>
                    <a:pt x="4198" y="539"/>
                  </a:lnTo>
                  <a:lnTo>
                    <a:pt x="4195" y="539"/>
                  </a:lnTo>
                  <a:lnTo>
                    <a:pt x="4193" y="539"/>
                  </a:lnTo>
                  <a:lnTo>
                    <a:pt x="4191" y="539"/>
                  </a:lnTo>
                  <a:lnTo>
                    <a:pt x="4189" y="537"/>
                  </a:lnTo>
                  <a:lnTo>
                    <a:pt x="4188" y="537"/>
                  </a:lnTo>
                  <a:lnTo>
                    <a:pt x="4186" y="537"/>
                  </a:lnTo>
                  <a:lnTo>
                    <a:pt x="4184" y="539"/>
                  </a:lnTo>
                  <a:lnTo>
                    <a:pt x="4182" y="541"/>
                  </a:lnTo>
                  <a:lnTo>
                    <a:pt x="4179" y="546"/>
                  </a:lnTo>
                  <a:lnTo>
                    <a:pt x="4189" y="558"/>
                  </a:lnTo>
                  <a:lnTo>
                    <a:pt x="4200" y="579"/>
                  </a:lnTo>
                  <a:lnTo>
                    <a:pt x="4205" y="603"/>
                  </a:lnTo>
                  <a:lnTo>
                    <a:pt x="4202" y="603"/>
                  </a:lnTo>
                  <a:lnTo>
                    <a:pt x="4200" y="605"/>
                  </a:lnTo>
                  <a:lnTo>
                    <a:pt x="4196" y="605"/>
                  </a:lnTo>
                  <a:lnTo>
                    <a:pt x="4191" y="607"/>
                  </a:lnTo>
                  <a:lnTo>
                    <a:pt x="4184" y="602"/>
                  </a:lnTo>
                  <a:lnTo>
                    <a:pt x="4179" y="598"/>
                  </a:lnTo>
                  <a:lnTo>
                    <a:pt x="4172" y="597"/>
                  </a:lnTo>
                  <a:lnTo>
                    <a:pt x="4163" y="595"/>
                  </a:lnTo>
                  <a:lnTo>
                    <a:pt x="4158" y="609"/>
                  </a:lnTo>
                  <a:lnTo>
                    <a:pt x="4148" y="616"/>
                  </a:lnTo>
                  <a:lnTo>
                    <a:pt x="4135" y="621"/>
                  </a:lnTo>
                  <a:lnTo>
                    <a:pt x="4121" y="626"/>
                  </a:lnTo>
                  <a:lnTo>
                    <a:pt x="4120" y="640"/>
                  </a:lnTo>
                  <a:lnTo>
                    <a:pt x="4116" y="651"/>
                  </a:lnTo>
                  <a:lnTo>
                    <a:pt x="4109" y="661"/>
                  </a:lnTo>
                  <a:lnTo>
                    <a:pt x="4095" y="663"/>
                  </a:lnTo>
                  <a:lnTo>
                    <a:pt x="4085" y="666"/>
                  </a:lnTo>
                  <a:lnTo>
                    <a:pt x="4078" y="670"/>
                  </a:lnTo>
                  <a:lnTo>
                    <a:pt x="4071" y="672"/>
                  </a:lnTo>
                  <a:lnTo>
                    <a:pt x="4066" y="668"/>
                  </a:lnTo>
                  <a:lnTo>
                    <a:pt x="4060" y="663"/>
                  </a:lnTo>
                  <a:lnTo>
                    <a:pt x="4057" y="658"/>
                  </a:lnTo>
                  <a:lnTo>
                    <a:pt x="4050" y="659"/>
                  </a:lnTo>
                  <a:lnTo>
                    <a:pt x="4041" y="661"/>
                  </a:lnTo>
                  <a:lnTo>
                    <a:pt x="4034" y="665"/>
                  </a:lnTo>
                  <a:lnTo>
                    <a:pt x="4029" y="668"/>
                  </a:lnTo>
                  <a:lnTo>
                    <a:pt x="4029" y="675"/>
                  </a:lnTo>
                  <a:lnTo>
                    <a:pt x="4024" y="677"/>
                  </a:lnTo>
                  <a:lnTo>
                    <a:pt x="4015" y="677"/>
                  </a:lnTo>
                  <a:lnTo>
                    <a:pt x="4003" y="677"/>
                  </a:lnTo>
                  <a:lnTo>
                    <a:pt x="3992" y="679"/>
                  </a:lnTo>
                  <a:lnTo>
                    <a:pt x="3987" y="680"/>
                  </a:lnTo>
                  <a:lnTo>
                    <a:pt x="3978" y="701"/>
                  </a:lnTo>
                  <a:lnTo>
                    <a:pt x="3977" y="724"/>
                  </a:lnTo>
                  <a:lnTo>
                    <a:pt x="3977" y="750"/>
                  </a:lnTo>
                  <a:lnTo>
                    <a:pt x="3980" y="773"/>
                  </a:lnTo>
                  <a:lnTo>
                    <a:pt x="3975" y="773"/>
                  </a:lnTo>
                  <a:lnTo>
                    <a:pt x="3973" y="773"/>
                  </a:lnTo>
                  <a:lnTo>
                    <a:pt x="3971" y="773"/>
                  </a:lnTo>
                  <a:lnTo>
                    <a:pt x="3970" y="775"/>
                  </a:lnTo>
                  <a:lnTo>
                    <a:pt x="3968" y="776"/>
                  </a:lnTo>
                  <a:lnTo>
                    <a:pt x="3966" y="782"/>
                  </a:lnTo>
                  <a:lnTo>
                    <a:pt x="3964" y="787"/>
                  </a:lnTo>
                  <a:lnTo>
                    <a:pt x="3964" y="794"/>
                  </a:lnTo>
                  <a:lnTo>
                    <a:pt x="3964" y="802"/>
                  </a:lnTo>
                  <a:lnTo>
                    <a:pt x="3952" y="802"/>
                  </a:lnTo>
                  <a:lnTo>
                    <a:pt x="3945" y="813"/>
                  </a:lnTo>
                  <a:lnTo>
                    <a:pt x="3940" y="820"/>
                  </a:lnTo>
                  <a:lnTo>
                    <a:pt x="3938" y="827"/>
                  </a:lnTo>
                  <a:lnTo>
                    <a:pt x="3936" y="841"/>
                  </a:lnTo>
                  <a:lnTo>
                    <a:pt x="3933" y="841"/>
                  </a:lnTo>
                  <a:lnTo>
                    <a:pt x="3929" y="841"/>
                  </a:lnTo>
                  <a:lnTo>
                    <a:pt x="3928" y="841"/>
                  </a:lnTo>
                  <a:lnTo>
                    <a:pt x="3928" y="841"/>
                  </a:lnTo>
                  <a:lnTo>
                    <a:pt x="3926" y="841"/>
                  </a:lnTo>
                  <a:lnTo>
                    <a:pt x="3922" y="841"/>
                  </a:lnTo>
                  <a:lnTo>
                    <a:pt x="3915" y="855"/>
                  </a:lnTo>
                  <a:lnTo>
                    <a:pt x="3910" y="872"/>
                  </a:lnTo>
                  <a:lnTo>
                    <a:pt x="3898" y="872"/>
                  </a:lnTo>
                  <a:lnTo>
                    <a:pt x="3894" y="891"/>
                  </a:lnTo>
                  <a:lnTo>
                    <a:pt x="3888" y="891"/>
                  </a:lnTo>
                  <a:lnTo>
                    <a:pt x="3888" y="886"/>
                  </a:lnTo>
                  <a:lnTo>
                    <a:pt x="3874" y="867"/>
                  </a:lnTo>
                  <a:lnTo>
                    <a:pt x="3865" y="844"/>
                  </a:lnTo>
                  <a:lnTo>
                    <a:pt x="3863" y="818"/>
                  </a:lnTo>
                  <a:lnTo>
                    <a:pt x="3865" y="787"/>
                  </a:lnTo>
                  <a:lnTo>
                    <a:pt x="3870" y="783"/>
                  </a:lnTo>
                  <a:lnTo>
                    <a:pt x="3874" y="780"/>
                  </a:lnTo>
                  <a:lnTo>
                    <a:pt x="3879" y="776"/>
                  </a:lnTo>
                  <a:lnTo>
                    <a:pt x="3881" y="771"/>
                  </a:lnTo>
                  <a:lnTo>
                    <a:pt x="3884" y="764"/>
                  </a:lnTo>
                  <a:lnTo>
                    <a:pt x="3879" y="755"/>
                  </a:lnTo>
                  <a:lnTo>
                    <a:pt x="3877" y="743"/>
                  </a:lnTo>
                  <a:lnTo>
                    <a:pt x="3884" y="729"/>
                  </a:lnTo>
                  <a:lnTo>
                    <a:pt x="3891" y="724"/>
                  </a:lnTo>
                  <a:lnTo>
                    <a:pt x="3900" y="720"/>
                  </a:lnTo>
                  <a:lnTo>
                    <a:pt x="3910" y="717"/>
                  </a:lnTo>
                  <a:lnTo>
                    <a:pt x="3917" y="710"/>
                  </a:lnTo>
                  <a:lnTo>
                    <a:pt x="3931" y="689"/>
                  </a:lnTo>
                  <a:lnTo>
                    <a:pt x="3945" y="668"/>
                  </a:lnTo>
                  <a:lnTo>
                    <a:pt x="3956" y="659"/>
                  </a:lnTo>
                  <a:lnTo>
                    <a:pt x="3968" y="651"/>
                  </a:lnTo>
                  <a:lnTo>
                    <a:pt x="3980" y="642"/>
                  </a:lnTo>
                  <a:lnTo>
                    <a:pt x="3985" y="630"/>
                  </a:lnTo>
                  <a:lnTo>
                    <a:pt x="3989" y="616"/>
                  </a:lnTo>
                  <a:lnTo>
                    <a:pt x="3994" y="603"/>
                  </a:lnTo>
                  <a:lnTo>
                    <a:pt x="3994" y="602"/>
                  </a:lnTo>
                  <a:lnTo>
                    <a:pt x="3992" y="602"/>
                  </a:lnTo>
                  <a:lnTo>
                    <a:pt x="3992" y="602"/>
                  </a:lnTo>
                  <a:lnTo>
                    <a:pt x="3992" y="602"/>
                  </a:lnTo>
                  <a:lnTo>
                    <a:pt x="3992" y="600"/>
                  </a:lnTo>
                  <a:lnTo>
                    <a:pt x="3990" y="598"/>
                  </a:lnTo>
                  <a:lnTo>
                    <a:pt x="3987" y="600"/>
                  </a:lnTo>
                  <a:lnTo>
                    <a:pt x="3987" y="600"/>
                  </a:lnTo>
                  <a:lnTo>
                    <a:pt x="3985" y="602"/>
                  </a:lnTo>
                  <a:lnTo>
                    <a:pt x="3985" y="602"/>
                  </a:lnTo>
                  <a:lnTo>
                    <a:pt x="3984" y="603"/>
                  </a:lnTo>
                  <a:lnTo>
                    <a:pt x="3975" y="616"/>
                  </a:lnTo>
                  <a:lnTo>
                    <a:pt x="3966" y="630"/>
                  </a:lnTo>
                  <a:lnTo>
                    <a:pt x="3957" y="642"/>
                  </a:lnTo>
                  <a:lnTo>
                    <a:pt x="3945" y="651"/>
                  </a:lnTo>
                  <a:lnTo>
                    <a:pt x="3929" y="658"/>
                  </a:lnTo>
                  <a:lnTo>
                    <a:pt x="3928" y="652"/>
                  </a:lnTo>
                  <a:lnTo>
                    <a:pt x="3928" y="651"/>
                  </a:lnTo>
                  <a:lnTo>
                    <a:pt x="3926" y="647"/>
                  </a:lnTo>
                  <a:lnTo>
                    <a:pt x="3926" y="642"/>
                  </a:lnTo>
                  <a:lnTo>
                    <a:pt x="3928" y="640"/>
                  </a:lnTo>
                  <a:lnTo>
                    <a:pt x="3928" y="638"/>
                  </a:lnTo>
                  <a:lnTo>
                    <a:pt x="3928" y="637"/>
                  </a:lnTo>
                  <a:lnTo>
                    <a:pt x="3929" y="633"/>
                  </a:lnTo>
                  <a:lnTo>
                    <a:pt x="3929" y="630"/>
                  </a:lnTo>
                  <a:lnTo>
                    <a:pt x="3924" y="626"/>
                  </a:lnTo>
                  <a:lnTo>
                    <a:pt x="3919" y="624"/>
                  </a:lnTo>
                  <a:lnTo>
                    <a:pt x="3915" y="623"/>
                  </a:lnTo>
                  <a:lnTo>
                    <a:pt x="3910" y="621"/>
                  </a:lnTo>
                  <a:lnTo>
                    <a:pt x="3907" y="623"/>
                  </a:lnTo>
                  <a:lnTo>
                    <a:pt x="3898" y="628"/>
                  </a:lnTo>
                  <a:lnTo>
                    <a:pt x="3886" y="638"/>
                  </a:lnTo>
                  <a:lnTo>
                    <a:pt x="3875" y="651"/>
                  </a:lnTo>
                  <a:lnTo>
                    <a:pt x="3865" y="663"/>
                  </a:lnTo>
                  <a:lnTo>
                    <a:pt x="3860" y="672"/>
                  </a:lnTo>
                  <a:lnTo>
                    <a:pt x="3860" y="675"/>
                  </a:lnTo>
                  <a:lnTo>
                    <a:pt x="3860" y="679"/>
                  </a:lnTo>
                  <a:lnTo>
                    <a:pt x="3861" y="682"/>
                  </a:lnTo>
                  <a:lnTo>
                    <a:pt x="3863" y="687"/>
                  </a:lnTo>
                  <a:lnTo>
                    <a:pt x="3865" y="691"/>
                  </a:lnTo>
                  <a:lnTo>
                    <a:pt x="3865" y="694"/>
                  </a:lnTo>
                  <a:lnTo>
                    <a:pt x="3854" y="699"/>
                  </a:lnTo>
                  <a:lnTo>
                    <a:pt x="3842" y="701"/>
                  </a:lnTo>
                  <a:lnTo>
                    <a:pt x="3826" y="703"/>
                  </a:lnTo>
                  <a:lnTo>
                    <a:pt x="3811" y="703"/>
                  </a:lnTo>
                  <a:lnTo>
                    <a:pt x="3811" y="684"/>
                  </a:lnTo>
                  <a:lnTo>
                    <a:pt x="3795" y="687"/>
                  </a:lnTo>
                  <a:lnTo>
                    <a:pt x="3781" y="693"/>
                  </a:lnTo>
                  <a:lnTo>
                    <a:pt x="3769" y="691"/>
                  </a:lnTo>
                  <a:lnTo>
                    <a:pt x="3760" y="680"/>
                  </a:lnTo>
                  <a:lnTo>
                    <a:pt x="3725" y="675"/>
                  </a:lnTo>
                  <a:lnTo>
                    <a:pt x="3713" y="687"/>
                  </a:lnTo>
                  <a:lnTo>
                    <a:pt x="3699" y="696"/>
                  </a:lnTo>
                  <a:lnTo>
                    <a:pt x="3687" y="706"/>
                  </a:lnTo>
                  <a:lnTo>
                    <a:pt x="3680" y="719"/>
                  </a:lnTo>
                  <a:lnTo>
                    <a:pt x="3673" y="731"/>
                  </a:lnTo>
                  <a:lnTo>
                    <a:pt x="3666" y="743"/>
                  </a:lnTo>
                  <a:lnTo>
                    <a:pt x="3657" y="752"/>
                  </a:lnTo>
                  <a:lnTo>
                    <a:pt x="3629" y="761"/>
                  </a:lnTo>
                  <a:lnTo>
                    <a:pt x="3622" y="768"/>
                  </a:lnTo>
                  <a:lnTo>
                    <a:pt x="3617" y="776"/>
                  </a:lnTo>
                  <a:lnTo>
                    <a:pt x="3612" y="783"/>
                  </a:lnTo>
                  <a:lnTo>
                    <a:pt x="3600" y="792"/>
                  </a:lnTo>
                  <a:lnTo>
                    <a:pt x="3600" y="802"/>
                  </a:lnTo>
                  <a:lnTo>
                    <a:pt x="3615" y="802"/>
                  </a:lnTo>
                  <a:lnTo>
                    <a:pt x="3617" y="808"/>
                  </a:lnTo>
                  <a:lnTo>
                    <a:pt x="3619" y="811"/>
                  </a:lnTo>
                  <a:lnTo>
                    <a:pt x="3620" y="815"/>
                  </a:lnTo>
                  <a:lnTo>
                    <a:pt x="3624" y="818"/>
                  </a:lnTo>
                  <a:lnTo>
                    <a:pt x="3627" y="820"/>
                  </a:lnTo>
                  <a:lnTo>
                    <a:pt x="3634" y="822"/>
                  </a:lnTo>
                  <a:lnTo>
                    <a:pt x="3638" y="818"/>
                  </a:lnTo>
                  <a:lnTo>
                    <a:pt x="3641" y="816"/>
                  </a:lnTo>
                  <a:lnTo>
                    <a:pt x="3647" y="815"/>
                  </a:lnTo>
                  <a:lnTo>
                    <a:pt x="3652" y="815"/>
                  </a:lnTo>
                  <a:lnTo>
                    <a:pt x="3661" y="815"/>
                  </a:lnTo>
                  <a:lnTo>
                    <a:pt x="3668" y="823"/>
                  </a:lnTo>
                  <a:lnTo>
                    <a:pt x="3673" y="830"/>
                  </a:lnTo>
                  <a:lnTo>
                    <a:pt x="3676" y="839"/>
                  </a:lnTo>
                  <a:lnTo>
                    <a:pt x="3680" y="853"/>
                  </a:lnTo>
                  <a:lnTo>
                    <a:pt x="3682" y="862"/>
                  </a:lnTo>
                  <a:lnTo>
                    <a:pt x="3680" y="867"/>
                  </a:lnTo>
                  <a:lnTo>
                    <a:pt x="3675" y="872"/>
                  </a:lnTo>
                  <a:lnTo>
                    <a:pt x="3673" y="881"/>
                  </a:lnTo>
                  <a:lnTo>
                    <a:pt x="3673" y="891"/>
                  </a:lnTo>
                  <a:lnTo>
                    <a:pt x="3676" y="900"/>
                  </a:lnTo>
                  <a:lnTo>
                    <a:pt x="3680" y="909"/>
                  </a:lnTo>
                  <a:lnTo>
                    <a:pt x="3683" y="921"/>
                  </a:lnTo>
                  <a:lnTo>
                    <a:pt x="3673" y="932"/>
                  </a:lnTo>
                  <a:lnTo>
                    <a:pt x="3666" y="944"/>
                  </a:lnTo>
                  <a:lnTo>
                    <a:pt x="3661" y="956"/>
                  </a:lnTo>
                  <a:lnTo>
                    <a:pt x="3654" y="972"/>
                  </a:lnTo>
                  <a:lnTo>
                    <a:pt x="3650" y="975"/>
                  </a:lnTo>
                  <a:lnTo>
                    <a:pt x="3641" y="986"/>
                  </a:lnTo>
                  <a:lnTo>
                    <a:pt x="3631" y="998"/>
                  </a:lnTo>
                  <a:lnTo>
                    <a:pt x="3620" y="1012"/>
                  </a:lnTo>
                  <a:lnTo>
                    <a:pt x="3608" y="1024"/>
                  </a:lnTo>
                  <a:lnTo>
                    <a:pt x="3598" y="1036"/>
                  </a:lnTo>
                  <a:lnTo>
                    <a:pt x="3591" y="1045"/>
                  </a:lnTo>
                  <a:lnTo>
                    <a:pt x="3587" y="1049"/>
                  </a:lnTo>
                  <a:lnTo>
                    <a:pt x="3575" y="1052"/>
                  </a:lnTo>
                  <a:lnTo>
                    <a:pt x="3563" y="1050"/>
                  </a:lnTo>
                  <a:lnTo>
                    <a:pt x="3552" y="1050"/>
                  </a:lnTo>
                  <a:lnTo>
                    <a:pt x="3542" y="1052"/>
                  </a:lnTo>
                  <a:lnTo>
                    <a:pt x="3533" y="1061"/>
                  </a:lnTo>
                  <a:lnTo>
                    <a:pt x="3526" y="1071"/>
                  </a:lnTo>
                  <a:lnTo>
                    <a:pt x="3521" y="1082"/>
                  </a:lnTo>
                  <a:lnTo>
                    <a:pt x="3514" y="1092"/>
                  </a:lnTo>
                  <a:lnTo>
                    <a:pt x="3504" y="1099"/>
                  </a:lnTo>
                  <a:lnTo>
                    <a:pt x="3502" y="1099"/>
                  </a:lnTo>
                  <a:lnTo>
                    <a:pt x="3500" y="1101"/>
                  </a:lnTo>
                  <a:lnTo>
                    <a:pt x="3498" y="1101"/>
                  </a:lnTo>
                  <a:lnTo>
                    <a:pt x="3495" y="1101"/>
                  </a:lnTo>
                  <a:lnTo>
                    <a:pt x="3491" y="1103"/>
                  </a:lnTo>
                  <a:lnTo>
                    <a:pt x="3495" y="1113"/>
                  </a:lnTo>
                  <a:lnTo>
                    <a:pt x="3502" y="1124"/>
                  </a:lnTo>
                  <a:lnTo>
                    <a:pt x="3507" y="1136"/>
                  </a:lnTo>
                  <a:lnTo>
                    <a:pt x="3514" y="1148"/>
                  </a:lnTo>
                  <a:lnTo>
                    <a:pt x="3517" y="1159"/>
                  </a:lnTo>
                  <a:lnTo>
                    <a:pt x="3519" y="1171"/>
                  </a:lnTo>
                  <a:lnTo>
                    <a:pt x="3516" y="1179"/>
                  </a:lnTo>
                  <a:lnTo>
                    <a:pt x="3509" y="1186"/>
                  </a:lnTo>
                  <a:lnTo>
                    <a:pt x="3495" y="1192"/>
                  </a:lnTo>
                  <a:lnTo>
                    <a:pt x="3472" y="1195"/>
                  </a:lnTo>
                  <a:lnTo>
                    <a:pt x="3472" y="1186"/>
                  </a:lnTo>
                  <a:lnTo>
                    <a:pt x="3470" y="1178"/>
                  </a:lnTo>
                  <a:lnTo>
                    <a:pt x="3470" y="1166"/>
                  </a:lnTo>
                  <a:lnTo>
                    <a:pt x="3472" y="1152"/>
                  </a:lnTo>
                  <a:lnTo>
                    <a:pt x="3472" y="1141"/>
                  </a:lnTo>
                  <a:lnTo>
                    <a:pt x="3467" y="1141"/>
                  </a:lnTo>
                  <a:lnTo>
                    <a:pt x="3463" y="1141"/>
                  </a:lnTo>
                  <a:lnTo>
                    <a:pt x="3460" y="1141"/>
                  </a:lnTo>
                  <a:lnTo>
                    <a:pt x="3458" y="1141"/>
                  </a:lnTo>
                  <a:lnTo>
                    <a:pt x="3456" y="1139"/>
                  </a:lnTo>
                  <a:lnTo>
                    <a:pt x="3453" y="1138"/>
                  </a:lnTo>
                  <a:lnTo>
                    <a:pt x="3449" y="1132"/>
                  </a:lnTo>
                  <a:lnTo>
                    <a:pt x="3453" y="1127"/>
                  </a:lnTo>
                  <a:lnTo>
                    <a:pt x="3456" y="1122"/>
                  </a:lnTo>
                  <a:lnTo>
                    <a:pt x="3458" y="1117"/>
                  </a:lnTo>
                  <a:lnTo>
                    <a:pt x="3462" y="1110"/>
                  </a:lnTo>
                  <a:lnTo>
                    <a:pt x="3453" y="1110"/>
                  </a:lnTo>
                  <a:lnTo>
                    <a:pt x="3442" y="1108"/>
                  </a:lnTo>
                  <a:lnTo>
                    <a:pt x="3430" y="1111"/>
                  </a:lnTo>
                  <a:lnTo>
                    <a:pt x="3416" y="1117"/>
                  </a:lnTo>
                  <a:lnTo>
                    <a:pt x="3404" y="1122"/>
                  </a:lnTo>
                  <a:lnTo>
                    <a:pt x="3404" y="1118"/>
                  </a:lnTo>
                  <a:lnTo>
                    <a:pt x="3406" y="1113"/>
                  </a:lnTo>
                  <a:lnTo>
                    <a:pt x="3408" y="1110"/>
                  </a:lnTo>
                  <a:lnTo>
                    <a:pt x="3409" y="1104"/>
                  </a:lnTo>
                  <a:lnTo>
                    <a:pt x="3411" y="1101"/>
                  </a:lnTo>
                  <a:lnTo>
                    <a:pt x="3414" y="1094"/>
                  </a:lnTo>
                  <a:lnTo>
                    <a:pt x="3411" y="1094"/>
                  </a:lnTo>
                  <a:lnTo>
                    <a:pt x="3408" y="1092"/>
                  </a:lnTo>
                  <a:lnTo>
                    <a:pt x="3404" y="1092"/>
                  </a:lnTo>
                  <a:lnTo>
                    <a:pt x="3399" y="1090"/>
                  </a:lnTo>
                  <a:lnTo>
                    <a:pt x="3388" y="1101"/>
                  </a:lnTo>
                  <a:lnTo>
                    <a:pt x="3376" y="1110"/>
                  </a:lnTo>
                  <a:lnTo>
                    <a:pt x="3364" y="1120"/>
                  </a:lnTo>
                  <a:lnTo>
                    <a:pt x="3357" y="1132"/>
                  </a:lnTo>
                  <a:lnTo>
                    <a:pt x="3364" y="1136"/>
                  </a:lnTo>
                  <a:lnTo>
                    <a:pt x="3369" y="1139"/>
                  </a:lnTo>
                  <a:lnTo>
                    <a:pt x="3373" y="1143"/>
                  </a:lnTo>
                  <a:lnTo>
                    <a:pt x="3376" y="1146"/>
                  </a:lnTo>
                  <a:lnTo>
                    <a:pt x="3380" y="1152"/>
                  </a:lnTo>
                  <a:lnTo>
                    <a:pt x="3390" y="1146"/>
                  </a:lnTo>
                  <a:lnTo>
                    <a:pt x="3399" y="1143"/>
                  </a:lnTo>
                  <a:lnTo>
                    <a:pt x="3408" y="1143"/>
                  </a:lnTo>
                  <a:lnTo>
                    <a:pt x="3418" y="1148"/>
                  </a:lnTo>
                  <a:lnTo>
                    <a:pt x="3423" y="1148"/>
                  </a:lnTo>
                  <a:lnTo>
                    <a:pt x="3423" y="1160"/>
                  </a:lnTo>
                  <a:lnTo>
                    <a:pt x="3404" y="1160"/>
                  </a:lnTo>
                  <a:lnTo>
                    <a:pt x="3397" y="1169"/>
                  </a:lnTo>
                  <a:lnTo>
                    <a:pt x="3390" y="1176"/>
                  </a:lnTo>
                  <a:lnTo>
                    <a:pt x="3385" y="1183"/>
                  </a:lnTo>
                  <a:lnTo>
                    <a:pt x="3380" y="1195"/>
                  </a:lnTo>
                  <a:lnTo>
                    <a:pt x="3394" y="1204"/>
                  </a:lnTo>
                  <a:lnTo>
                    <a:pt x="3402" y="1218"/>
                  </a:lnTo>
                  <a:lnTo>
                    <a:pt x="3409" y="1237"/>
                  </a:lnTo>
                  <a:lnTo>
                    <a:pt x="3413" y="1256"/>
                  </a:lnTo>
                  <a:lnTo>
                    <a:pt x="3414" y="1277"/>
                  </a:lnTo>
                  <a:lnTo>
                    <a:pt x="3414" y="1295"/>
                  </a:lnTo>
                  <a:lnTo>
                    <a:pt x="3402" y="1303"/>
                  </a:lnTo>
                  <a:lnTo>
                    <a:pt x="3395" y="1317"/>
                  </a:lnTo>
                  <a:lnTo>
                    <a:pt x="3388" y="1330"/>
                  </a:lnTo>
                  <a:lnTo>
                    <a:pt x="3380" y="1344"/>
                  </a:lnTo>
                  <a:lnTo>
                    <a:pt x="3362" y="1363"/>
                  </a:lnTo>
                  <a:lnTo>
                    <a:pt x="3339" y="1377"/>
                  </a:lnTo>
                  <a:lnTo>
                    <a:pt x="3315" y="1387"/>
                  </a:lnTo>
                  <a:lnTo>
                    <a:pt x="3287" y="1396"/>
                  </a:lnTo>
                  <a:lnTo>
                    <a:pt x="3261" y="1401"/>
                  </a:lnTo>
                  <a:lnTo>
                    <a:pt x="3261" y="1408"/>
                  </a:lnTo>
                  <a:lnTo>
                    <a:pt x="3261" y="1412"/>
                  </a:lnTo>
                  <a:lnTo>
                    <a:pt x="3261" y="1415"/>
                  </a:lnTo>
                  <a:lnTo>
                    <a:pt x="3261" y="1417"/>
                  </a:lnTo>
                  <a:lnTo>
                    <a:pt x="3263" y="1419"/>
                  </a:lnTo>
                  <a:lnTo>
                    <a:pt x="3263" y="1424"/>
                  </a:lnTo>
                  <a:lnTo>
                    <a:pt x="3264" y="1429"/>
                  </a:lnTo>
                  <a:lnTo>
                    <a:pt x="3261" y="1433"/>
                  </a:lnTo>
                  <a:lnTo>
                    <a:pt x="3257" y="1436"/>
                  </a:lnTo>
                  <a:lnTo>
                    <a:pt x="3256" y="1438"/>
                  </a:lnTo>
                  <a:lnTo>
                    <a:pt x="3252" y="1441"/>
                  </a:lnTo>
                  <a:lnTo>
                    <a:pt x="3245" y="1445"/>
                  </a:lnTo>
                  <a:lnTo>
                    <a:pt x="3243" y="1445"/>
                  </a:lnTo>
                  <a:lnTo>
                    <a:pt x="3242" y="1447"/>
                  </a:lnTo>
                  <a:lnTo>
                    <a:pt x="3240" y="1447"/>
                  </a:lnTo>
                  <a:lnTo>
                    <a:pt x="3238" y="1447"/>
                  </a:lnTo>
                  <a:lnTo>
                    <a:pt x="3235" y="1448"/>
                  </a:lnTo>
                  <a:lnTo>
                    <a:pt x="3233" y="1443"/>
                  </a:lnTo>
                  <a:lnTo>
                    <a:pt x="3231" y="1438"/>
                  </a:lnTo>
                  <a:lnTo>
                    <a:pt x="3231" y="1433"/>
                  </a:lnTo>
                  <a:lnTo>
                    <a:pt x="3231" y="1424"/>
                  </a:lnTo>
                  <a:lnTo>
                    <a:pt x="3235" y="1422"/>
                  </a:lnTo>
                  <a:lnTo>
                    <a:pt x="3238" y="1422"/>
                  </a:lnTo>
                  <a:lnTo>
                    <a:pt x="3242" y="1420"/>
                  </a:lnTo>
                  <a:lnTo>
                    <a:pt x="3243" y="1417"/>
                  </a:lnTo>
                  <a:lnTo>
                    <a:pt x="3245" y="1413"/>
                  </a:lnTo>
                  <a:lnTo>
                    <a:pt x="3243" y="1410"/>
                  </a:lnTo>
                  <a:lnTo>
                    <a:pt x="3240" y="1405"/>
                  </a:lnTo>
                  <a:lnTo>
                    <a:pt x="3238" y="1401"/>
                  </a:lnTo>
                  <a:lnTo>
                    <a:pt x="3235" y="1399"/>
                  </a:lnTo>
                  <a:lnTo>
                    <a:pt x="3233" y="1399"/>
                  </a:lnTo>
                  <a:lnTo>
                    <a:pt x="3228" y="1398"/>
                  </a:lnTo>
                  <a:lnTo>
                    <a:pt x="3222" y="1398"/>
                  </a:lnTo>
                  <a:lnTo>
                    <a:pt x="3216" y="1406"/>
                  </a:lnTo>
                  <a:lnTo>
                    <a:pt x="3209" y="1412"/>
                  </a:lnTo>
                  <a:lnTo>
                    <a:pt x="3203" y="1417"/>
                  </a:lnTo>
                  <a:lnTo>
                    <a:pt x="3198" y="1426"/>
                  </a:lnTo>
                  <a:lnTo>
                    <a:pt x="3196" y="1440"/>
                  </a:lnTo>
                  <a:lnTo>
                    <a:pt x="3212" y="1455"/>
                  </a:lnTo>
                  <a:lnTo>
                    <a:pt x="3224" y="1471"/>
                  </a:lnTo>
                  <a:lnTo>
                    <a:pt x="3235" y="1488"/>
                  </a:lnTo>
                  <a:lnTo>
                    <a:pt x="3240" y="1511"/>
                  </a:lnTo>
                  <a:lnTo>
                    <a:pt x="3242" y="1539"/>
                  </a:lnTo>
                  <a:lnTo>
                    <a:pt x="3184" y="1586"/>
                  </a:lnTo>
                  <a:lnTo>
                    <a:pt x="3177" y="1586"/>
                  </a:lnTo>
                  <a:lnTo>
                    <a:pt x="3172" y="1567"/>
                  </a:lnTo>
                  <a:lnTo>
                    <a:pt x="3161" y="1553"/>
                  </a:lnTo>
                  <a:lnTo>
                    <a:pt x="3147" y="1541"/>
                  </a:lnTo>
                  <a:lnTo>
                    <a:pt x="3132" y="1529"/>
                  </a:lnTo>
                  <a:lnTo>
                    <a:pt x="3116" y="1516"/>
                  </a:lnTo>
                  <a:lnTo>
                    <a:pt x="3109" y="1544"/>
                  </a:lnTo>
                  <a:lnTo>
                    <a:pt x="3100" y="1567"/>
                  </a:lnTo>
                  <a:lnTo>
                    <a:pt x="3109" y="1572"/>
                  </a:lnTo>
                  <a:lnTo>
                    <a:pt x="3113" y="1579"/>
                  </a:lnTo>
                  <a:lnTo>
                    <a:pt x="3114" y="1588"/>
                  </a:lnTo>
                  <a:lnTo>
                    <a:pt x="3120" y="1598"/>
                  </a:lnTo>
                  <a:lnTo>
                    <a:pt x="3121" y="1600"/>
                  </a:lnTo>
                  <a:lnTo>
                    <a:pt x="3125" y="1600"/>
                  </a:lnTo>
                  <a:lnTo>
                    <a:pt x="3128" y="1600"/>
                  </a:lnTo>
                  <a:lnTo>
                    <a:pt x="3132" y="1600"/>
                  </a:lnTo>
                  <a:lnTo>
                    <a:pt x="3135" y="1602"/>
                  </a:lnTo>
                  <a:lnTo>
                    <a:pt x="3149" y="1616"/>
                  </a:lnTo>
                  <a:lnTo>
                    <a:pt x="3160" y="1637"/>
                  </a:lnTo>
                  <a:lnTo>
                    <a:pt x="3167" y="1661"/>
                  </a:lnTo>
                  <a:lnTo>
                    <a:pt x="3168" y="1686"/>
                  </a:lnTo>
                  <a:lnTo>
                    <a:pt x="3158" y="1686"/>
                  </a:lnTo>
                  <a:lnTo>
                    <a:pt x="3147" y="1677"/>
                  </a:lnTo>
                  <a:lnTo>
                    <a:pt x="3137" y="1672"/>
                  </a:lnTo>
                  <a:lnTo>
                    <a:pt x="3135" y="1670"/>
                  </a:lnTo>
                  <a:lnTo>
                    <a:pt x="3126" y="1663"/>
                  </a:lnTo>
                  <a:lnTo>
                    <a:pt x="3120" y="1649"/>
                  </a:lnTo>
                  <a:lnTo>
                    <a:pt x="3116" y="1633"/>
                  </a:lnTo>
                  <a:lnTo>
                    <a:pt x="3111" y="1619"/>
                  </a:lnTo>
                  <a:lnTo>
                    <a:pt x="3106" y="1605"/>
                  </a:lnTo>
                  <a:lnTo>
                    <a:pt x="3097" y="1593"/>
                  </a:lnTo>
                  <a:lnTo>
                    <a:pt x="3097" y="1590"/>
                  </a:lnTo>
                  <a:lnTo>
                    <a:pt x="3088" y="1593"/>
                  </a:lnTo>
                  <a:lnTo>
                    <a:pt x="3088" y="1590"/>
                  </a:lnTo>
                  <a:lnTo>
                    <a:pt x="3085" y="1576"/>
                  </a:lnTo>
                  <a:lnTo>
                    <a:pt x="3085" y="1558"/>
                  </a:lnTo>
                  <a:lnTo>
                    <a:pt x="3085" y="1539"/>
                  </a:lnTo>
                  <a:lnTo>
                    <a:pt x="3085" y="1518"/>
                  </a:lnTo>
                  <a:lnTo>
                    <a:pt x="3083" y="1499"/>
                  </a:lnTo>
                  <a:lnTo>
                    <a:pt x="3076" y="1483"/>
                  </a:lnTo>
                  <a:lnTo>
                    <a:pt x="3065" y="1471"/>
                  </a:lnTo>
                  <a:lnTo>
                    <a:pt x="3062" y="1474"/>
                  </a:lnTo>
                  <a:lnTo>
                    <a:pt x="3057" y="1478"/>
                  </a:lnTo>
                  <a:lnTo>
                    <a:pt x="3053" y="1480"/>
                  </a:lnTo>
                  <a:lnTo>
                    <a:pt x="3046" y="1481"/>
                  </a:lnTo>
                  <a:lnTo>
                    <a:pt x="3039" y="1481"/>
                  </a:lnTo>
                  <a:lnTo>
                    <a:pt x="3037" y="1481"/>
                  </a:lnTo>
                  <a:lnTo>
                    <a:pt x="3037" y="1480"/>
                  </a:lnTo>
                  <a:lnTo>
                    <a:pt x="3037" y="1480"/>
                  </a:lnTo>
                  <a:lnTo>
                    <a:pt x="3037" y="1480"/>
                  </a:lnTo>
                  <a:lnTo>
                    <a:pt x="3036" y="1480"/>
                  </a:lnTo>
                  <a:lnTo>
                    <a:pt x="3034" y="1478"/>
                  </a:lnTo>
                  <a:lnTo>
                    <a:pt x="3034" y="1457"/>
                  </a:lnTo>
                  <a:lnTo>
                    <a:pt x="3029" y="1440"/>
                  </a:lnTo>
                  <a:lnTo>
                    <a:pt x="3022" y="1426"/>
                  </a:lnTo>
                  <a:lnTo>
                    <a:pt x="3011" y="1413"/>
                  </a:lnTo>
                  <a:lnTo>
                    <a:pt x="3003" y="1399"/>
                  </a:lnTo>
                  <a:lnTo>
                    <a:pt x="2992" y="1382"/>
                  </a:lnTo>
                  <a:lnTo>
                    <a:pt x="2989" y="1385"/>
                  </a:lnTo>
                  <a:lnTo>
                    <a:pt x="2987" y="1387"/>
                  </a:lnTo>
                  <a:lnTo>
                    <a:pt x="2985" y="1391"/>
                  </a:lnTo>
                  <a:lnTo>
                    <a:pt x="2983" y="1392"/>
                  </a:lnTo>
                  <a:lnTo>
                    <a:pt x="2982" y="1394"/>
                  </a:lnTo>
                  <a:lnTo>
                    <a:pt x="2966" y="1396"/>
                  </a:lnTo>
                  <a:lnTo>
                    <a:pt x="2952" y="1394"/>
                  </a:lnTo>
                  <a:lnTo>
                    <a:pt x="2938" y="1394"/>
                  </a:lnTo>
                  <a:lnTo>
                    <a:pt x="2934" y="1408"/>
                  </a:lnTo>
                  <a:lnTo>
                    <a:pt x="2929" y="1415"/>
                  </a:lnTo>
                  <a:lnTo>
                    <a:pt x="2926" y="1417"/>
                  </a:lnTo>
                  <a:lnTo>
                    <a:pt x="2919" y="1417"/>
                  </a:lnTo>
                  <a:lnTo>
                    <a:pt x="2912" y="1419"/>
                  </a:lnTo>
                  <a:lnTo>
                    <a:pt x="2905" y="1424"/>
                  </a:lnTo>
                  <a:lnTo>
                    <a:pt x="2893" y="1455"/>
                  </a:lnTo>
                  <a:lnTo>
                    <a:pt x="2877" y="1455"/>
                  </a:lnTo>
                  <a:lnTo>
                    <a:pt x="2868" y="1462"/>
                  </a:lnTo>
                  <a:lnTo>
                    <a:pt x="2859" y="1471"/>
                  </a:lnTo>
                  <a:lnTo>
                    <a:pt x="2847" y="1478"/>
                  </a:lnTo>
                  <a:lnTo>
                    <a:pt x="2844" y="1513"/>
                  </a:lnTo>
                  <a:lnTo>
                    <a:pt x="2835" y="1543"/>
                  </a:lnTo>
                  <a:lnTo>
                    <a:pt x="2823" y="1567"/>
                  </a:lnTo>
                  <a:lnTo>
                    <a:pt x="2804" y="1590"/>
                  </a:lnTo>
                  <a:lnTo>
                    <a:pt x="2802" y="1590"/>
                  </a:lnTo>
                  <a:lnTo>
                    <a:pt x="2800" y="1588"/>
                  </a:lnTo>
                  <a:lnTo>
                    <a:pt x="2798" y="1588"/>
                  </a:lnTo>
                  <a:lnTo>
                    <a:pt x="2798" y="1588"/>
                  </a:lnTo>
                  <a:lnTo>
                    <a:pt x="2797" y="1586"/>
                  </a:lnTo>
                  <a:lnTo>
                    <a:pt x="2786" y="1574"/>
                  </a:lnTo>
                  <a:lnTo>
                    <a:pt x="2776" y="1555"/>
                  </a:lnTo>
                  <a:lnTo>
                    <a:pt x="2770" y="1539"/>
                  </a:lnTo>
                  <a:lnTo>
                    <a:pt x="2769" y="1536"/>
                  </a:lnTo>
                  <a:lnTo>
                    <a:pt x="2770" y="1532"/>
                  </a:lnTo>
                  <a:lnTo>
                    <a:pt x="2772" y="1529"/>
                  </a:lnTo>
                  <a:lnTo>
                    <a:pt x="2774" y="1527"/>
                  </a:lnTo>
                  <a:lnTo>
                    <a:pt x="2774" y="1525"/>
                  </a:lnTo>
                  <a:lnTo>
                    <a:pt x="2756" y="1499"/>
                  </a:lnTo>
                  <a:lnTo>
                    <a:pt x="2744" y="1471"/>
                  </a:lnTo>
                  <a:lnTo>
                    <a:pt x="2736" y="1441"/>
                  </a:lnTo>
                  <a:lnTo>
                    <a:pt x="2732" y="1405"/>
                  </a:lnTo>
                  <a:lnTo>
                    <a:pt x="2720" y="1406"/>
                  </a:lnTo>
                  <a:lnTo>
                    <a:pt x="2711" y="1406"/>
                  </a:lnTo>
                  <a:lnTo>
                    <a:pt x="2701" y="1405"/>
                  </a:lnTo>
                  <a:lnTo>
                    <a:pt x="2697" y="1401"/>
                  </a:lnTo>
                  <a:lnTo>
                    <a:pt x="2692" y="1398"/>
                  </a:lnTo>
                  <a:lnTo>
                    <a:pt x="2688" y="1394"/>
                  </a:lnTo>
                  <a:lnTo>
                    <a:pt x="2685" y="1391"/>
                  </a:lnTo>
                  <a:lnTo>
                    <a:pt x="2688" y="1378"/>
                  </a:lnTo>
                  <a:lnTo>
                    <a:pt x="2681" y="1368"/>
                  </a:lnTo>
                  <a:lnTo>
                    <a:pt x="2669" y="1359"/>
                  </a:lnTo>
                  <a:lnTo>
                    <a:pt x="2657" y="1351"/>
                  </a:lnTo>
                  <a:lnTo>
                    <a:pt x="2646" y="1340"/>
                  </a:lnTo>
                  <a:lnTo>
                    <a:pt x="2617" y="1344"/>
                  </a:lnTo>
                  <a:lnTo>
                    <a:pt x="2587" y="1344"/>
                  </a:lnTo>
                  <a:lnTo>
                    <a:pt x="2557" y="1342"/>
                  </a:lnTo>
                  <a:lnTo>
                    <a:pt x="2528" y="1340"/>
                  </a:lnTo>
                  <a:lnTo>
                    <a:pt x="2523" y="1330"/>
                  </a:lnTo>
                  <a:lnTo>
                    <a:pt x="2516" y="1317"/>
                  </a:lnTo>
                  <a:lnTo>
                    <a:pt x="2505" y="1321"/>
                  </a:lnTo>
                  <a:lnTo>
                    <a:pt x="2498" y="1323"/>
                  </a:lnTo>
                  <a:lnTo>
                    <a:pt x="2489" y="1324"/>
                  </a:lnTo>
                  <a:lnTo>
                    <a:pt x="2477" y="1324"/>
                  </a:lnTo>
                  <a:lnTo>
                    <a:pt x="2467" y="1317"/>
                  </a:lnTo>
                  <a:lnTo>
                    <a:pt x="2456" y="1312"/>
                  </a:lnTo>
                  <a:lnTo>
                    <a:pt x="2444" y="1305"/>
                  </a:lnTo>
                  <a:lnTo>
                    <a:pt x="2435" y="1298"/>
                  </a:lnTo>
                  <a:lnTo>
                    <a:pt x="2432" y="1288"/>
                  </a:lnTo>
                  <a:lnTo>
                    <a:pt x="2427" y="1279"/>
                  </a:lnTo>
                  <a:lnTo>
                    <a:pt x="2416" y="1270"/>
                  </a:lnTo>
                  <a:lnTo>
                    <a:pt x="2414" y="1270"/>
                  </a:lnTo>
                  <a:lnTo>
                    <a:pt x="2413" y="1270"/>
                  </a:lnTo>
                  <a:lnTo>
                    <a:pt x="2411" y="1270"/>
                  </a:lnTo>
                  <a:lnTo>
                    <a:pt x="2407" y="1270"/>
                  </a:lnTo>
                  <a:lnTo>
                    <a:pt x="2400" y="1270"/>
                  </a:lnTo>
                  <a:lnTo>
                    <a:pt x="2404" y="1284"/>
                  </a:lnTo>
                  <a:lnTo>
                    <a:pt x="2409" y="1300"/>
                  </a:lnTo>
                  <a:lnTo>
                    <a:pt x="2418" y="1316"/>
                  </a:lnTo>
                  <a:lnTo>
                    <a:pt x="2425" y="1330"/>
                  </a:lnTo>
                  <a:lnTo>
                    <a:pt x="2432" y="1340"/>
                  </a:lnTo>
                  <a:lnTo>
                    <a:pt x="2434" y="1335"/>
                  </a:lnTo>
                  <a:lnTo>
                    <a:pt x="2435" y="1333"/>
                  </a:lnTo>
                  <a:lnTo>
                    <a:pt x="2435" y="1331"/>
                  </a:lnTo>
                  <a:lnTo>
                    <a:pt x="2437" y="1331"/>
                  </a:lnTo>
                  <a:lnTo>
                    <a:pt x="2439" y="1331"/>
                  </a:lnTo>
                  <a:lnTo>
                    <a:pt x="2444" y="1333"/>
                  </a:lnTo>
                  <a:lnTo>
                    <a:pt x="2446" y="1338"/>
                  </a:lnTo>
                  <a:lnTo>
                    <a:pt x="2448" y="1344"/>
                  </a:lnTo>
                  <a:lnTo>
                    <a:pt x="2448" y="1349"/>
                  </a:lnTo>
                  <a:lnTo>
                    <a:pt x="2449" y="1354"/>
                  </a:lnTo>
                  <a:lnTo>
                    <a:pt x="2451" y="1359"/>
                  </a:lnTo>
                  <a:lnTo>
                    <a:pt x="2458" y="1358"/>
                  </a:lnTo>
                  <a:lnTo>
                    <a:pt x="2467" y="1356"/>
                  </a:lnTo>
                  <a:lnTo>
                    <a:pt x="2477" y="1356"/>
                  </a:lnTo>
                  <a:lnTo>
                    <a:pt x="2493" y="1338"/>
                  </a:lnTo>
                  <a:lnTo>
                    <a:pt x="2512" y="1324"/>
                  </a:lnTo>
                  <a:lnTo>
                    <a:pt x="2514" y="1342"/>
                  </a:lnTo>
                  <a:lnTo>
                    <a:pt x="2516" y="1356"/>
                  </a:lnTo>
                  <a:lnTo>
                    <a:pt x="2542" y="1370"/>
                  </a:lnTo>
                  <a:lnTo>
                    <a:pt x="2563" y="1387"/>
                  </a:lnTo>
                  <a:lnTo>
                    <a:pt x="2556" y="1396"/>
                  </a:lnTo>
                  <a:lnTo>
                    <a:pt x="2550" y="1405"/>
                  </a:lnTo>
                  <a:lnTo>
                    <a:pt x="2544" y="1412"/>
                  </a:lnTo>
                  <a:lnTo>
                    <a:pt x="2531" y="1417"/>
                  </a:lnTo>
                  <a:lnTo>
                    <a:pt x="2531" y="1436"/>
                  </a:lnTo>
                  <a:lnTo>
                    <a:pt x="2514" y="1447"/>
                  </a:lnTo>
                  <a:lnTo>
                    <a:pt x="2496" y="1459"/>
                  </a:lnTo>
                  <a:lnTo>
                    <a:pt x="2496" y="1467"/>
                  </a:lnTo>
                  <a:lnTo>
                    <a:pt x="2474" y="1467"/>
                  </a:lnTo>
                  <a:lnTo>
                    <a:pt x="2461" y="1474"/>
                  </a:lnTo>
                  <a:lnTo>
                    <a:pt x="2451" y="1485"/>
                  </a:lnTo>
                  <a:lnTo>
                    <a:pt x="2439" y="1494"/>
                  </a:lnTo>
                  <a:lnTo>
                    <a:pt x="2423" y="1501"/>
                  </a:lnTo>
                  <a:lnTo>
                    <a:pt x="2407" y="1504"/>
                  </a:lnTo>
                  <a:lnTo>
                    <a:pt x="2390" y="1509"/>
                  </a:lnTo>
                  <a:lnTo>
                    <a:pt x="2376" y="1515"/>
                  </a:lnTo>
                  <a:lnTo>
                    <a:pt x="2364" y="1522"/>
                  </a:lnTo>
                  <a:lnTo>
                    <a:pt x="2352" y="1525"/>
                  </a:lnTo>
                  <a:lnTo>
                    <a:pt x="2343" y="1525"/>
                  </a:lnTo>
                  <a:lnTo>
                    <a:pt x="2339" y="1523"/>
                  </a:lnTo>
                  <a:lnTo>
                    <a:pt x="2338" y="1523"/>
                  </a:lnTo>
                  <a:lnTo>
                    <a:pt x="2336" y="1522"/>
                  </a:lnTo>
                  <a:lnTo>
                    <a:pt x="2336" y="1522"/>
                  </a:lnTo>
                  <a:lnTo>
                    <a:pt x="2334" y="1520"/>
                  </a:lnTo>
                  <a:lnTo>
                    <a:pt x="2332" y="1516"/>
                  </a:lnTo>
                  <a:lnTo>
                    <a:pt x="2327" y="1506"/>
                  </a:lnTo>
                  <a:lnTo>
                    <a:pt x="2325" y="1495"/>
                  </a:lnTo>
                  <a:lnTo>
                    <a:pt x="2325" y="1485"/>
                  </a:lnTo>
                  <a:lnTo>
                    <a:pt x="2324" y="1474"/>
                  </a:lnTo>
                  <a:lnTo>
                    <a:pt x="2315" y="1457"/>
                  </a:lnTo>
                  <a:lnTo>
                    <a:pt x="2303" y="1441"/>
                  </a:lnTo>
                  <a:lnTo>
                    <a:pt x="2290" y="1427"/>
                  </a:lnTo>
                  <a:lnTo>
                    <a:pt x="2278" y="1413"/>
                  </a:lnTo>
                  <a:lnTo>
                    <a:pt x="2275" y="1403"/>
                  </a:lnTo>
                  <a:lnTo>
                    <a:pt x="2273" y="1391"/>
                  </a:lnTo>
                  <a:lnTo>
                    <a:pt x="2271" y="1378"/>
                  </a:lnTo>
                  <a:lnTo>
                    <a:pt x="2266" y="1368"/>
                  </a:lnTo>
                  <a:lnTo>
                    <a:pt x="2247" y="1356"/>
                  </a:lnTo>
                  <a:lnTo>
                    <a:pt x="2242" y="1344"/>
                  </a:lnTo>
                  <a:lnTo>
                    <a:pt x="2236" y="1331"/>
                  </a:lnTo>
                  <a:lnTo>
                    <a:pt x="2231" y="1319"/>
                  </a:lnTo>
                  <a:lnTo>
                    <a:pt x="2224" y="1309"/>
                  </a:lnTo>
                  <a:lnTo>
                    <a:pt x="2214" y="1302"/>
                  </a:lnTo>
                  <a:lnTo>
                    <a:pt x="2208" y="1300"/>
                  </a:lnTo>
                  <a:lnTo>
                    <a:pt x="2207" y="1296"/>
                  </a:lnTo>
                  <a:lnTo>
                    <a:pt x="2203" y="1295"/>
                  </a:lnTo>
                  <a:lnTo>
                    <a:pt x="2200" y="1293"/>
                  </a:lnTo>
                  <a:lnTo>
                    <a:pt x="2196" y="1291"/>
                  </a:lnTo>
                  <a:lnTo>
                    <a:pt x="2193" y="1288"/>
                  </a:lnTo>
                  <a:lnTo>
                    <a:pt x="2189" y="1282"/>
                  </a:lnTo>
                  <a:lnTo>
                    <a:pt x="2186" y="1275"/>
                  </a:lnTo>
                  <a:lnTo>
                    <a:pt x="2182" y="1275"/>
                  </a:lnTo>
                  <a:lnTo>
                    <a:pt x="2182" y="1282"/>
                  </a:lnTo>
                  <a:lnTo>
                    <a:pt x="2194" y="1298"/>
                  </a:lnTo>
                  <a:lnTo>
                    <a:pt x="2205" y="1316"/>
                  </a:lnTo>
                  <a:lnTo>
                    <a:pt x="2212" y="1337"/>
                  </a:lnTo>
                  <a:lnTo>
                    <a:pt x="2219" y="1356"/>
                  </a:lnTo>
                  <a:lnTo>
                    <a:pt x="2228" y="1375"/>
                  </a:lnTo>
                  <a:lnTo>
                    <a:pt x="2231" y="1378"/>
                  </a:lnTo>
                  <a:lnTo>
                    <a:pt x="2236" y="1382"/>
                  </a:lnTo>
                  <a:lnTo>
                    <a:pt x="2240" y="1385"/>
                  </a:lnTo>
                  <a:lnTo>
                    <a:pt x="2245" y="1389"/>
                  </a:lnTo>
                  <a:lnTo>
                    <a:pt x="2247" y="1394"/>
                  </a:lnTo>
                  <a:lnTo>
                    <a:pt x="2247" y="1429"/>
                  </a:lnTo>
                  <a:lnTo>
                    <a:pt x="2250" y="1433"/>
                  </a:lnTo>
                  <a:lnTo>
                    <a:pt x="2254" y="1438"/>
                  </a:lnTo>
                  <a:lnTo>
                    <a:pt x="2259" y="1441"/>
                  </a:lnTo>
                  <a:lnTo>
                    <a:pt x="2264" y="1445"/>
                  </a:lnTo>
                  <a:lnTo>
                    <a:pt x="2266" y="1448"/>
                  </a:lnTo>
                  <a:lnTo>
                    <a:pt x="2269" y="1459"/>
                  </a:lnTo>
                  <a:lnTo>
                    <a:pt x="2271" y="1467"/>
                  </a:lnTo>
                  <a:lnTo>
                    <a:pt x="2275" y="1478"/>
                  </a:lnTo>
                  <a:lnTo>
                    <a:pt x="2285" y="1490"/>
                  </a:lnTo>
                  <a:lnTo>
                    <a:pt x="2301" y="1501"/>
                  </a:lnTo>
                  <a:lnTo>
                    <a:pt x="2318" y="1511"/>
                  </a:lnTo>
                  <a:lnTo>
                    <a:pt x="2332" y="1522"/>
                  </a:lnTo>
                  <a:lnTo>
                    <a:pt x="2336" y="1527"/>
                  </a:lnTo>
                  <a:lnTo>
                    <a:pt x="2336" y="1534"/>
                  </a:lnTo>
                  <a:lnTo>
                    <a:pt x="2336" y="1539"/>
                  </a:lnTo>
                  <a:lnTo>
                    <a:pt x="2338" y="1544"/>
                  </a:lnTo>
                  <a:lnTo>
                    <a:pt x="2343" y="1550"/>
                  </a:lnTo>
                  <a:lnTo>
                    <a:pt x="2358" y="1551"/>
                  </a:lnTo>
                  <a:lnTo>
                    <a:pt x="2376" y="1543"/>
                  </a:lnTo>
                  <a:lnTo>
                    <a:pt x="2400" y="1537"/>
                  </a:lnTo>
                  <a:lnTo>
                    <a:pt x="2423" y="1532"/>
                  </a:lnTo>
                  <a:lnTo>
                    <a:pt x="2444" y="1529"/>
                  </a:lnTo>
                  <a:lnTo>
                    <a:pt x="2444" y="1532"/>
                  </a:lnTo>
                  <a:lnTo>
                    <a:pt x="2439" y="1541"/>
                  </a:lnTo>
                  <a:lnTo>
                    <a:pt x="2439" y="1551"/>
                  </a:lnTo>
                  <a:lnTo>
                    <a:pt x="2435" y="1563"/>
                  </a:lnTo>
                  <a:lnTo>
                    <a:pt x="2428" y="1581"/>
                  </a:lnTo>
                  <a:lnTo>
                    <a:pt x="2418" y="1602"/>
                  </a:lnTo>
                  <a:lnTo>
                    <a:pt x="2406" y="1623"/>
                  </a:lnTo>
                  <a:lnTo>
                    <a:pt x="2393" y="1640"/>
                  </a:lnTo>
                  <a:lnTo>
                    <a:pt x="2374" y="1659"/>
                  </a:lnTo>
                  <a:lnTo>
                    <a:pt x="2353" y="1677"/>
                  </a:lnTo>
                  <a:lnTo>
                    <a:pt x="2331" y="1694"/>
                  </a:lnTo>
                  <a:lnTo>
                    <a:pt x="2310" y="1714"/>
                  </a:lnTo>
                  <a:lnTo>
                    <a:pt x="2292" y="1735"/>
                  </a:lnTo>
                  <a:lnTo>
                    <a:pt x="2278" y="1759"/>
                  </a:lnTo>
                  <a:lnTo>
                    <a:pt x="2273" y="1782"/>
                  </a:lnTo>
                  <a:lnTo>
                    <a:pt x="2276" y="1803"/>
                  </a:lnTo>
                  <a:lnTo>
                    <a:pt x="2283" y="1824"/>
                  </a:lnTo>
                  <a:lnTo>
                    <a:pt x="2290" y="1843"/>
                  </a:lnTo>
                  <a:lnTo>
                    <a:pt x="2297" y="1864"/>
                  </a:lnTo>
                  <a:lnTo>
                    <a:pt x="2303" y="1885"/>
                  </a:lnTo>
                  <a:lnTo>
                    <a:pt x="2301" y="1906"/>
                  </a:lnTo>
                  <a:lnTo>
                    <a:pt x="2290" y="1928"/>
                  </a:lnTo>
                  <a:lnTo>
                    <a:pt x="2275" y="1939"/>
                  </a:lnTo>
                  <a:lnTo>
                    <a:pt x="2257" y="1947"/>
                  </a:lnTo>
                  <a:lnTo>
                    <a:pt x="2240" y="1956"/>
                  </a:lnTo>
                  <a:lnTo>
                    <a:pt x="2226" y="1968"/>
                  </a:lnTo>
                  <a:lnTo>
                    <a:pt x="2217" y="1986"/>
                  </a:lnTo>
                  <a:lnTo>
                    <a:pt x="2226" y="1996"/>
                  </a:lnTo>
                  <a:lnTo>
                    <a:pt x="2233" y="2012"/>
                  </a:lnTo>
                  <a:lnTo>
                    <a:pt x="2236" y="2031"/>
                  </a:lnTo>
                  <a:lnTo>
                    <a:pt x="2231" y="2035"/>
                  </a:lnTo>
                  <a:lnTo>
                    <a:pt x="2228" y="2038"/>
                  </a:lnTo>
                  <a:lnTo>
                    <a:pt x="2226" y="2040"/>
                  </a:lnTo>
                  <a:lnTo>
                    <a:pt x="2222" y="2043"/>
                  </a:lnTo>
                  <a:lnTo>
                    <a:pt x="2221" y="2047"/>
                  </a:lnTo>
                  <a:lnTo>
                    <a:pt x="2217" y="2050"/>
                  </a:lnTo>
                  <a:lnTo>
                    <a:pt x="2198" y="2054"/>
                  </a:lnTo>
                  <a:lnTo>
                    <a:pt x="2193" y="2066"/>
                  </a:lnTo>
                  <a:lnTo>
                    <a:pt x="2191" y="2080"/>
                  </a:lnTo>
                  <a:lnTo>
                    <a:pt x="2189" y="2094"/>
                  </a:lnTo>
                  <a:lnTo>
                    <a:pt x="2186" y="2108"/>
                  </a:lnTo>
                  <a:lnTo>
                    <a:pt x="2163" y="2127"/>
                  </a:lnTo>
                  <a:lnTo>
                    <a:pt x="2156" y="2143"/>
                  </a:lnTo>
                  <a:lnTo>
                    <a:pt x="2147" y="2159"/>
                  </a:lnTo>
                  <a:lnTo>
                    <a:pt x="2130" y="2174"/>
                  </a:lnTo>
                  <a:lnTo>
                    <a:pt x="2109" y="2187"/>
                  </a:lnTo>
                  <a:lnTo>
                    <a:pt x="2083" y="2194"/>
                  </a:lnTo>
                  <a:lnTo>
                    <a:pt x="2057" y="2201"/>
                  </a:lnTo>
                  <a:lnTo>
                    <a:pt x="2030" y="2206"/>
                  </a:lnTo>
                  <a:lnTo>
                    <a:pt x="2006" y="2211"/>
                  </a:lnTo>
                  <a:lnTo>
                    <a:pt x="2001" y="2208"/>
                  </a:lnTo>
                  <a:lnTo>
                    <a:pt x="1997" y="2204"/>
                  </a:lnTo>
                  <a:lnTo>
                    <a:pt x="1994" y="2202"/>
                  </a:lnTo>
                  <a:lnTo>
                    <a:pt x="1990" y="2197"/>
                  </a:lnTo>
                  <a:lnTo>
                    <a:pt x="1987" y="2194"/>
                  </a:lnTo>
                  <a:lnTo>
                    <a:pt x="1985" y="2185"/>
                  </a:lnTo>
                  <a:lnTo>
                    <a:pt x="1985" y="2174"/>
                  </a:lnTo>
                  <a:lnTo>
                    <a:pt x="1985" y="2162"/>
                  </a:lnTo>
                  <a:lnTo>
                    <a:pt x="1983" y="2150"/>
                  </a:lnTo>
                  <a:lnTo>
                    <a:pt x="1973" y="2133"/>
                  </a:lnTo>
                  <a:lnTo>
                    <a:pt x="1959" y="2117"/>
                  </a:lnTo>
                  <a:lnTo>
                    <a:pt x="1945" y="2099"/>
                  </a:lnTo>
                  <a:lnTo>
                    <a:pt x="1936" y="2082"/>
                  </a:lnTo>
                  <a:lnTo>
                    <a:pt x="1940" y="2070"/>
                  </a:lnTo>
                  <a:lnTo>
                    <a:pt x="1940" y="2068"/>
                  </a:lnTo>
                  <a:lnTo>
                    <a:pt x="1936" y="2064"/>
                  </a:lnTo>
                  <a:lnTo>
                    <a:pt x="1933" y="2063"/>
                  </a:lnTo>
                  <a:lnTo>
                    <a:pt x="1931" y="2059"/>
                  </a:lnTo>
                  <a:lnTo>
                    <a:pt x="1929" y="2059"/>
                  </a:lnTo>
                  <a:lnTo>
                    <a:pt x="1927" y="2054"/>
                  </a:lnTo>
                  <a:lnTo>
                    <a:pt x="1929" y="2049"/>
                  </a:lnTo>
                  <a:lnTo>
                    <a:pt x="1929" y="2045"/>
                  </a:lnTo>
                  <a:lnTo>
                    <a:pt x="1931" y="2042"/>
                  </a:lnTo>
                  <a:lnTo>
                    <a:pt x="1933" y="2038"/>
                  </a:lnTo>
                  <a:lnTo>
                    <a:pt x="1926" y="2035"/>
                  </a:lnTo>
                  <a:lnTo>
                    <a:pt x="1926" y="2031"/>
                  </a:lnTo>
                  <a:lnTo>
                    <a:pt x="1926" y="2028"/>
                  </a:lnTo>
                  <a:lnTo>
                    <a:pt x="1927" y="2023"/>
                  </a:lnTo>
                  <a:lnTo>
                    <a:pt x="1929" y="2019"/>
                  </a:lnTo>
                  <a:lnTo>
                    <a:pt x="1929" y="2014"/>
                  </a:lnTo>
                  <a:lnTo>
                    <a:pt x="1929" y="2009"/>
                  </a:lnTo>
                  <a:lnTo>
                    <a:pt x="1922" y="1995"/>
                  </a:lnTo>
                  <a:lnTo>
                    <a:pt x="1912" y="1979"/>
                  </a:lnTo>
                  <a:lnTo>
                    <a:pt x="1901" y="1965"/>
                  </a:lnTo>
                  <a:lnTo>
                    <a:pt x="1894" y="1951"/>
                  </a:lnTo>
                  <a:lnTo>
                    <a:pt x="1892" y="1934"/>
                  </a:lnTo>
                  <a:lnTo>
                    <a:pt x="1896" y="1914"/>
                  </a:lnTo>
                  <a:lnTo>
                    <a:pt x="1903" y="1897"/>
                  </a:lnTo>
                  <a:lnTo>
                    <a:pt x="1913" y="1878"/>
                  </a:lnTo>
                  <a:lnTo>
                    <a:pt x="1920" y="1862"/>
                  </a:lnTo>
                  <a:lnTo>
                    <a:pt x="1926" y="1848"/>
                  </a:lnTo>
                  <a:lnTo>
                    <a:pt x="1919" y="1834"/>
                  </a:lnTo>
                  <a:lnTo>
                    <a:pt x="1917" y="1822"/>
                  </a:lnTo>
                  <a:lnTo>
                    <a:pt x="1917" y="1810"/>
                  </a:lnTo>
                  <a:lnTo>
                    <a:pt x="1913" y="1794"/>
                  </a:lnTo>
                  <a:lnTo>
                    <a:pt x="1903" y="1773"/>
                  </a:lnTo>
                  <a:lnTo>
                    <a:pt x="1887" y="1752"/>
                  </a:lnTo>
                  <a:lnTo>
                    <a:pt x="1872" y="1733"/>
                  </a:lnTo>
                  <a:lnTo>
                    <a:pt x="1856" y="1717"/>
                  </a:lnTo>
                  <a:lnTo>
                    <a:pt x="1861" y="1696"/>
                  </a:lnTo>
                  <a:lnTo>
                    <a:pt x="1866" y="1677"/>
                  </a:lnTo>
                  <a:lnTo>
                    <a:pt x="1872" y="1656"/>
                  </a:lnTo>
                  <a:lnTo>
                    <a:pt x="1866" y="1653"/>
                  </a:lnTo>
                  <a:lnTo>
                    <a:pt x="1863" y="1651"/>
                  </a:lnTo>
                  <a:lnTo>
                    <a:pt x="1859" y="1647"/>
                  </a:lnTo>
                  <a:lnTo>
                    <a:pt x="1856" y="1646"/>
                  </a:lnTo>
                  <a:lnTo>
                    <a:pt x="1851" y="1646"/>
                  </a:lnTo>
                  <a:lnTo>
                    <a:pt x="1844" y="1644"/>
                  </a:lnTo>
                  <a:lnTo>
                    <a:pt x="1840" y="1647"/>
                  </a:lnTo>
                  <a:lnTo>
                    <a:pt x="1838" y="1649"/>
                  </a:lnTo>
                  <a:lnTo>
                    <a:pt x="1833" y="1651"/>
                  </a:lnTo>
                  <a:lnTo>
                    <a:pt x="1828" y="1651"/>
                  </a:lnTo>
                  <a:lnTo>
                    <a:pt x="1821" y="1651"/>
                  </a:lnTo>
                  <a:lnTo>
                    <a:pt x="1802" y="1621"/>
                  </a:lnTo>
                  <a:lnTo>
                    <a:pt x="1789" y="1619"/>
                  </a:lnTo>
                  <a:lnTo>
                    <a:pt x="1777" y="1618"/>
                  </a:lnTo>
                  <a:lnTo>
                    <a:pt x="1763" y="1616"/>
                  </a:lnTo>
                  <a:lnTo>
                    <a:pt x="1746" y="1623"/>
                  </a:lnTo>
                  <a:lnTo>
                    <a:pt x="1728" y="1630"/>
                  </a:lnTo>
                  <a:lnTo>
                    <a:pt x="1714" y="1635"/>
                  </a:lnTo>
                  <a:lnTo>
                    <a:pt x="1680" y="1628"/>
                  </a:lnTo>
                  <a:lnTo>
                    <a:pt x="1676" y="1640"/>
                  </a:lnTo>
                  <a:lnTo>
                    <a:pt x="1664" y="1640"/>
                  </a:lnTo>
                  <a:lnTo>
                    <a:pt x="1653" y="1637"/>
                  </a:lnTo>
                  <a:lnTo>
                    <a:pt x="1645" y="1635"/>
                  </a:lnTo>
                  <a:lnTo>
                    <a:pt x="1641" y="1637"/>
                  </a:lnTo>
                  <a:lnTo>
                    <a:pt x="1638" y="1640"/>
                  </a:lnTo>
                  <a:lnTo>
                    <a:pt x="1632" y="1642"/>
                  </a:lnTo>
                  <a:lnTo>
                    <a:pt x="1625" y="1644"/>
                  </a:lnTo>
                  <a:lnTo>
                    <a:pt x="1615" y="1632"/>
                  </a:lnTo>
                  <a:lnTo>
                    <a:pt x="1601" y="1625"/>
                  </a:lnTo>
                  <a:lnTo>
                    <a:pt x="1587" y="1618"/>
                  </a:lnTo>
                  <a:lnTo>
                    <a:pt x="1573" y="1611"/>
                  </a:lnTo>
                  <a:lnTo>
                    <a:pt x="1561" y="1602"/>
                  </a:lnTo>
                  <a:lnTo>
                    <a:pt x="1552" y="1579"/>
                  </a:lnTo>
                  <a:lnTo>
                    <a:pt x="1542" y="1567"/>
                  </a:lnTo>
                  <a:lnTo>
                    <a:pt x="1526" y="1555"/>
                  </a:lnTo>
                  <a:lnTo>
                    <a:pt x="1512" y="1543"/>
                  </a:lnTo>
                  <a:lnTo>
                    <a:pt x="1503" y="1532"/>
                  </a:lnTo>
                  <a:lnTo>
                    <a:pt x="1503" y="1509"/>
                  </a:lnTo>
                  <a:lnTo>
                    <a:pt x="1500" y="1499"/>
                  </a:lnTo>
                  <a:lnTo>
                    <a:pt x="1501" y="1483"/>
                  </a:lnTo>
                  <a:lnTo>
                    <a:pt x="1505" y="1469"/>
                  </a:lnTo>
                  <a:lnTo>
                    <a:pt x="1508" y="1457"/>
                  </a:lnTo>
                  <a:lnTo>
                    <a:pt x="1510" y="1448"/>
                  </a:lnTo>
                  <a:lnTo>
                    <a:pt x="1510" y="1434"/>
                  </a:lnTo>
                  <a:lnTo>
                    <a:pt x="1507" y="1426"/>
                  </a:lnTo>
                  <a:lnTo>
                    <a:pt x="1501" y="1417"/>
                  </a:lnTo>
                  <a:lnTo>
                    <a:pt x="1498" y="1410"/>
                  </a:lnTo>
                  <a:lnTo>
                    <a:pt x="1498" y="1399"/>
                  </a:lnTo>
                  <a:lnTo>
                    <a:pt x="1501" y="1385"/>
                  </a:lnTo>
                  <a:lnTo>
                    <a:pt x="1508" y="1370"/>
                  </a:lnTo>
                  <a:lnTo>
                    <a:pt x="1515" y="1352"/>
                  </a:lnTo>
                  <a:lnTo>
                    <a:pt x="1522" y="1337"/>
                  </a:lnTo>
                  <a:lnTo>
                    <a:pt x="1529" y="1324"/>
                  </a:lnTo>
                  <a:lnTo>
                    <a:pt x="1533" y="1317"/>
                  </a:lnTo>
                  <a:lnTo>
                    <a:pt x="1545" y="1307"/>
                  </a:lnTo>
                  <a:lnTo>
                    <a:pt x="1559" y="1298"/>
                  </a:lnTo>
                  <a:lnTo>
                    <a:pt x="1573" y="1291"/>
                  </a:lnTo>
                  <a:lnTo>
                    <a:pt x="1587" y="1282"/>
                  </a:lnTo>
                  <a:lnTo>
                    <a:pt x="1590" y="1274"/>
                  </a:lnTo>
                  <a:lnTo>
                    <a:pt x="1590" y="1263"/>
                  </a:lnTo>
                  <a:lnTo>
                    <a:pt x="1589" y="1251"/>
                  </a:lnTo>
                  <a:lnTo>
                    <a:pt x="1590" y="1241"/>
                  </a:lnTo>
                  <a:lnTo>
                    <a:pt x="1599" y="1227"/>
                  </a:lnTo>
                  <a:lnTo>
                    <a:pt x="1611" y="1216"/>
                  </a:lnTo>
                  <a:lnTo>
                    <a:pt x="1624" y="1206"/>
                  </a:lnTo>
                  <a:lnTo>
                    <a:pt x="1636" y="1195"/>
                  </a:lnTo>
                  <a:lnTo>
                    <a:pt x="1646" y="1183"/>
                  </a:lnTo>
                  <a:lnTo>
                    <a:pt x="1652" y="1167"/>
                  </a:lnTo>
                  <a:lnTo>
                    <a:pt x="1652" y="1166"/>
                  </a:lnTo>
                  <a:lnTo>
                    <a:pt x="1650" y="1166"/>
                  </a:lnTo>
                  <a:lnTo>
                    <a:pt x="1650" y="1164"/>
                  </a:lnTo>
                  <a:lnTo>
                    <a:pt x="1650" y="1162"/>
                  </a:lnTo>
                  <a:lnTo>
                    <a:pt x="1648" y="1160"/>
                  </a:lnTo>
                  <a:lnTo>
                    <a:pt x="1645" y="1159"/>
                  </a:lnTo>
                  <a:lnTo>
                    <a:pt x="1641" y="1157"/>
                  </a:lnTo>
                  <a:lnTo>
                    <a:pt x="1638" y="1157"/>
                  </a:lnTo>
                  <a:lnTo>
                    <a:pt x="1632" y="1155"/>
                  </a:lnTo>
                  <a:lnTo>
                    <a:pt x="1629" y="1159"/>
                  </a:lnTo>
                  <a:lnTo>
                    <a:pt x="1625" y="1159"/>
                  </a:lnTo>
                  <a:lnTo>
                    <a:pt x="1620" y="1160"/>
                  </a:lnTo>
                  <a:lnTo>
                    <a:pt x="1613" y="1160"/>
                  </a:lnTo>
                  <a:lnTo>
                    <a:pt x="1613" y="1155"/>
                  </a:lnTo>
                  <a:lnTo>
                    <a:pt x="1610" y="1155"/>
                  </a:lnTo>
                  <a:lnTo>
                    <a:pt x="1610" y="1141"/>
                  </a:lnTo>
                  <a:lnTo>
                    <a:pt x="1608" y="1122"/>
                  </a:lnTo>
                  <a:lnTo>
                    <a:pt x="1606" y="1099"/>
                  </a:lnTo>
                  <a:lnTo>
                    <a:pt x="1606" y="1077"/>
                  </a:lnTo>
                  <a:lnTo>
                    <a:pt x="1606" y="1057"/>
                  </a:lnTo>
                  <a:lnTo>
                    <a:pt x="1610" y="1045"/>
                  </a:lnTo>
                  <a:lnTo>
                    <a:pt x="1611" y="1040"/>
                  </a:lnTo>
                  <a:lnTo>
                    <a:pt x="1613" y="1036"/>
                  </a:lnTo>
                  <a:lnTo>
                    <a:pt x="1615" y="1035"/>
                  </a:lnTo>
                  <a:lnTo>
                    <a:pt x="1617" y="1035"/>
                  </a:lnTo>
                  <a:lnTo>
                    <a:pt x="1620" y="1035"/>
                  </a:lnTo>
                  <a:lnTo>
                    <a:pt x="1624" y="1033"/>
                  </a:lnTo>
                  <a:lnTo>
                    <a:pt x="1629" y="1033"/>
                  </a:lnTo>
                  <a:lnTo>
                    <a:pt x="1643" y="1038"/>
                  </a:lnTo>
                  <a:lnTo>
                    <a:pt x="1659" y="1042"/>
                  </a:lnTo>
                  <a:lnTo>
                    <a:pt x="1676" y="1042"/>
                  </a:lnTo>
                  <a:lnTo>
                    <a:pt x="1693" y="1038"/>
                  </a:lnTo>
                  <a:lnTo>
                    <a:pt x="1706" y="1033"/>
                  </a:lnTo>
                  <a:lnTo>
                    <a:pt x="1707" y="1031"/>
                  </a:lnTo>
                  <a:lnTo>
                    <a:pt x="1707" y="1029"/>
                  </a:lnTo>
                  <a:lnTo>
                    <a:pt x="1709" y="1029"/>
                  </a:lnTo>
                  <a:lnTo>
                    <a:pt x="1709" y="1028"/>
                  </a:lnTo>
                  <a:lnTo>
                    <a:pt x="1709" y="1026"/>
                  </a:lnTo>
                  <a:lnTo>
                    <a:pt x="1713" y="1012"/>
                  </a:lnTo>
                  <a:lnTo>
                    <a:pt x="1713" y="996"/>
                  </a:lnTo>
                  <a:lnTo>
                    <a:pt x="1711" y="981"/>
                  </a:lnTo>
                  <a:lnTo>
                    <a:pt x="1709" y="963"/>
                  </a:lnTo>
                  <a:lnTo>
                    <a:pt x="1697" y="960"/>
                  </a:lnTo>
                  <a:lnTo>
                    <a:pt x="1685" y="956"/>
                  </a:lnTo>
                  <a:lnTo>
                    <a:pt x="1673" y="949"/>
                  </a:lnTo>
                  <a:lnTo>
                    <a:pt x="1664" y="940"/>
                  </a:lnTo>
                  <a:lnTo>
                    <a:pt x="1667" y="939"/>
                  </a:lnTo>
                  <a:lnTo>
                    <a:pt x="1671" y="937"/>
                  </a:lnTo>
                  <a:lnTo>
                    <a:pt x="1673" y="935"/>
                  </a:lnTo>
                  <a:lnTo>
                    <a:pt x="1676" y="935"/>
                  </a:lnTo>
                  <a:lnTo>
                    <a:pt x="1680" y="933"/>
                  </a:lnTo>
                  <a:lnTo>
                    <a:pt x="1686" y="933"/>
                  </a:lnTo>
                  <a:lnTo>
                    <a:pt x="1690" y="932"/>
                  </a:lnTo>
                  <a:lnTo>
                    <a:pt x="1695" y="930"/>
                  </a:lnTo>
                  <a:lnTo>
                    <a:pt x="1700" y="930"/>
                  </a:lnTo>
                  <a:lnTo>
                    <a:pt x="1706" y="930"/>
                  </a:lnTo>
                  <a:lnTo>
                    <a:pt x="1706" y="911"/>
                  </a:lnTo>
                  <a:lnTo>
                    <a:pt x="1711" y="911"/>
                  </a:lnTo>
                  <a:lnTo>
                    <a:pt x="1716" y="912"/>
                  </a:lnTo>
                  <a:lnTo>
                    <a:pt x="1718" y="914"/>
                  </a:lnTo>
                  <a:lnTo>
                    <a:pt x="1721" y="914"/>
                  </a:lnTo>
                  <a:lnTo>
                    <a:pt x="1725" y="916"/>
                  </a:lnTo>
                  <a:lnTo>
                    <a:pt x="1728" y="918"/>
                  </a:lnTo>
                  <a:lnTo>
                    <a:pt x="1732" y="914"/>
                  </a:lnTo>
                  <a:lnTo>
                    <a:pt x="1737" y="912"/>
                  </a:lnTo>
                  <a:lnTo>
                    <a:pt x="1741" y="911"/>
                  </a:lnTo>
                  <a:lnTo>
                    <a:pt x="1746" y="909"/>
                  </a:lnTo>
                  <a:lnTo>
                    <a:pt x="1748" y="907"/>
                  </a:lnTo>
                  <a:lnTo>
                    <a:pt x="1749" y="904"/>
                  </a:lnTo>
                  <a:lnTo>
                    <a:pt x="1749" y="900"/>
                  </a:lnTo>
                  <a:lnTo>
                    <a:pt x="1749" y="897"/>
                  </a:lnTo>
                  <a:lnTo>
                    <a:pt x="1749" y="893"/>
                  </a:lnTo>
                  <a:lnTo>
                    <a:pt x="1751" y="890"/>
                  </a:lnTo>
                  <a:lnTo>
                    <a:pt x="1753" y="886"/>
                  </a:lnTo>
                  <a:lnTo>
                    <a:pt x="1786" y="876"/>
                  </a:lnTo>
                  <a:lnTo>
                    <a:pt x="1793" y="865"/>
                  </a:lnTo>
                  <a:lnTo>
                    <a:pt x="1795" y="855"/>
                  </a:lnTo>
                  <a:lnTo>
                    <a:pt x="1800" y="844"/>
                  </a:lnTo>
                  <a:lnTo>
                    <a:pt x="1810" y="837"/>
                  </a:lnTo>
                  <a:lnTo>
                    <a:pt x="1823" y="832"/>
                  </a:lnTo>
                  <a:lnTo>
                    <a:pt x="1838" y="827"/>
                  </a:lnTo>
                  <a:lnTo>
                    <a:pt x="1852" y="822"/>
                  </a:lnTo>
                  <a:lnTo>
                    <a:pt x="1854" y="820"/>
                  </a:lnTo>
                  <a:lnTo>
                    <a:pt x="1854" y="820"/>
                  </a:lnTo>
                  <a:lnTo>
                    <a:pt x="1854" y="818"/>
                  </a:lnTo>
                  <a:lnTo>
                    <a:pt x="1854" y="816"/>
                  </a:lnTo>
                  <a:lnTo>
                    <a:pt x="1856" y="815"/>
                  </a:lnTo>
                  <a:lnTo>
                    <a:pt x="1849" y="797"/>
                  </a:lnTo>
                  <a:lnTo>
                    <a:pt x="1845" y="776"/>
                  </a:lnTo>
                  <a:lnTo>
                    <a:pt x="1845" y="757"/>
                  </a:lnTo>
                  <a:lnTo>
                    <a:pt x="1844" y="741"/>
                  </a:lnTo>
                  <a:lnTo>
                    <a:pt x="1859" y="740"/>
                  </a:lnTo>
                  <a:lnTo>
                    <a:pt x="1870" y="736"/>
                  </a:lnTo>
                  <a:lnTo>
                    <a:pt x="1882" y="733"/>
                  </a:lnTo>
                  <a:lnTo>
                    <a:pt x="1882" y="741"/>
                  </a:lnTo>
                  <a:lnTo>
                    <a:pt x="1880" y="748"/>
                  </a:lnTo>
                  <a:lnTo>
                    <a:pt x="1878" y="761"/>
                  </a:lnTo>
                  <a:lnTo>
                    <a:pt x="1877" y="778"/>
                  </a:lnTo>
                  <a:lnTo>
                    <a:pt x="1875" y="794"/>
                  </a:lnTo>
                  <a:lnTo>
                    <a:pt x="1875" y="806"/>
                  </a:lnTo>
                  <a:lnTo>
                    <a:pt x="1880" y="809"/>
                  </a:lnTo>
                  <a:lnTo>
                    <a:pt x="1884" y="811"/>
                  </a:lnTo>
                  <a:lnTo>
                    <a:pt x="1885" y="813"/>
                  </a:lnTo>
                  <a:lnTo>
                    <a:pt x="1889" y="815"/>
                  </a:lnTo>
                  <a:lnTo>
                    <a:pt x="1894" y="818"/>
                  </a:lnTo>
                  <a:lnTo>
                    <a:pt x="1905" y="813"/>
                  </a:lnTo>
                  <a:lnTo>
                    <a:pt x="1912" y="813"/>
                  </a:lnTo>
                  <a:lnTo>
                    <a:pt x="1917" y="816"/>
                  </a:lnTo>
                  <a:lnTo>
                    <a:pt x="1924" y="822"/>
                  </a:lnTo>
                  <a:lnTo>
                    <a:pt x="1933" y="822"/>
                  </a:lnTo>
                  <a:lnTo>
                    <a:pt x="1943" y="818"/>
                  </a:lnTo>
                  <a:lnTo>
                    <a:pt x="1952" y="813"/>
                  </a:lnTo>
                  <a:lnTo>
                    <a:pt x="1957" y="808"/>
                  </a:lnTo>
                  <a:lnTo>
                    <a:pt x="1964" y="804"/>
                  </a:lnTo>
                  <a:lnTo>
                    <a:pt x="1973" y="801"/>
                  </a:lnTo>
                  <a:lnTo>
                    <a:pt x="1987" y="802"/>
                  </a:lnTo>
                  <a:lnTo>
                    <a:pt x="2006" y="806"/>
                  </a:lnTo>
                  <a:lnTo>
                    <a:pt x="2008" y="801"/>
                  </a:lnTo>
                  <a:lnTo>
                    <a:pt x="2009" y="799"/>
                  </a:lnTo>
                  <a:lnTo>
                    <a:pt x="2013" y="795"/>
                  </a:lnTo>
                  <a:lnTo>
                    <a:pt x="2016" y="794"/>
                  </a:lnTo>
                  <a:lnTo>
                    <a:pt x="2020" y="794"/>
                  </a:lnTo>
                  <a:lnTo>
                    <a:pt x="2025" y="792"/>
                  </a:lnTo>
                  <a:lnTo>
                    <a:pt x="2025" y="762"/>
                  </a:lnTo>
                  <a:lnTo>
                    <a:pt x="2029" y="738"/>
                  </a:lnTo>
                  <a:lnTo>
                    <a:pt x="2032" y="734"/>
                  </a:lnTo>
                  <a:lnTo>
                    <a:pt x="2036" y="733"/>
                  </a:lnTo>
                  <a:lnTo>
                    <a:pt x="2039" y="729"/>
                  </a:lnTo>
                  <a:lnTo>
                    <a:pt x="2043" y="727"/>
                  </a:lnTo>
                  <a:lnTo>
                    <a:pt x="2048" y="726"/>
                  </a:lnTo>
                  <a:lnTo>
                    <a:pt x="2048" y="729"/>
                  </a:lnTo>
                  <a:lnTo>
                    <a:pt x="2051" y="733"/>
                  </a:lnTo>
                  <a:lnTo>
                    <a:pt x="2053" y="736"/>
                  </a:lnTo>
                  <a:lnTo>
                    <a:pt x="2055" y="740"/>
                  </a:lnTo>
                  <a:lnTo>
                    <a:pt x="2057" y="741"/>
                  </a:lnTo>
                  <a:lnTo>
                    <a:pt x="2062" y="743"/>
                  </a:lnTo>
                  <a:lnTo>
                    <a:pt x="2067" y="745"/>
                  </a:lnTo>
                  <a:lnTo>
                    <a:pt x="2065" y="729"/>
                  </a:lnTo>
                  <a:lnTo>
                    <a:pt x="2064" y="719"/>
                  </a:lnTo>
                  <a:lnTo>
                    <a:pt x="2060" y="712"/>
                  </a:lnTo>
                  <a:lnTo>
                    <a:pt x="2058" y="703"/>
                  </a:lnTo>
                  <a:lnTo>
                    <a:pt x="2055" y="687"/>
                  </a:lnTo>
                  <a:lnTo>
                    <a:pt x="2064" y="686"/>
                  </a:lnTo>
                  <a:lnTo>
                    <a:pt x="2070" y="682"/>
                  </a:lnTo>
                  <a:lnTo>
                    <a:pt x="2076" y="679"/>
                  </a:lnTo>
                  <a:lnTo>
                    <a:pt x="2083" y="675"/>
                  </a:lnTo>
                  <a:lnTo>
                    <a:pt x="2095" y="675"/>
                  </a:lnTo>
                  <a:lnTo>
                    <a:pt x="2107" y="677"/>
                  </a:lnTo>
                  <a:lnTo>
                    <a:pt x="2116" y="679"/>
                  </a:lnTo>
                  <a:lnTo>
                    <a:pt x="2125" y="675"/>
                  </a:lnTo>
                  <a:lnTo>
                    <a:pt x="2132" y="665"/>
                  </a:lnTo>
                  <a:lnTo>
                    <a:pt x="2126" y="663"/>
                  </a:lnTo>
                  <a:lnTo>
                    <a:pt x="2121" y="661"/>
                  </a:lnTo>
                  <a:lnTo>
                    <a:pt x="2118" y="659"/>
                  </a:lnTo>
                  <a:lnTo>
                    <a:pt x="2112" y="658"/>
                  </a:lnTo>
                  <a:lnTo>
                    <a:pt x="2105" y="658"/>
                  </a:lnTo>
                  <a:lnTo>
                    <a:pt x="2088" y="666"/>
                  </a:lnTo>
                  <a:lnTo>
                    <a:pt x="2069" y="672"/>
                  </a:lnTo>
                  <a:lnTo>
                    <a:pt x="2048" y="675"/>
                  </a:lnTo>
                  <a:lnTo>
                    <a:pt x="2044" y="666"/>
                  </a:lnTo>
                  <a:lnTo>
                    <a:pt x="2039" y="659"/>
                  </a:lnTo>
                  <a:lnTo>
                    <a:pt x="2034" y="652"/>
                  </a:lnTo>
                  <a:lnTo>
                    <a:pt x="2030" y="644"/>
                  </a:lnTo>
                  <a:lnTo>
                    <a:pt x="2029" y="630"/>
                  </a:lnTo>
                  <a:lnTo>
                    <a:pt x="2030" y="619"/>
                  </a:lnTo>
                  <a:lnTo>
                    <a:pt x="2029" y="607"/>
                  </a:lnTo>
                  <a:lnTo>
                    <a:pt x="2027" y="593"/>
                  </a:lnTo>
                  <a:lnTo>
                    <a:pt x="2029" y="581"/>
                  </a:lnTo>
                  <a:lnTo>
                    <a:pt x="2037" y="563"/>
                  </a:lnTo>
                  <a:lnTo>
                    <a:pt x="2051" y="551"/>
                  </a:lnTo>
                  <a:lnTo>
                    <a:pt x="2065" y="537"/>
                  </a:lnTo>
                  <a:lnTo>
                    <a:pt x="2077" y="523"/>
                  </a:lnTo>
                  <a:lnTo>
                    <a:pt x="2086" y="507"/>
                  </a:lnTo>
                  <a:lnTo>
                    <a:pt x="2081" y="502"/>
                  </a:lnTo>
                  <a:lnTo>
                    <a:pt x="2076" y="497"/>
                  </a:lnTo>
                  <a:lnTo>
                    <a:pt x="2070" y="492"/>
                  </a:lnTo>
                  <a:lnTo>
                    <a:pt x="2057" y="494"/>
                  </a:lnTo>
                  <a:lnTo>
                    <a:pt x="2041" y="495"/>
                  </a:lnTo>
                  <a:lnTo>
                    <a:pt x="2036" y="520"/>
                  </a:lnTo>
                  <a:lnTo>
                    <a:pt x="2027" y="539"/>
                  </a:lnTo>
                  <a:lnTo>
                    <a:pt x="2015" y="555"/>
                  </a:lnTo>
                  <a:lnTo>
                    <a:pt x="2001" y="570"/>
                  </a:lnTo>
                  <a:lnTo>
                    <a:pt x="1988" y="588"/>
                  </a:lnTo>
                  <a:lnTo>
                    <a:pt x="1980" y="609"/>
                  </a:lnTo>
                  <a:lnTo>
                    <a:pt x="1974" y="633"/>
                  </a:lnTo>
                  <a:lnTo>
                    <a:pt x="1985" y="642"/>
                  </a:lnTo>
                  <a:lnTo>
                    <a:pt x="1995" y="652"/>
                  </a:lnTo>
                  <a:lnTo>
                    <a:pt x="2002" y="665"/>
                  </a:lnTo>
                  <a:lnTo>
                    <a:pt x="2006" y="680"/>
                  </a:lnTo>
                  <a:lnTo>
                    <a:pt x="2001" y="682"/>
                  </a:lnTo>
                  <a:lnTo>
                    <a:pt x="1999" y="684"/>
                  </a:lnTo>
                  <a:lnTo>
                    <a:pt x="1997" y="686"/>
                  </a:lnTo>
                  <a:lnTo>
                    <a:pt x="1997" y="686"/>
                  </a:lnTo>
                  <a:lnTo>
                    <a:pt x="1997" y="687"/>
                  </a:lnTo>
                  <a:lnTo>
                    <a:pt x="1995" y="689"/>
                  </a:lnTo>
                  <a:lnTo>
                    <a:pt x="1995" y="693"/>
                  </a:lnTo>
                  <a:lnTo>
                    <a:pt x="1994" y="694"/>
                  </a:lnTo>
                  <a:lnTo>
                    <a:pt x="1971" y="703"/>
                  </a:lnTo>
                  <a:lnTo>
                    <a:pt x="1968" y="724"/>
                  </a:lnTo>
                  <a:lnTo>
                    <a:pt x="1961" y="740"/>
                  </a:lnTo>
                  <a:lnTo>
                    <a:pt x="1954" y="752"/>
                  </a:lnTo>
                  <a:lnTo>
                    <a:pt x="1943" y="762"/>
                  </a:lnTo>
                  <a:lnTo>
                    <a:pt x="1934" y="773"/>
                  </a:lnTo>
                  <a:lnTo>
                    <a:pt x="1926" y="787"/>
                  </a:lnTo>
                  <a:lnTo>
                    <a:pt x="1920" y="787"/>
                  </a:lnTo>
                  <a:lnTo>
                    <a:pt x="1920" y="783"/>
                  </a:lnTo>
                  <a:lnTo>
                    <a:pt x="1906" y="764"/>
                  </a:lnTo>
                  <a:lnTo>
                    <a:pt x="1898" y="743"/>
                  </a:lnTo>
                  <a:lnTo>
                    <a:pt x="1892" y="720"/>
                  </a:lnTo>
                  <a:lnTo>
                    <a:pt x="1882" y="694"/>
                  </a:lnTo>
                  <a:lnTo>
                    <a:pt x="1868" y="701"/>
                  </a:lnTo>
                  <a:lnTo>
                    <a:pt x="1859" y="710"/>
                  </a:lnTo>
                  <a:lnTo>
                    <a:pt x="1849" y="717"/>
                  </a:lnTo>
                  <a:lnTo>
                    <a:pt x="1838" y="722"/>
                  </a:lnTo>
                  <a:lnTo>
                    <a:pt x="1821" y="726"/>
                  </a:lnTo>
                  <a:lnTo>
                    <a:pt x="1819" y="724"/>
                  </a:lnTo>
                  <a:lnTo>
                    <a:pt x="1817" y="724"/>
                  </a:lnTo>
                  <a:lnTo>
                    <a:pt x="1816" y="724"/>
                  </a:lnTo>
                  <a:lnTo>
                    <a:pt x="1814" y="722"/>
                  </a:lnTo>
                  <a:lnTo>
                    <a:pt x="1810" y="722"/>
                  </a:lnTo>
                  <a:lnTo>
                    <a:pt x="1809" y="701"/>
                  </a:lnTo>
                  <a:lnTo>
                    <a:pt x="1807" y="684"/>
                  </a:lnTo>
                  <a:lnTo>
                    <a:pt x="1803" y="670"/>
                  </a:lnTo>
                  <a:lnTo>
                    <a:pt x="1800" y="654"/>
                  </a:lnTo>
                  <a:lnTo>
                    <a:pt x="1798" y="633"/>
                  </a:lnTo>
                  <a:lnTo>
                    <a:pt x="1807" y="624"/>
                  </a:lnTo>
                  <a:lnTo>
                    <a:pt x="1810" y="616"/>
                  </a:lnTo>
                  <a:lnTo>
                    <a:pt x="1812" y="605"/>
                  </a:lnTo>
                  <a:lnTo>
                    <a:pt x="1817" y="591"/>
                  </a:lnTo>
                  <a:lnTo>
                    <a:pt x="1821" y="588"/>
                  </a:lnTo>
                  <a:lnTo>
                    <a:pt x="1826" y="583"/>
                  </a:lnTo>
                  <a:lnTo>
                    <a:pt x="1831" y="577"/>
                  </a:lnTo>
                  <a:lnTo>
                    <a:pt x="1837" y="572"/>
                  </a:lnTo>
                  <a:lnTo>
                    <a:pt x="1840" y="574"/>
                  </a:lnTo>
                  <a:lnTo>
                    <a:pt x="1842" y="576"/>
                  </a:lnTo>
                  <a:lnTo>
                    <a:pt x="1844" y="577"/>
                  </a:lnTo>
                  <a:lnTo>
                    <a:pt x="1845" y="579"/>
                  </a:lnTo>
                  <a:lnTo>
                    <a:pt x="1845" y="579"/>
                  </a:lnTo>
                  <a:lnTo>
                    <a:pt x="1849" y="576"/>
                  </a:lnTo>
                  <a:lnTo>
                    <a:pt x="1851" y="572"/>
                  </a:lnTo>
                  <a:lnTo>
                    <a:pt x="1852" y="569"/>
                  </a:lnTo>
                  <a:lnTo>
                    <a:pt x="1854" y="563"/>
                  </a:lnTo>
                  <a:lnTo>
                    <a:pt x="1856" y="560"/>
                  </a:lnTo>
                  <a:lnTo>
                    <a:pt x="1868" y="553"/>
                  </a:lnTo>
                  <a:lnTo>
                    <a:pt x="1878" y="549"/>
                  </a:lnTo>
                  <a:lnTo>
                    <a:pt x="1887" y="541"/>
                  </a:lnTo>
                  <a:lnTo>
                    <a:pt x="1884" y="539"/>
                  </a:lnTo>
                  <a:lnTo>
                    <a:pt x="1882" y="539"/>
                  </a:lnTo>
                  <a:lnTo>
                    <a:pt x="1880" y="539"/>
                  </a:lnTo>
                  <a:lnTo>
                    <a:pt x="1880" y="537"/>
                  </a:lnTo>
                  <a:lnTo>
                    <a:pt x="1880" y="537"/>
                  </a:lnTo>
                  <a:lnTo>
                    <a:pt x="1880" y="534"/>
                  </a:lnTo>
                  <a:lnTo>
                    <a:pt x="1878" y="530"/>
                  </a:lnTo>
                  <a:lnTo>
                    <a:pt x="1891" y="514"/>
                  </a:lnTo>
                  <a:lnTo>
                    <a:pt x="1903" y="495"/>
                  </a:lnTo>
                  <a:lnTo>
                    <a:pt x="1913" y="473"/>
                  </a:lnTo>
                  <a:lnTo>
                    <a:pt x="1924" y="450"/>
                  </a:lnTo>
                  <a:lnTo>
                    <a:pt x="1934" y="427"/>
                  </a:lnTo>
                  <a:lnTo>
                    <a:pt x="1947" y="406"/>
                  </a:lnTo>
                  <a:lnTo>
                    <a:pt x="1959" y="392"/>
                  </a:lnTo>
                  <a:lnTo>
                    <a:pt x="1974" y="384"/>
                  </a:lnTo>
                  <a:lnTo>
                    <a:pt x="1974" y="370"/>
                  </a:lnTo>
                  <a:lnTo>
                    <a:pt x="1990" y="370"/>
                  </a:lnTo>
                  <a:lnTo>
                    <a:pt x="1999" y="354"/>
                  </a:lnTo>
                  <a:lnTo>
                    <a:pt x="2013" y="343"/>
                  </a:lnTo>
                  <a:lnTo>
                    <a:pt x="2032" y="338"/>
                  </a:lnTo>
                  <a:lnTo>
                    <a:pt x="2034" y="340"/>
                  </a:lnTo>
                  <a:lnTo>
                    <a:pt x="2036" y="340"/>
                  </a:lnTo>
                  <a:lnTo>
                    <a:pt x="2036" y="340"/>
                  </a:lnTo>
                  <a:lnTo>
                    <a:pt x="2037" y="340"/>
                  </a:lnTo>
                  <a:lnTo>
                    <a:pt x="2041" y="342"/>
                  </a:lnTo>
                  <a:lnTo>
                    <a:pt x="2041" y="329"/>
                  </a:lnTo>
                  <a:lnTo>
                    <a:pt x="2046" y="329"/>
                  </a:lnTo>
                  <a:lnTo>
                    <a:pt x="2050" y="329"/>
                  </a:lnTo>
                  <a:lnTo>
                    <a:pt x="2053" y="329"/>
                  </a:lnTo>
                  <a:lnTo>
                    <a:pt x="2055" y="329"/>
                  </a:lnTo>
                  <a:lnTo>
                    <a:pt x="2057" y="331"/>
                  </a:lnTo>
                  <a:lnTo>
                    <a:pt x="2058" y="331"/>
                  </a:lnTo>
                  <a:lnTo>
                    <a:pt x="2064" y="335"/>
                  </a:lnTo>
                  <a:lnTo>
                    <a:pt x="2070" y="321"/>
                  </a:lnTo>
                  <a:lnTo>
                    <a:pt x="2081" y="312"/>
                  </a:lnTo>
                  <a:lnTo>
                    <a:pt x="2093" y="309"/>
                  </a:lnTo>
                  <a:lnTo>
                    <a:pt x="2109" y="305"/>
                  </a:lnTo>
                  <a:lnTo>
                    <a:pt x="2125" y="303"/>
                  </a:lnTo>
                  <a:lnTo>
                    <a:pt x="2132" y="310"/>
                  </a:lnTo>
                  <a:lnTo>
                    <a:pt x="2140" y="314"/>
                  </a:lnTo>
                  <a:lnTo>
                    <a:pt x="2147" y="315"/>
                  </a:lnTo>
                  <a:lnTo>
                    <a:pt x="2154" y="317"/>
                  </a:lnTo>
                  <a:lnTo>
                    <a:pt x="2160" y="324"/>
                  </a:lnTo>
                  <a:lnTo>
                    <a:pt x="2163" y="338"/>
                  </a:lnTo>
                  <a:lnTo>
                    <a:pt x="2161" y="340"/>
                  </a:lnTo>
                  <a:lnTo>
                    <a:pt x="2160" y="342"/>
                  </a:lnTo>
                  <a:lnTo>
                    <a:pt x="2158" y="342"/>
                  </a:lnTo>
                  <a:lnTo>
                    <a:pt x="2158" y="343"/>
                  </a:lnTo>
                  <a:lnTo>
                    <a:pt x="2156" y="345"/>
                  </a:lnTo>
                  <a:lnTo>
                    <a:pt x="2156" y="349"/>
                  </a:lnTo>
                  <a:lnTo>
                    <a:pt x="2158" y="352"/>
                  </a:lnTo>
                  <a:lnTo>
                    <a:pt x="2160" y="352"/>
                  </a:lnTo>
                  <a:lnTo>
                    <a:pt x="2161" y="354"/>
                  </a:lnTo>
                  <a:lnTo>
                    <a:pt x="2163" y="357"/>
                  </a:lnTo>
                  <a:lnTo>
                    <a:pt x="2175" y="352"/>
                  </a:lnTo>
                  <a:lnTo>
                    <a:pt x="2182" y="350"/>
                  </a:lnTo>
                  <a:lnTo>
                    <a:pt x="2187" y="350"/>
                  </a:lnTo>
                  <a:lnTo>
                    <a:pt x="2189" y="354"/>
                  </a:lnTo>
                  <a:lnTo>
                    <a:pt x="2191" y="359"/>
                  </a:lnTo>
                  <a:lnTo>
                    <a:pt x="2196" y="364"/>
                  </a:lnTo>
                  <a:lnTo>
                    <a:pt x="2201" y="370"/>
                  </a:lnTo>
                  <a:lnTo>
                    <a:pt x="2233" y="373"/>
                  </a:lnTo>
                  <a:lnTo>
                    <a:pt x="2245" y="380"/>
                  </a:lnTo>
                  <a:lnTo>
                    <a:pt x="2259" y="391"/>
                  </a:lnTo>
                  <a:lnTo>
                    <a:pt x="2273" y="405"/>
                  </a:lnTo>
                  <a:lnTo>
                    <a:pt x="2285" y="420"/>
                  </a:lnTo>
                  <a:lnTo>
                    <a:pt x="2296" y="436"/>
                  </a:lnTo>
                  <a:lnTo>
                    <a:pt x="2299" y="452"/>
                  </a:lnTo>
                  <a:lnTo>
                    <a:pt x="2297" y="467"/>
                  </a:lnTo>
                  <a:lnTo>
                    <a:pt x="2285" y="480"/>
                  </a:lnTo>
                  <a:lnTo>
                    <a:pt x="2269" y="488"/>
                  </a:lnTo>
                  <a:lnTo>
                    <a:pt x="2252" y="488"/>
                  </a:lnTo>
                  <a:lnTo>
                    <a:pt x="2236" y="481"/>
                  </a:lnTo>
                  <a:lnTo>
                    <a:pt x="2222" y="474"/>
                  </a:lnTo>
                  <a:lnTo>
                    <a:pt x="2208" y="469"/>
                  </a:lnTo>
                  <a:lnTo>
                    <a:pt x="2210" y="481"/>
                  </a:lnTo>
                  <a:lnTo>
                    <a:pt x="2212" y="497"/>
                  </a:lnTo>
                  <a:lnTo>
                    <a:pt x="2214" y="514"/>
                  </a:lnTo>
                  <a:lnTo>
                    <a:pt x="2217" y="528"/>
                  </a:lnTo>
                  <a:lnTo>
                    <a:pt x="2221" y="537"/>
                  </a:lnTo>
                  <a:lnTo>
                    <a:pt x="2224" y="542"/>
                  </a:lnTo>
                  <a:lnTo>
                    <a:pt x="2229" y="544"/>
                  </a:lnTo>
                  <a:lnTo>
                    <a:pt x="2233" y="548"/>
                  </a:lnTo>
                  <a:lnTo>
                    <a:pt x="2240" y="549"/>
                  </a:lnTo>
                  <a:lnTo>
                    <a:pt x="2238" y="537"/>
                  </a:lnTo>
                  <a:lnTo>
                    <a:pt x="2236" y="528"/>
                  </a:lnTo>
                  <a:lnTo>
                    <a:pt x="2236" y="518"/>
                  </a:lnTo>
                  <a:lnTo>
                    <a:pt x="2240" y="518"/>
                  </a:lnTo>
                  <a:lnTo>
                    <a:pt x="2240" y="514"/>
                  </a:lnTo>
                  <a:lnTo>
                    <a:pt x="2252" y="521"/>
                  </a:lnTo>
                  <a:lnTo>
                    <a:pt x="2264" y="528"/>
                  </a:lnTo>
                  <a:lnTo>
                    <a:pt x="2278" y="534"/>
                  </a:lnTo>
                  <a:lnTo>
                    <a:pt x="2280" y="530"/>
                  </a:lnTo>
                  <a:lnTo>
                    <a:pt x="2282" y="527"/>
                  </a:lnTo>
                  <a:lnTo>
                    <a:pt x="2283" y="525"/>
                  </a:lnTo>
                  <a:lnTo>
                    <a:pt x="2285" y="520"/>
                  </a:lnTo>
                  <a:lnTo>
                    <a:pt x="2285" y="514"/>
                  </a:lnTo>
                  <a:lnTo>
                    <a:pt x="2283" y="513"/>
                  </a:lnTo>
                  <a:lnTo>
                    <a:pt x="2282" y="511"/>
                  </a:lnTo>
                  <a:lnTo>
                    <a:pt x="2280" y="509"/>
                  </a:lnTo>
                  <a:lnTo>
                    <a:pt x="2280" y="507"/>
                  </a:lnTo>
                  <a:lnTo>
                    <a:pt x="2280" y="504"/>
                  </a:lnTo>
                  <a:lnTo>
                    <a:pt x="2278" y="499"/>
                  </a:lnTo>
                  <a:lnTo>
                    <a:pt x="2294" y="492"/>
                  </a:lnTo>
                  <a:lnTo>
                    <a:pt x="2304" y="481"/>
                  </a:lnTo>
                  <a:lnTo>
                    <a:pt x="2313" y="469"/>
                  </a:lnTo>
                  <a:lnTo>
                    <a:pt x="2318" y="471"/>
                  </a:lnTo>
                  <a:lnTo>
                    <a:pt x="2325" y="473"/>
                  </a:lnTo>
                  <a:lnTo>
                    <a:pt x="2332" y="474"/>
                  </a:lnTo>
                  <a:lnTo>
                    <a:pt x="2339" y="476"/>
                  </a:lnTo>
                  <a:lnTo>
                    <a:pt x="2336" y="438"/>
                  </a:lnTo>
                  <a:lnTo>
                    <a:pt x="2329" y="396"/>
                  </a:lnTo>
                  <a:lnTo>
                    <a:pt x="2358" y="396"/>
                  </a:lnTo>
                  <a:lnTo>
                    <a:pt x="2365" y="403"/>
                  </a:lnTo>
                  <a:lnTo>
                    <a:pt x="2372" y="413"/>
                  </a:lnTo>
                  <a:lnTo>
                    <a:pt x="2378" y="422"/>
                  </a:lnTo>
                  <a:lnTo>
                    <a:pt x="2378" y="431"/>
                  </a:lnTo>
                  <a:lnTo>
                    <a:pt x="2374" y="432"/>
                  </a:lnTo>
                  <a:lnTo>
                    <a:pt x="2372" y="432"/>
                  </a:lnTo>
                  <a:lnTo>
                    <a:pt x="2369" y="434"/>
                  </a:lnTo>
                  <a:lnTo>
                    <a:pt x="2362" y="434"/>
                  </a:lnTo>
                  <a:lnTo>
                    <a:pt x="2362" y="453"/>
                  </a:lnTo>
                  <a:lnTo>
                    <a:pt x="2367" y="455"/>
                  </a:lnTo>
                  <a:lnTo>
                    <a:pt x="2369" y="457"/>
                  </a:lnTo>
                  <a:lnTo>
                    <a:pt x="2372" y="459"/>
                  </a:lnTo>
                  <a:lnTo>
                    <a:pt x="2376" y="460"/>
                  </a:lnTo>
                  <a:lnTo>
                    <a:pt x="2381" y="460"/>
                  </a:lnTo>
                  <a:lnTo>
                    <a:pt x="2383" y="460"/>
                  </a:lnTo>
                  <a:lnTo>
                    <a:pt x="2385" y="459"/>
                  </a:lnTo>
                  <a:lnTo>
                    <a:pt x="2385" y="459"/>
                  </a:lnTo>
                  <a:lnTo>
                    <a:pt x="2386" y="459"/>
                  </a:lnTo>
                  <a:lnTo>
                    <a:pt x="2390" y="457"/>
                  </a:lnTo>
                  <a:lnTo>
                    <a:pt x="2392" y="452"/>
                  </a:lnTo>
                  <a:lnTo>
                    <a:pt x="2392" y="448"/>
                  </a:lnTo>
                  <a:lnTo>
                    <a:pt x="2392" y="443"/>
                  </a:lnTo>
                  <a:lnTo>
                    <a:pt x="2392" y="439"/>
                  </a:lnTo>
                  <a:lnTo>
                    <a:pt x="2390" y="434"/>
                  </a:lnTo>
                  <a:lnTo>
                    <a:pt x="2402" y="418"/>
                  </a:lnTo>
                  <a:lnTo>
                    <a:pt x="2416" y="405"/>
                  </a:lnTo>
                  <a:lnTo>
                    <a:pt x="2428" y="389"/>
                  </a:lnTo>
                  <a:lnTo>
                    <a:pt x="2434" y="387"/>
                  </a:lnTo>
                  <a:lnTo>
                    <a:pt x="2439" y="387"/>
                  </a:lnTo>
                  <a:lnTo>
                    <a:pt x="2441" y="385"/>
                  </a:lnTo>
                  <a:lnTo>
                    <a:pt x="2444" y="387"/>
                  </a:lnTo>
                  <a:lnTo>
                    <a:pt x="2448" y="389"/>
                  </a:lnTo>
                  <a:lnTo>
                    <a:pt x="2449" y="392"/>
                  </a:lnTo>
                  <a:lnTo>
                    <a:pt x="2451" y="396"/>
                  </a:lnTo>
                  <a:lnTo>
                    <a:pt x="2453" y="398"/>
                  </a:lnTo>
                  <a:lnTo>
                    <a:pt x="2454" y="401"/>
                  </a:lnTo>
                  <a:lnTo>
                    <a:pt x="2458" y="403"/>
                  </a:lnTo>
                  <a:lnTo>
                    <a:pt x="2458" y="399"/>
                  </a:lnTo>
                  <a:lnTo>
                    <a:pt x="2461" y="396"/>
                  </a:lnTo>
                  <a:lnTo>
                    <a:pt x="2463" y="392"/>
                  </a:lnTo>
                  <a:lnTo>
                    <a:pt x="2465" y="389"/>
                  </a:lnTo>
                  <a:lnTo>
                    <a:pt x="2465" y="384"/>
                  </a:lnTo>
                  <a:lnTo>
                    <a:pt x="2467" y="377"/>
                  </a:lnTo>
                  <a:lnTo>
                    <a:pt x="2482" y="377"/>
                  </a:lnTo>
                  <a:lnTo>
                    <a:pt x="2496" y="380"/>
                  </a:lnTo>
                  <a:lnTo>
                    <a:pt x="2509" y="384"/>
                  </a:lnTo>
                  <a:lnTo>
                    <a:pt x="2500" y="391"/>
                  </a:lnTo>
                  <a:lnTo>
                    <a:pt x="2491" y="396"/>
                  </a:lnTo>
                  <a:lnTo>
                    <a:pt x="2484" y="401"/>
                  </a:lnTo>
                  <a:lnTo>
                    <a:pt x="2477" y="411"/>
                  </a:lnTo>
                  <a:lnTo>
                    <a:pt x="2486" y="411"/>
                  </a:lnTo>
                  <a:lnTo>
                    <a:pt x="2491" y="406"/>
                  </a:lnTo>
                  <a:lnTo>
                    <a:pt x="2503" y="401"/>
                  </a:lnTo>
                  <a:lnTo>
                    <a:pt x="2516" y="396"/>
                  </a:lnTo>
                  <a:lnTo>
                    <a:pt x="2526" y="392"/>
                  </a:lnTo>
                  <a:lnTo>
                    <a:pt x="2537" y="389"/>
                  </a:lnTo>
                  <a:lnTo>
                    <a:pt x="2540" y="389"/>
                  </a:lnTo>
                  <a:lnTo>
                    <a:pt x="2542" y="391"/>
                  </a:lnTo>
                  <a:lnTo>
                    <a:pt x="2545" y="394"/>
                  </a:lnTo>
                  <a:lnTo>
                    <a:pt x="2547" y="396"/>
                  </a:lnTo>
                  <a:lnTo>
                    <a:pt x="2549" y="398"/>
                  </a:lnTo>
                  <a:lnTo>
                    <a:pt x="2552" y="398"/>
                  </a:lnTo>
                  <a:lnTo>
                    <a:pt x="2559" y="399"/>
                  </a:lnTo>
                  <a:lnTo>
                    <a:pt x="2561" y="396"/>
                  </a:lnTo>
                  <a:lnTo>
                    <a:pt x="2563" y="392"/>
                  </a:lnTo>
                  <a:lnTo>
                    <a:pt x="2564" y="391"/>
                  </a:lnTo>
                  <a:lnTo>
                    <a:pt x="2564" y="387"/>
                  </a:lnTo>
                  <a:lnTo>
                    <a:pt x="2566" y="382"/>
                  </a:lnTo>
                  <a:lnTo>
                    <a:pt x="2566" y="377"/>
                  </a:lnTo>
                  <a:lnTo>
                    <a:pt x="2563" y="373"/>
                  </a:lnTo>
                  <a:lnTo>
                    <a:pt x="2561" y="370"/>
                  </a:lnTo>
                  <a:lnTo>
                    <a:pt x="2559" y="366"/>
                  </a:lnTo>
                  <a:lnTo>
                    <a:pt x="2559" y="361"/>
                  </a:lnTo>
                  <a:lnTo>
                    <a:pt x="2559" y="354"/>
                  </a:lnTo>
                  <a:lnTo>
                    <a:pt x="2564" y="350"/>
                  </a:lnTo>
                  <a:lnTo>
                    <a:pt x="2568" y="347"/>
                  </a:lnTo>
                  <a:lnTo>
                    <a:pt x="2571" y="345"/>
                  </a:lnTo>
                  <a:lnTo>
                    <a:pt x="2578" y="342"/>
                  </a:lnTo>
                  <a:lnTo>
                    <a:pt x="2582" y="343"/>
                  </a:lnTo>
                  <a:lnTo>
                    <a:pt x="2587" y="345"/>
                  </a:lnTo>
                  <a:lnTo>
                    <a:pt x="2594" y="345"/>
                  </a:lnTo>
                  <a:lnTo>
                    <a:pt x="2601" y="345"/>
                  </a:lnTo>
                  <a:lnTo>
                    <a:pt x="2610" y="356"/>
                  </a:lnTo>
                  <a:lnTo>
                    <a:pt x="2622" y="368"/>
                  </a:lnTo>
                  <a:lnTo>
                    <a:pt x="2640" y="380"/>
                  </a:lnTo>
                  <a:lnTo>
                    <a:pt x="2655" y="392"/>
                  </a:lnTo>
                  <a:lnTo>
                    <a:pt x="2669" y="399"/>
                  </a:lnTo>
                  <a:lnTo>
                    <a:pt x="2678" y="403"/>
                  </a:lnTo>
                  <a:lnTo>
                    <a:pt x="2680" y="401"/>
                  </a:lnTo>
                  <a:lnTo>
                    <a:pt x="2680" y="401"/>
                  </a:lnTo>
                  <a:lnTo>
                    <a:pt x="2680" y="399"/>
                  </a:lnTo>
                  <a:lnTo>
                    <a:pt x="2680" y="399"/>
                  </a:lnTo>
                  <a:lnTo>
                    <a:pt x="2681" y="396"/>
                  </a:lnTo>
                  <a:lnTo>
                    <a:pt x="2676" y="391"/>
                  </a:lnTo>
                  <a:lnTo>
                    <a:pt x="2673" y="387"/>
                  </a:lnTo>
                  <a:lnTo>
                    <a:pt x="2671" y="382"/>
                  </a:lnTo>
                  <a:lnTo>
                    <a:pt x="2667" y="377"/>
                  </a:lnTo>
                  <a:lnTo>
                    <a:pt x="2666" y="370"/>
                  </a:lnTo>
                  <a:lnTo>
                    <a:pt x="2650" y="370"/>
                  </a:lnTo>
                  <a:lnTo>
                    <a:pt x="2652" y="349"/>
                  </a:lnTo>
                  <a:lnTo>
                    <a:pt x="2648" y="333"/>
                  </a:lnTo>
                  <a:lnTo>
                    <a:pt x="2646" y="319"/>
                  </a:lnTo>
                  <a:lnTo>
                    <a:pt x="2643" y="300"/>
                  </a:lnTo>
                  <a:lnTo>
                    <a:pt x="2653" y="293"/>
                  </a:lnTo>
                  <a:lnTo>
                    <a:pt x="2660" y="284"/>
                  </a:lnTo>
                  <a:lnTo>
                    <a:pt x="2664" y="274"/>
                  </a:lnTo>
                  <a:lnTo>
                    <a:pt x="2667" y="261"/>
                  </a:lnTo>
                  <a:lnTo>
                    <a:pt x="2671" y="251"/>
                  </a:lnTo>
                  <a:lnTo>
                    <a:pt x="2676" y="240"/>
                  </a:lnTo>
                  <a:lnTo>
                    <a:pt x="2683" y="232"/>
                  </a:lnTo>
                  <a:lnTo>
                    <a:pt x="2692" y="226"/>
                  </a:lnTo>
                  <a:lnTo>
                    <a:pt x="2708" y="225"/>
                  </a:lnTo>
                  <a:lnTo>
                    <a:pt x="2727" y="226"/>
                  </a:lnTo>
                  <a:lnTo>
                    <a:pt x="2732" y="235"/>
                  </a:lnTo>
                  <a:lnTo>
                    <a:pt x="2739" y="242"/>
                  </a:lnTo>
                  <a:lnTo>
                    <a:pt x="2737" y="256"/>
                  </a:lnTo>
                  <a:lnTo>
                    <a:pt x="2734" y="270"/>
                  </a:lnTo>
                  <a:lnTo>
                    <a:pt x="2730" y="282"/>
                  </a:lnTo>
                  <a:lnTo>
                    <a:pt x="2729" y="293"/>
                  </a:lnTo>
                  <a:lnTo>
                    <a:pt x="2727" y="300"/>
                  </a:lnTo>
                  <a:lnTo>
                    <a:pt x="2730" y="309"/>
                  </a:lnTo>
                  <a:lnTo>
                    <a:pt x="2736" y="321"/>
                  </a:lnTo>
                  <a:lnTo>
                    <a:pt x="2739" y="335"/>
                  </a:lnTo>
                  <a:lnTo>
                    <a:pt x="2742" y="345"/>
                  </a:lnTo>
                  <a:lnTo>
                    <a:pt x="2742" y="357"/>
                  </a:lnTo>
                  <a:lnTo>
                    <a:pt x="2739" y="368"/>
                  </a:lnTo>
                  <a:lnTo>
                    <a:pt x="2736" y="377"/>
                  </a:lnTo>
                  <a:lnTo>
                    <a:pt x="2736" y="384"/>
                  </a:lnTo>
                  <a:lnTo>
                    <a:pt x="2737" y="389"/>
                  </a:lnTo>
                  <a:lnTo>
                    <a:pt x="2739" y="392"/>
                  </a:lnTo>
                  <a:lnTo>
                    <a:pt x="2742" y="396"/>
                  </a:lnTo>
                  <a:lnTo>
                    <a:pt x="2746" y="399"/>
                  </a:lnTo>
                  <a:lnTo>
                    <a:pt x="2748" y="405"/>
                  </a:lnTo>
                  <a:lnTo>
                    <a:pt x="2751" y="411"/>
                  </a:lnTo>
                  <a:lnTo>
                    <a:pt x="2746" y="422"/>
                  </a:lnTo>
                  <a:lnTo>
                    <a:pt x="2742" y="434"/>
                  </a:lnTo>
                  <a:lnTo>
                    <a:pt x="2742" y="450"/>
                  </a:lnTo>
                  <a:lnTo>
                    <a:pt x="2737" y="453"/>
                  </a:lnTo>
                  <a:lnTo>
                    <a:pt x="2734" y="457"/>
                  </a:lnTo>
                  <a:lnTo>
                    <a:pt x="2729" y="459"/>
                  </a:lnTo>
                  <a:lnTo>
                    <a:pt x="2723" y="462"/>
                  </a:lnTo>
                  <a:lnTo>
                    <a:pt x="2716" y="464"/>
                  </a:lnTo>
                  <a:lnTo>
                    <a:pt x="2716" y="469"/>
                  </a:lnTo>
                  <a:lnTo>
                    <a:pt x="2736" y="469"/>
                  </a:lnTo>
                  <a:lnTo>
                    <a:pt x="2737" y="467"/>
                  </a:lnTo>
                  <a:lnTo>
                    <a:pt x="2737" y="467"/>
                  </a:lnTo>
                  <a:lnTo>
                    <a:pt x="2739" y="466"/>
                  </a:lnTo>
                  <a:lnTo>
                    <a:pt x="2739" y="466"/>
                  </a:lnTo>
                  <a:lnTo>
                    <a:pt x="2742" y="464"/>
                  </a:lnTo>
                  <a:lnTo>
                    <a:pt x="2749" y="452"/>
                  </a:lnTo>
                  <a:lnTo>
                    <a:pt x="2756" y="438"/>
                  </a:lnTo>
                  <a:lnTo>
                    <a:pt x="2762" y="427"/>
                  </a:lnTo>
                  <a:lnTo>
                    <a:pt x="2765" y="410"/>
                  </a:lnTo>
                  <a:lnTo>
                    <a:pt x="2762" y="394"/>
                  </a:lnTo>
                  <a:lnTo>
                    <a:pt x="2760" y="378"/>
                  </a:lnTo>
                  <a:lnTo>
                    <a:pt x="2758" y="364"/>
                  </a:lnTo>
                  <a:lnTo>
                    <a:pt x="2777" y="364"/>
                  </a:lnTo>
                  <a:lnTo>
                    <a:pt x="2795" y="364"/>
                  </a:lnTo>
                  <a:lnTo>
                    <a:pt x="2812" y="370"/>
                  </a:lnTo>
                  <a:lnTo>
                    <a:pt x="2812" y="364"/>
                  </a:lnTo>
                  <a:lnTo>
                    <a:pt x="2795" y="357"/>
                  </a:lnTo>
                  <a:lnTo>
                    <a:pt x="2774" y="349"/>
                  </a:lnTo>
                  <a:lnTo>
                    <a:pt x="2755" y="342"/>
                  </a:lnTo>
                  <a:lnTo>
                    <a:pt x="2751" y="324"/>
                  </a:lnTo>
                  <a:lnTo>
                    <a:pt x="2746" y="312"/>
                  </a:lnTo>
                  <a:lnTo>
                    <a:pt x="2741" y="302"/>
                  </a:lnTo>
                  <a:lnTo>
                    <a:pt x="2736" y="288"/>
                  </a:lnTo>
                  <a:lnTo>
                    <a:pt x="2758" y="268"/>
                  </a:lnTo>
                  <a:lnTo>
                    <a:pt x="2758" y="235"/>
                  </a:lnTo>
                  <a:lnTo>
                    <a:pt x="2762" y="235"/>
                  </a:lnTo>
                  <a:lnTo>
                    <a:pt x="2765" y="235"/>
                  </a:lnTo>
                  <a:lnTo>
                    <a:pt x="2767" y="235"/>
                  </a:lnTo>
                  <a:lnTo>
                    <a:pt x="2767" y="237"/>
                  </a:lnTo>
                  <a:lnTo>
                    <a:pt x="2770" y="239"/>
                  </a:lnTo>
                  <a:lnTo>
                    <a:pt x="2774" y="249"/>
                  </a:lnTo>
                  <a:lnTo>
                    <a:pt x="2777" y="260"/>
                  </a:lnTo>
                  <a:lnTo>
                    <a:pt x="2784" y="268"/>
                  </a:lnTo>
                  <a:lnTo>
                    <a:pt x="2797" y="261"/>
                  </a:lnTo>
                  <a:lnTo>
                    <a:pt x="2812" y="258"/>
                  </a:lnTo>
                  <a:lnTo>
                    <a:pt x="2832" y="258"/>
                  </a:lnTo>
                  <a:lnTo>
                    <a:pt x="2842" y="272"/>
                  </a:lnTo>
                  <a:lnTo>
                    <a:pt x="2858" y="286"/>
                  </a:lnTo>
                  <a:lnTo>
                    <a:pt x="2873" y="296"/>
                  </a:lnTo>
                  <a:lnTo>
                    <a:pt x="2873" y="288"/>
                  </a:lnTo>
                  <a:lnTo>
                    <a:pt x="2861" y="275"/>
                  </a:lnTo>
                  <a:lnTo>
                    <a:pt x="2852" y="260"/>
                  </a:lnTo>
                  <a:lnTo>
                    <a:pt x="2847" y="240"/>
                  </a:lnTo>
                  <a:lnTo>
                    <a:pt x="2842" y="221"/>
                  </a:lnTo>
                  <a:lnTo>
                    <a:pt x="2838" y="200"/>
                  </a:lnTo>
                  <a:lnTo>
                    <a:pt x="2861" y="193"/>
                  </a:lnTo>
                  <a:lnTo>
                    <a:pt x="2886" y="188"/>
                  </a:lnTo>
                  <a:lnTo>
                    <a:pt x="2893" y="204"/>
                  </a:lnTo>
                  <a:lnTo>
                    <a:pt x="2896" y="204"/>
                  </a:lnTo>
                  <a:lnTo>
                    <a:pt x="2900" y="188"/>
                  </a:lnTo>
                  <a:lnTo>
                    <a:pt x="2903" y="171"/>
                  </a:lnTo>
                  <a:lnTo>
                    <a:pt x="2908" y="153"/>
                  </a:lnTo>
                  <a:lnTo>
                    <a:pt x="2924" y="144"/>
                  </a:lnTo>
                  <a:lnTo>
                    <a:pt x="2936" y="134"/>
                  </a:lnTo>
                  <a:lnTo>
                    <a:pt x="2950" y="123"/>
                  </a:lnTo>
                  <a:lnTo>
                    <a:pt x="2964" y="117"/>
                  </a:lnTo>
                  <a:lnTo>
                    <a:pt x="2980" y="111"/>
                  </a:lnTo>
                  <a:lnTo>
                    <a:pt x="3001" y="111"/>
                  </a:lnTo>
                  <a:lnTo>
                    <a:pt x="3003" y="104"/>
                  </a:lnTo>
                  <a:lnTo>
                    <a:pt x="3006" y="99"/>
                  </a:lnTo>
                  <a:lnTo>
                    <a:pt x="3008" y="94"/>
                  </a:lnTo>
                  <a:lnTo>
                    <a:pt x="3011" y="89"/>
                  </a:lnTo>
                  <a:lnTo>
                    <a:pt x="3022" y="89"/>
                  </a:lnTo>
                  <a:lnTo>
                    <a:pt x="3036" y="89"/>
                  </a:lnTo>
                  <a:lnTo>
                    <a:pt x="3050" y="89"/>
                  </a:lnTo>
                  <a:lnTo>
                    <a:pt x="3060" y="89"/>
                  </a:lnTo>
                  <a:lnTo>
                    <a:pt x="3065" y="89"/>
                  </a:lnTo>
                  <a:lnTo>
                    <a:pt x="3072" y="83"/>
                  </a:lnTo>
                  <a:lnTo>
                    <a:pt x="3079" y="78"/>
                  </a:lnTo>
                  <a:lnTo>
                    <a:pt x="3086" y="71"/>
                  </a:lnTo>
                  <a:lnTo>
                    <a:pt x="3092" y="66"/>
                  </a:lnTo>
                  <a:lnTo>
                    <a:pt x="3097" y="68"/>
                  </a:lnTo>
                  <a:lnTo>
                    <a:pt x="3100" y="68"/>
                  </a:lnTo>
                  <a:lnTo>
                    <a:pt x="3106" y="69"/>
                  </a:lnTo>
                  <a:lnTo>
                    <a:pt x="3111" y="69"/>
                  </a:lnTo>
                  <a:lnTo>
                    <a:pt x="3111" y="50"/>
                  </a:lnTo>
                  <a:lnTo>
                    <a:pt x="3126" y="43"/>
                  </a:lnTo>
                  <a:lnTo>
                    <a:pt x="3139" y="36"/>
                  </a:lnTo>
                  <a:lnTo>
                    <a:pt x="3151" y="27"/>
                  </a:lnTo>
                  <a:lnTo>
                    <a:pt x="3161" y="17"/>
                  </a:lnTo>
                  <a:lnTo>
                    <a:pt x="3165" y="0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xmlns="" id="{8D2E029C-225C-4534-9301-9F07961AF8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7088" y="1382713"/>
              <a:ext cx="4552950" cy="1549400"/>
            </a:xfrm>
            <a:custGeom>
              <a:avLst/>
              <a:gdLst>
                <a:gd name="T0" fmla="*/ 0 w 2868"/>
                <a:gd name="T1" fmla="*/ 276 h 976"/>
                <a:gd name="T2" fmla="*/ 1210 w 2868"/>
                <a:gd name="T3" fmla="*/ 237 h 976"/>
                <a:gd name="T4" fmla="*/ 1742 w 2868"/>
                <a:gd name="T5" fmla="*/ 276 h 976"/>
                <a:gd name="T6" fmla="*/ 2863 w 2868"/>
                <a:gd name="T7" fmla="*/ 190 h 976"/>
                <a:gd name="T8" fmla="*/ 2804 w 2868"/>
                <a:gd name="T9" fmla="*/ 223 h 976"/>
                <a:gd name="T10" fmla="*/ 194 w 2868"/>
                <a:gd name="T11" fmla="*/ 279 h 976"/>
                <a:gd name="T12" fmla="*/ 98 w 2868"/>
                <a:gd name="T13" fmla="*/ 202 h 976"/>
                <a:gd name="T14" fmla="*/ 138 w 2868"/>
                <a:gd name="T15" fmla="*/ 150 h 976"/>
                <a:gd name="T16" fmla="*/ 1685 w 2868"/>
                <a:gd name="T17" fmla="*/ 166 h 976"/>
                <a:gd name="T18" fmla="*/ 1631 w 2868"/>
                <a:gd name="T19" fmla="*/ 295 h 976"/>
                <a:gd name="T20" fmla="*/ 1620 w 2868"/>
                <a:gd name="T21" fmla="*/ 218 h 976"/>
                <a:gd name="T22" fmla="*/ 1569 w 2868"/>
                <a:gd name="T23" fmla="*/ 159 h 976"/>
                <a:gd name="T24" fmla="*/ 1632 w 2868"/>
                <a:gd name="T25" fmla="*/ 157 h 976"/>
                <a:gd name="T26" fmla="*/ 2615 w 2868"/>
                <a:gd name="T27" fmla="*/ 120 h 976"/>
                <a:gd name="T28" fmla="*/ 2090 w 2868"/>
                <a:gd name="T29" fmla="*/ 120 h 976"/>
                <a:gd name="T30" fmla="*/ 2739 w 2868"/>
                <a:gd name="T31" fmla="*/ 87 h 976"/>
                <a:gd name="T32" fmla="*/ 2765 w 2868"/>
                <a:gd name="T33" fmla="*/ 195 h 976"/>
                <a:gd name="T34" fmla="*/ 2704 w 2868"/>
                <a:gd name="T35" fmla="*/ 92 h 976"/>
                <a:gd name="T36" fmla="*/ 2158 w 2868"/>
                <a:gd name="T37" fmla="*/ 99 h 976"/>
                <a:gd name="T38" fmla="*/ 1786 w 2868"/>
                <a:gd name="T39" fmla="*/ 89 h 976"/>
                <a:gd name="T40" fmla="*/ 1681 w 2868"/>
                <a:gd name="T41" fmla="*/ 89 h 976"/>
                <a:gd name="T42" fmla="*/ 2186 w 2868"/>
                <a:gd name="T43" fmla="*/ 45 h 976"/>
                <a:gd name="T44" fmla="*/ 596 w 2868"/>
                <a:gd name="T45" fmla="*/ 92 h 976"/>
                <a:gd name="T46" fmla="*/ 384 w 2868"/>
                <a:gd name="T47" fmla="*/ 253 h 976"/>
                <a:gd name="T48" fmla="*/ 330 w 2868"/>
                <a:gd name="T49" fmla="*/ 316 h 976"/>
                <a:gd name="T50" fmla="*/ 321 w 2868"/>
                <a:gd name="T51" fmla="*/ 361 h 976"/>
                <a:gd name="T52" fmla="*/ 205 w 2868"/>
                <a:gd name="T53" fmla="*/ 335 h 976"/>
                <a:gd name="T54" fmla="*/ 253 w 2868"/>
                <a:gd name="T55" fmla="*/ 248 h 976"/>
                <a:gd name="T56" fmla="*/ 304 w 2868"/>
                <a:gd name="T57" fmla="*/ 197 h 976"/>
                <a:gd name="T58" fmla="*/ 311 w 2868"/>
                <a:gd name="T59" fmla="*/ 188 h 976"/>
                <a:gd name="T60" fmla="*/ 192 w 2868"/>
                <a:gd name="T61" fmla="*/ 168 h 976"/>
                <a:gd name="T62" fmla="*/ 161 w 2868"/>
                <a:gd name="T63" fmla="*/ 131 h 976"/>
                <a:gd name="T64" fmla="*/ 253 w 2868"/>
                <a:gd name="T65" fmla="*/ 92 h 976"/>
                <a:gd name="T66" fmla="*/ 323 w 2868"/>
                <a:gd name="T67" fmla="*/ 77 h 976"/>
                <a:gd name="T68" fmla="*/ 2107 w 2868"/>
                <a:gd name="T69" fmla="*/ 80 h 976"/>
                <a:gd name="T70" fmla="*/ 2090 w 2868"/>
                <a:gd name="T71" fmla="*/ 59 h 976"/>
                <a:gd name="T72" fmla="*/ 2147 w 2868"/>
                <a:gd name="T73" fmla="*/ 30 h 976"/>
                <a:gd name="T74" fmla="*/ 1048 w 2868"/>
                <a:gd name="T75" fmla="*/ 73 h 976"/>
                <a:gd name="T76" fmla="*/ 1076 w 2868"/>
                <a:gd name="T77" fmla="*/ 131 h 976"/>
                <a:gd name="T78" fmla="*/ 1294 w 2868"/>
                <a:gd name="T79" fmla="*/ 147 h 976"/>
                <a:gd name="T80" fmla="*/ 1196 w 2868"/>
                <a:gd name="T81" fmla="*/ 243 h 976"/>
                <a:gd name="T82" fmla="*/ 1224 w 2868"/>
                <a:gd name="T83" fmla="*/ 353 h 976"/>
                <a:gd name="T84" fmla="*/ 1198 w 2868"/>
                <a:gd name="T85" fmla="*/ 415 h 976"/>
                <a:gd name="T86" fmla="*/ 1192 w 2868"/>
                <a:gd name="T87" fmla="*/ 490 h 976"/>
                <a:gd name="T88" fmla="*/ 1140 w 2868"/>
                <a:gd name="T89" fmla="*/ 538 h 976"/>
                <a:gd name="T90" fmla="*/ 1091 w 2868"/>
                <a:gd name="T91" fmla="*/ 602 h 976"/>
                <a:gd name="T92" fmla="*/ 1048 w 2868"/>
                <a:gd name="T93" fmla="*/ 696 h 976"/>
                <a:gd name="T94" fmla="*/ 911 w 2868"/>
                <a:gd name="T95" fmla="*/ 784 h 976"/>
                <a:gd name="T96" fmla="*/ 861 w 2868"/>
                <a:gd name="T97" fmla="*/ 932 h 976"/>
                <a:gd name="T98" fmla="*/ 740 w 2868"/>
                <a:gd name="T99" fmla="*/ 862 h 976"/>
                <a:gd name="T100" fmla="*/ 714 w 2868"/>
                <a:gd name="T101" fmla="*/ 806 h 976"/>
                <a:gd name="T102" fmla="*/ 718 w 2868"/>
                <a:gd name="T103" fmla="*/ 641 h 976"/>
                <a:gd name="T104" fmla="*/ 672 w 2868"/>
                <a:gd name="T105" fmla="*/ 576 h 976"/>
                <a:gd name="T106" fmla="*/ 466 w 2868"/>
                <a:gd name="T107" fmla="*/ 374 h 976"/>
                <a:gd name="T108" fmla="*/ 447 w 2868"/>
                <a:gd name="T109" fmla="*/ 290 h 976"/>
                <a:gd name="T110" fmla="*/ 592 w 2868"/>
                <a:gd name="T111" fmla="*/ 140 h 976"/>
                <a:gd name="T112" fmla="*/ 711 w 2868"/>
                <a:gd name="T113" fmla="*/ 112 h 976"/>
                <a:gd name="T114" fmla="*/ 833 w 2868"/>
                <a:gd name="T115" fmla="*/ 80 h 976"/>
                <a:gd name="T116" fmla="*/ 896 w 2868"/>
                <a:gd name="T117" fmla="*/ 44 h 976"/>
                <a:gd name="T118" fmla="*/ 2706 w 2868"/>
                <a:gd name="T119" fmla="*/ 31 h 976"/>
                <a:gd name="T120" fmla="*/ 2641 w 2868"/>
                <a:gd name="T121" fmla="*/ 80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68" h="976">
                  <a:moveTo>
                    <a:pt x="7" y="243"/>
                  </a:moveTo>
                  <a:lnTo>
                    <a:pt x="25" y="248"/>
                  </a:lnTo>
                  <a:lnTo>
                    <a:pt x="37" y="257"/>
                  </a:lnTo>
                  <a:lnTo>
                    <a:pt x="47" y="265"/>
                  </a:lnTo>
                  <a:lnTo>
                    <a:pt x="58" y="276"/>
                  </a:lnTo>
                  <a:lnTo>
                    <a:pt x="68" y="284"/>
                  </a:lnTo>
                  <a:lnTo>
                    <a:pt x="68" y="281"/>
                  </a:lnTo>
                  <a:lnTo>
                    <a:pt x="74" y="281"/>
                  </a:lnTo>
                  <a:lnTo>
                    <a:pt x="74" y="284"/>
                  </a:lnTo>
                  <a:lnTo>
                    <a:pt x="75" y="288"/>
                  </a:lnTo>
                  <a:lnTo>
                    <a:pt x="79" y="293"/>
                  </a:lnTo>
                  <a:lnTo>
                    <a:pt x="81" y="300"/>
                  </a:lnTo>
                  <a:lnTo>
                    <a:pt x="74" y="300"/>
                  </a:lnTo>
                  <a:lnTo>
                    <a:pt x="70" y="300"/>
                  </a:lnTo>
                  <a:lnTo>
                    <a:pt x="70" y="302"/>
                  </a:lnTo>
                  <a:lnTo>
                    <a:pt x="68" y="302"/>
                  </a:lnTo>
                  <a:lnTo>
                    <a:pt x="65" y="302"/>
                  </a:lnTo>
                  <a:lnTo>
                    <a:pt x="61" y="304"/>
                  </a:lnTo>
                  <a:lnTo>
                    <a:pt x="47" y="293"/>
                  </a:lnTo>
                  <a:lnTo>
                    <a:pt x="33" y="288"/>
                  </a:lnTo>
                  <a:lnTo>
                    <a:pt x="16" y="284"/>
                  </a:lnTo>
                  <a:lnTo>
                    <a:pt x="0" y="276"/>
                  </a:lnTo>
                  <a:lnTo>
                    <a:pt x="6" y="271"/>
                  </a:lnTo>
                  <a:lnTo>
                    <a:pt x="7" y="265"/>
                  </a:lnTo>
                  <a:lnTo>
                    <a:pt x="6" y="260"/>
                  </a:lnTo>
                  <a:lnTo>
                    <a:pt x="6" y="253"/>
                  </a:lnTo>
                  <a:lnTo>
                    <a:pt x="7" y="243"/>
                  </a:lnTo>
                  <a:close/>
                  <a:moveTo>
                    <a:pt x="1222" y="236"/>
                  </a:moveTo>
                  <a:lnTo>
                    <a:pt x="1226" y="236"/>
                  </a:lnTo>
                  <a:lnTo>
                    <a:pt x="1229" y="237"/>
                  </a:lnTo>
                  <a:lnTo>
                    <a:pt x="1231" y="239"/>
                  </a:lnTo>
                  <a:lnTo>
                    <a:pt x="1233" y="241"/>
                  </a:lnTo>
                  <a:lnTo>
                    <a:pt x="1234" y="243"/>
                  </a:lnTo>
                  <a:lnTo>
                    <a:pt x="1234" y="244"/>
                  </a:lnTo>
                  <a:lnTo>
                    <a:pt x="1234" y="246"/>
                  </a:lnTo>
                  <a:lnTo>
                    <a:pt x="1236" y="250"/>
                  </a:lnTo>
                  <a:lnTo>
                    <a:pt x="1229" y="250"/>
                  </a:lnTo>
                  <a:lnTo>
                    <a:pt x="1226" y="251"/>
                  </a:lnTo>
                  <a:lnTo>
                    <a:pt x="1222" y="251"/>
                  </a:lnTo>
                  <a:lnTo>
                    <a:pt x="1219" y="253"/>
                  </a:lnTo>
                  <a:lnTo>
                    <a:pt x="1213" y="253"/>
                  </a:lnTo>
                  <a:lnTo>
                    <a:pt x="1213" y="250"/>
                  </a:lnTo>
                  <a:lnTo>
                    <a:pt x="1210" y="250"/>
                  </a:lnTo>
                  <a:lnTo>
                    <a:pt x="1210" y="237"/>
                  </a:lnTo>
                  <a:lnTo>
                    <a:pt x="1215" y="237"/>
                  </a:lnTo>
                  <a:lnTo>
                    <a:pt x="1220" y="236"/>
                  </a:lnTo>
                  <a:lnTo>
                    <a:pt x="1222" y="236"/>
                  </a:lnTo>
                  <a:close/>
                  <a:moveTo>
                    <a:pt x="61" y="227"/>
                  </a:moveTo>
                  <a:lnTo>
                    <a:pt x="77" y="227"/>
                  </a:lnTo>
                  <a:lnTo>
                    <a:pt x="77" y="230"/>
                  </a:lnTo>
                  <a:lnTo>
                    <a:pt x="74" y="230"/>
                  </a:lnTo>
                  <a:lnTo>
                    <a:pt x="70" y="230"/>
                  </a:lnTo>
                  <a:lnTo>
                    <a:pt x="68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63" y="230"/>
                  </a:lnTo>
                  <a:lnTo>
                    <a:pt x="61" y="227"/>
                  </a:lnTo>
                  <a:close/>
                  <a:moveTo>
                    <a:pt x="1716" y="202"/>
                  </a:moveTo>
                  <a:lnTo>
                    <a:pt x="1728" y="202"/>
                  </a:lnTo>
                  <a:lnTo>
                    <a:pt x="1732" y="216"/>
                  </a:lnTo>
                  <a:lnTo>
                    <a:pt x="1735" y="225"/>
                  </a:lnTo>
                  <a:lnTo>
                    <a:pt x="1742" y="229"/>
                  </a:lnTo>
                  <a:lnTo>
                    <a:pt x="1754" y="234"/>
                  </a:lnTo>
                  <a:lnTo>
                    <a:pt x="1749" y="255"/>
                  </a:lnTo>
                  <a:lnTo>
                    <a:pt x="1742" y="276"/>
                  </a:lnTo>
                  <a:lnTo>
                    <a:pt x="1732" y="291"/>
                  </a:lnTo>
                  <a:lnTo>
                    <a:pt x="1732" y="272"/>
                  </a:lnTo>
                  <a:lnTo>
                    <a:pt x="1709" y="272"/>
                  </a:lnTo>
                  <a:lnTo>
                    <a:pt x="1711" y="250"/>
                  </a:lnTo>
                  <a:lnTo>
                    <a:pt x="1713" y="229"/>
                  </a:lnTo>
                  <a:lnTo>
                    <a:pt x="1716" y="202"/>
                  </a:lnTo>
                  <a:close/>
                  <a:moveTo>
                    <a:pt x="2819" y="157"/>
                  </a:moveTo>
                  <a:lnTo>
                    <a:pt x="2823" y="157"/>
                  </a:lnTo>
                  <a:lnTo>
                    <a:pt x="2823" y="161"/>
                  </a:lnTo>
                  <a:lnTo>
                    <a:pt x="2824" y="166"/>
                  </a:lnTo>
                  <a:lnTo>
                    <a:pt x="2826" y="168"/>
                  </a:lnTo>
                  <a:lnTo>
                    <a:pt x="2828" y="171"/>
                  </a:lnTo>
                  <a:lnTo>
                    <a:pt x="2830" y="173"/>
                  </a:lnTo>
                  <a:lnTo>
                    <a:pt x="2833" y="176"/>
                  </a:lnTo>
                  <a:lnTo>
                    <a:pt x="2837" y="173"/>
                  </a:lnTo>
                  <a:lnTo>
                    <a:pt x="2838" y="169"/>
                  </a:lnTo>
                  <a:lnTo>
                    <a:pt x="2840" y="168"/>
                  </a:lnTo>
                  <a:lnTo>
                    <a:pt x="2844" y="168"/>
                  </a:lnTo>
                  <a:lnTo>
                    <a:pt x="2849" y="166"/>
                  </a:lnTo>
                  <a:lnTo>
                    <a:pt x="2852" y="176"/>
                  </a:lnTo>
                  <a:lnTo>
                    <a:pt x="2858" y="183"/>
                  </a:lnTo>
                  <a:lnTo>
                    <a:pt x="2863" y="190"/>
                  </a:lnTo>
                  <a:lnTo>
                    <a:pt x="2866" y="199"/>
                  </a:lnTo>
                  <a:lnTo>
                    <a:pt x="2868" y="211"/>
                  </a:lnTo>
                  <a:lnTo>
                    <a:pt x="2868" y="213"/>
                  </a:lnTo>
                  <a:lnTo>
                    <a:pt x="2866" y="215"/>
                  </a:lnTo>
                  <a:lnTo>
                    <a:pt x="2866" y="216"/>
                  </a:lnTo>
                  <a:lnTo>
                    <a:pt x="2866" y="218"/>
                  </a:lnTo>
                  <a:lnTo>
                    <a:pt x="2866" y="220"/>
                  </a:lnTo>
                  <a:lnTo>
                    <a:pt x="2865" y="223"/>
                  </a:lnTo>
                  <a:lnTo>
                    <a:pt x="2854" y="230"/>
                  </a:lnTo>
                  <a:lnTo>
                    <a:pt x="2838" y="237"/>
                  </a:lnTo>
                  <a:lnTo>
                    <a:pt x="2819" y="241"/>
                  </a:lnTo>
                  <a:lnTo>
                    <a:pt x="2800" y="244"/>
                  </a:lnTo>
                  <a:lnTo>
                    <a:pt x="2784" y="246"/>
                  </a:lnTo>
                  <a:lnTo>
                    <a:pt x="2786" y="237"/>
                  </a:lnTo>
                  <a:lnTo>
                    <a:pt x="2788" y="234"/>
                  </a:lnTo>
                  <a:lnTo>
                    <a:pt x="2790" y="230"/>
                  </a:lnTo>
                  <a:lnTo>
                    <a:pt x="2791" y="229"/>
                  </a:lnTo>
                  <a:lnTo>
                    <a:pt x="2793" y="229"/>
                  </a:lnTo>
                  <a:lnTo>
                    <a:pt x="2797" y="227"/>
                  </a:lnTo>
                  <a:lnTo>
                    <a:pt x="2798" y="227"/>
                  </a:lnTo>
                  <a:lnTo>
                    <a:pt x="2800" y="225"/>
                  </a:lnTo>
                  <a:lnTo>
                    <a:pt x="2804" y="223"/>
                  </a:lnTo>
                  <a:lnTo>
                    <a:pt x="2809" y="209"/>
                  </a:lnTo>
                  <a:lnTo>
                    <a:pt x="2809" y="195"/>
                  </a:lnTo>
                  <a:lnTo>
                    <a:pt x="2807" y="182"/>
                  </a:lnTo>
                  <a:lnTo>
                    <a:pt x="2810" y="171"/>
                  </a:lnTo>
                  <a:lnTo>
                    <a:pt x="2819" y="161"/>
                  </a:lnTo>
                  <a:lnTo>
                    <a:pt x="2819" y="157"/>
                  </a:lnTo>
                  <a:close/>
                  <a:moveTo>
                    <a:pt x="142" y="150"/>
                  </a:moveTo>
                  <a:lnTo>
                    <a:pt x="161" y="171"/>
                  </a:lnTo>
                  <a:lnTo>
                    <a:pt x="185" y="187"/>
                  </a:lnTo>
                  <a:lnTo>
                    <a:pt x="215" y="199"/>
                  </a:lnTo>
                  <a:lnTo>
                    <a:pt x="217" y="216"/>
                  </a:lnTo>
                  <a:lnTo>
                    <a:pt x="222" y="229"/>
                  </a:lnTo>
                  <a:lnTo>
                    <a:pt x="227" y="236"/>
                  </a:lnTo>
                  <a:lnTo>
                    <a:pt x="234" y="243"/>
                  </a:lnTo>
                  <a:lnTo>
                    <a:pt x="241" y="253"/>
                  </a:lnTo>
                  <a:lnTo>
                    <a:pt x="229" y="255"/>
                  </a:lnTo>
                  <a:lnTo>
                    <a:pt x="217" y="257"/>
                  </a:lnTo>
                  <a:lnTo>
                    <a:pt x="206" y="262"/>
                  </a:lnTo>
                  <a:lnTo>
                    <a:pt x="199" y="269"/>
                  </a:lnTo>
                  <a:lnTo>
                    <a:pt x="198" y="272"/>
                  </a:lnTo>
                  <a:lnTo>
                    <a:pt x="196" y="276"/>
                  </a:lnTo>
                  <a:lnTo>
                    <a:pt x="194" y="279"/>
                  </a:lnTo>
                  <a:lnTo>
                    <a:pt x="192" y="281"/>
                  </a:lnTo>
                  <a:lnTo>
                    <a:pt x="189" y="284"/>
                  </a:lnTo>
                  <a:lnTo>
                    <a:pt x="178" y="286"/>
                  </a:lnTo>
                  <a:lnTo>
                    <a:pt x="163" y="288"/>
                  </a:lnTo>
                  <a:lnTo>
                    <a:pt x="145" y="286"/>
                  </a:lnTo>
                  <a:lnTo>
                    <a:pt x="131" y="284"/>
                  </a:lnTo>
                  <a:lnTo>
                    <a:pt x="128" y="274"/>
                  </a:lnTo>
                  <a:lnTo>
                    <a:pt x="126" y="267"/>
                  </a:lnTo>
                  <a:lnTo>
                    <a:pt x="124" y="262"/>
                  </a:lnTo>
                  <a:lnTo>
                    <a:pt x="119" y="253"/>
                  </a:lnTo>
                  <a:lnTo>
                    <a:pt x="142" y="246"/>
                  </a:lnTo>
                  <a:lnTo>
                    <a:pt x="142" y="243"/>
                  </a:lnTo>
                  <a:lnTo>
                    <a:pt x="124" y="241"/>
                  </a:lnTo>
                  <a:lnTo>
                    <a:pt x="112" y="237"/>
                  </a:lnTo>
                  <a:lnTo>
                    <a:pt x="103" y="230"/>
                  </a:lnTo>
                  <a:lnTo>
                    <a:pt x="102" y="225"/>
                  </a:lnTo>
                  <a:lnTo>
                    <a:pt x="98" y="220"/>
                  </a:lnTo>
                  <a:lnTo>
                    <a:pt x="96" y="215"/>
                  </a:lnTo>
                  <a:lnTo>
                    <a:pt x="96" y="209"/>
                  </a:lnTo>
                  <a:lnTo>
                    <a:pt x="96" y="206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100" y="201"/>
                  </a:lnTo>
                  <a:lnTo>
                    <a:pt x="102" y="201"/>
                  </a:lnTo>
                  <a:lnTo>
                    <a:pt x="103" y="201"/>
                  </a:lnTo>
                  <a:lnTo>
                    <a:pt x="107" y="199"/>
                  </a:lnTo>
                  <a:lnTo>
                    <a:pt x="109" y="194"/>
                  </a:lnTo>
                  <a:lnTo>
                    <a:pt x="109" y="188"/>
                  </a:lnTo>
                  <a:lnTo>
                    <a:pt x="109" y="185"/>
                  </a:lnTo>
                  <a:lnTo>
                    <a:pt x="110" y="183"/>
                  </a:lnTo>
                  <a:lnTo>
                    <a:pt x="112" y="180"/>
                  </a:lnTo>
                  <a:lnTo>
                    <a:pt x="114" y="180"/>
                  </a:lnTo>
                  <a:lnTo>
                    <a:pt x="116" y="178"/>
                  </a:lnTo>
                  <a:lnTo>
                    <a:pt x="117" y="178"/>
                  </a:lnTo>
                  <a:lnTo>
                    <a:pt x="119" y="178"/>
                  </a:lnTo>
                  <a:lnTo>
                    <a:pt x="122" y="176"/>
                  </a:lnTo>
                  <a:lnTo>
                    <a:pt x="124" y="169"/>
                  </a:lnTo>
                  <a:lnTo>
                    <a:pt x="126" y="164"/>
                  </a:lnTo>
                  <a:lnTo>
                    <a:pt x="128" y="159"/>
                  </a:lnTo>
                  <a:lnTo>
                    <a:pt x="131" y="154"/>
                  </a:lnTo>
                  <a:lnTo>
                    <a:pt x="133" y="152"/>
                  </a:lnTo>
                  <a:lnTo>
                    <a:pt x="135" y="152"/>
                  </a:lnTo>
                  <a:lnTo>
                    <a:pt x="136" y="150"/>
                  </a:lnTo>
                  <a:lnTo>
                    <a:pt x="138" y="150"/>
                  </a:lnTo>
                  <a:lnTo>
                    <a:pt x="142" y="150"/>
                  </a:lnTo>
                  <a:close/>
                  <a:moveTo>
                    <a:pt x="1172" y="131"/>
                  </a:moveTo>
                  <a:lnTo>
                    <a:pt x="1177" y="133"/>
                  </a:lnTo>
                  <a:lnTo>
                    <a:pt x="1182" y="134"/>
                  </a:lnTo>
                  <a:lnTo>
                    <a:pt x="1185" y="136"/>
                  </a:lnTo>
                  <a:lnTo>
                    <a:pt x="1191" y="138"/>
                  </a:lnTo>
                  <a:lnTo>
                    <a:pt x="1191" y="143"/>
                  </a:lnTo>
                  <a:lnTo>
                    <a:pt x="1192" y="147"/>
                  </a:lnTo>
                  <a:lnTo>
                    <a:pt x="1192" y="150"/>
                  </a:lnTo>
                  <a:lnTo>
                    <a:pt x="1194" y="154"/>
                  </a:lnTo>
                  <a:lnTo>
                    <a:pt x="1182" y="154"/>
                  </a:lnTo>
                  <a:lnTo>
                    <a:pt x="1180" y="150"/>
                  </a:lnTo>
                  <a:lnTo>
                    <a:pt x="1178" y="147"/>
                  </a:lnTo>
                  <a:lnTo>
                    <a:pt x="1175" y="143"/>
                  </a:lnTo>
                  <a:lnTo>
                    <a:pt x="1173" y="141"/>
                  </a:lnTo>
                  <a:lnTo>
                    <a:pt x="1173" y="136"/>
                  </a:lnTo>
                  <a:lnTo>
                    <a:pt x="1172" y="131"/>
                  </a:lnTo>
                  <a:close/>
                  <a:moveTo>
                    <a:pt x="1658" y="108"/>
                  </a:moveTo>
                  <a:lnTo>
                    <a:pt x="1664" y="117"/>
                  </a:lnTo>
                  <a:lnTo>
                    <a:pt x="1669" y="134"/>
                  </a:lnTo>
                  <a:lnTo>
                    <a:pt x="1676" y="150"/>
                  </a:lnTo>
                  <a:lnTo>
                    <a:pt x="1685" y="166"/>
                  </a:lnTo>
                  <a:lnTo>
                    <a:pt x="1690" y="173"/>
                  </a:lnTo>
                  <a:lnTo>
                    <a:pt x="1693" y="169"/>
                  </a:lnTo>
                  <a:lnTo>
                    <a:pt x="1695" y="168"/>
                  </a:lnTo>
                  <a:lnTo>
                    <a:pt x="1699" y="168"/>
                  </a:lnTo>
                  <a:lnTo>
                    <a:pt x="1702" y="166"/>
                  </a:lnTo>
                  <a:lnTo>
                    <a:pt x="1709" y="166"/>
                  </a:lnTo>
                  <a:lnTo>
                    <a:pt x="1709" y="169"/>
                  </a:lnTo>
                  <a:lnTo>
                    <a:pt x="1713" y="169"/>
                  </a:lnTo>
                  <a:lnTo>
                    <a:pt x="1713" y="180"/>
                  </a:lnTo>
                  <a:lnTo>
                    <a:pt x="1686" y="183"/>
                  </a:lnTo>
                  <a:lnTo>
                    <a:pt x="1683" y="211"/>
                  </a:lnTo>
                  <a:lnTo>
                    <a:pt x="1674" y="234"/>
                  </a:lnTo>
                  <a:lnTo>
                    <a:pt x="1667" y="257"/>
                  </a:lnTo>
                  <a:lnTo>
                    <a:pt x="1664" y="276"/>
                  </a:lnTo>
                  <a:lnTo>
                    <a:pt x="1662" y="295"/>
                  </a:lnTo>
                  <a:lnTo>
                    <a:pt x="1662" y="311"/>
                  </a:lnTo>
                  <a:lnTo>
                    <a:pt x="1658" y="326"/>
                  </a:lnTo>
                  <a:lnTo>
                    <a:pt x="1655" y="326"/>
                  </a:lnTo>
                  <a:lnTo>
                    <a:pt x="1655" y="323"/>
                  </a:lnTo>
                  <a:lnTo>
                    <a:pt x="1650" y="316"/>
                  </a:lnTo>
                  <a:lnTo>
                    <a:pt x="1641" y="307"/>
                  </a:lnTo>
                  <a:lnTo>
                    <a:pt x="1631" y="295"/>
                  </a:lnTo>
                  <a:lnTo>
                    <a:pt x="1622" y="283"/>
                  </a:lnTo>
                  <a:lnTo>
                    <a:pt x="1615" y="271"/>
                  </a:lnTo>
                  <a:lnTo>
                    <a:pt x="1611" y="260"/>
                  </a:lnTo>
                  <a:lnTo>
                    <a:pt x="1613" y="253"/>
                  </a:lnTo>
                  <a:lnTo>
                    <a:pt x="1617" y="251"/>
                  </a:lnTo>
                  <a:lnTo>
                    <a:pt x="1620" y="251"/>
                  </a:lnTo>
                  <a:lnTo>
                    <a:pt x="1622" y="251"/>
                  </a:lnTo>
                  <a:lnTo>
                    <a:pt x="1624" y="251"/>
                  </a:lnTo>
                  <a:lnTo>
                    <a:pt x="1625" y="251"/>
                  </a:lnTo>
                  <a:lnTo>
                    <a:pt x="1627" y="251"/>
                  </a:lnTo>
                  <a:lnTo>
                    <a:pt x="1629" y="250"/>
                  </a:lnTo>
                  <a:lnTo>
                    <a:pt x="1632" y="246"/>
                  </a:lnTo>
                  <a:lnTo>
                    <a:pt x="1629" y="246"/>
                  </a:lnTo>
                  <a:lnTo>
                    <a:pt x="1629" y="243"/>
                  </a:lnTo>
                  <a:lnTo>
                    <a:pt x="1613" y="241"/>
                  </a:lnTo>
                  <a:lnTo>
                    <a:pt x="1604" y="236"/>
                  </a:lnTo>
                  <a:lnTo>
                    <a:pt x="1597" y="227"/>
                  </a:lnTo>
                  <a:lnTo>
                    <a:pt x="1604" y="225"/>
                  </a:lnTo>
                  <a:lnTo>
                    <a:pt x="1610" y="223"/>
                  </a:lnTo>
                  <a:lnTo>
                    <a:pt x="1613" y="222"/>
                  </a:lnTo>
                  <a:lnTo>
                    <a:pt x="1617" y="220"/>
                  </a:lnTo>
                  <a:lnTo>
                    <a:pt x="1620" y="218"/>
                  </a:lnTo>
                  <a:lnTo>
                    <a:pt x="1624" y="215"/>
                  </a:lnTo>
                  <a:lnTo>
                    <a:pt x="1624" y="211"/>
                  </a:lnTo>
                  <a:lnTo>
                    <a:pt x="1610" y="211"/>
                  </a:lnTo>
                  <a:lnTo>
                    <a:pt x="1606" y="213"/>
                  </a:lnTo>
                  <a:lnTo>
                    <a:pt x="1603" y="213"/>
                  </a:lnTo>
                  <a:lnTo>
                    <a:pt x="1599" y="215"/>
                  </a:lnTo>
                  <a:lnTo>
                    <a:pt x="1594" y="215"/>
                  </a:lnTo>
                  <a:lnTo>
                    <a:pt x="1585" y="199"/>
                  </a:lnTo>
                  <a:lnTo>
                    <a:pt x="1575" y="183"/>
                  </a:lnTo>
                  <a:lnTo>
                    <a:pt x="1576" y="178"/>
                  </a:lnTo>
                  <a:lnTo>
                    <a:pt x="1576" y="175"/>
                  </a:lnTo>
                  <a:lnTo>
                    <a:pt x="1578" y="173"/>
                  </a:lnTo>
                  <a:lnTo>
                    <a:pt x="1580" y="169"/>
                  </a:lnTo>
                  <a:lnTo>
                    <a:pt x="1580" y="166"/>
                  </a:lnTo>
                  <a:lnTo>
                    <a:pt x="1582" y="161"/>
                  </a:lnTo>
                  <a:lnTo>
                    <a:pt x="1578" y="161"/>
                  </a:lnTo>
                  <a:lnTo>
                    <a:pt x="1578" y="157"/>
                  </a:lnTo>
                  <a:lnTo>
                    <a:pt x="1575" y="159"/>
                  </a:lnTo>
                  <a:lnTo>
                    <a:pt x="1573" y="159"/>
                  </a:lnTo>
                  <a:lnTo>
                    <a:pt x="1571" y="159"/>
                  </a:lnTo>
                  <a:lnTo>
                    <a:pt x="1571" y="159"/>
                  </a:lnTo>
                  <a:lnTo>
                    <a:pt x="1569" y="159"/>
                  </a:lnTo>
                  <a:lnTo>
                    <a:pt x="1569" y="157"/>
                  </a:lnTo>
                  <a:lnTo>
                    <a:pt x="1566" y="154"/>
                  </a:lnTo>
                  <a:lnTo>
                    <a:pt x="1564" y="150"/>
                  </a:lnTo>
                  <a:lnTo>
                    <a:pt x="1562" y="147"/>
                  </a:lnTo>
                  <a:lnTo>
                    <a:pt x="1561" y="145"/>
                  </a:lnTo>
                  <a:lnTo>
                    <a:pt x="1561" y="140"/>
                  </a:lnTo>
                  <a:lnTo>
                    <a:pt x="1559" y="134"/>
                  </a:lnTo>
                  <a:lnTo>
                    <a:pt x="1578" y="122"/>
                  </a:lnTo>
                  <a:lnTo>
                    <a:pt x="1597" y="112"/>
                  </a:lnTo>
                  <a:lnTo>
                    <a:pt x="1599" y="117"/>
                  </a:lnTo>
                  <a:lnTo>
                    <a:pt x="1601" y="122"/>
                  </a:lnTo>
                  <a:lnTo>
                    <a:pt x="1603" y="124"/>
                  </a:lnTo>
                  <a:lnTo>
                    <a:pt x="1606" y="126"/>
                  </a:lnTo>
                  <a:lnTo>
                    <a:pt x="1608" y="126"/>
                  </a:lnTo>
                  <a:lnTo>
                    <a:pt x="1610" y="127"/>
                  </a:lnTo>
                  <a:lnTo>
                    <a:pt x="1613" y="129"/>
                  </a:lnTo>
                  <a:lnTo>
                    <a:pt x="1617" y="131"/>
                  </a:lnTo>
                  <a:lnTo>
                    <a:pt x="1620" y="141"/>
                  </a:lnTo>
                  <a:lnTo>
                    <a:pt x="1622" y="154"/>
                  </a:lnTo>
                  <a:lnTo>
                    <a:pt x="1624" y="166"/>
                  </a:lnTo>
                  <a:lnTo>
                    <a:pt x="1632" y="166"/>
                  </a:lnTo>
                  <a:lnTo>
                    <a:pt x="1632" y="157"/>
                  </a:lnTo>
                  <a:lnTo>
                    <a:pt x="1629" y="147"/>
                  </a:lnTo>
                  <a:lnTo>
                    <a:pt x="1629" y="134"/>
                  </a:lnTo>
                  <a:lnTo>
                    <a:pt x="1632" y="122"/>
                  </a:lnTo>
                  <a:lnTo>
                    <a:pt x="1636" y="112"/>
                  </a:lnTo>
                  <a:lnTo>
                    <a:pt x="1658" y="108"/>
                  </a:lnTo>
                  <a:close/>
                  <a:moveTo>
                    <a:pt x="2641" y="99"/>
                  </a:moveTo>
                  <a:lnTo>
                    <a:pt x="2646" y="103"/>
                  </a:lnTo>
                  <a:lnTo>
                    <a:pt x="2650" y="106"/>
                  </a:lnTo>
                  <a:lnTo>
                    <a:pt x="2655" y="106"/>
                  </a:lnTo>
                  <a:lnTo>
                    <a:pt x="2660" y="106"/>
                  </a:lnTo>
                  <a:lnTo>
                    <a:pt x="2669" y="108"/>
                  </a:lnTo>
                  <a:lnTo>
                    <a:pt x="2667" y="112"/>
                  </a:lnTo>
                  <a:lnTo>
                    <a:pt x="2667" y="113"/>
                  </a:lnTo>
                  <a:lnTo>
                    <a:pt x="2667" y="115"/>
                  </a:lnTo>
                  <a:lnTo>
                    <a:pt x="2666" y="117"/>
                  </a:lnTo>
                  <a:lnTo>
                    <a:pt x="2666" y="119"/>
                  </a:lnTo>
                  <a:lnTo>
                    <a:pt x="2653" y="126"/>
                  </a:lnTo>
                  <a:lnTo>
                    <a:pt x="2636" y="129"/>
                  </a:lnTo>
                  <a:lnTo>
                    <a:pt x="2618" y="131"/>
                  </a:lnTo>
                  <a:lnTo>
                    <a:pt x="2617" y="127"/>
                  </a:lnTo>
                  <a:lnTo>
                    <a:pt x="2617" y="124"/>
                  </a:lnTo>
                  <a:lnTo>
                    <a:pt x="2615" y="120"/>
                  </a:lnTo>
                  <a:lnTo>
                    <a:pt x="2615" y="115"/>
                  </a:lnTo>
                  <a:lnTo>
                    <a:pt x="2620" y="112"/>
                  </a:lnTo>
                  <a:lnTo>
                    <a:pt x="2624" y="108"/>
                  </a:lnTo>
                  <a:lnTo>
                    <a:pt x="2627" y="106"/>
                  </a:lnTo>
                  <a:lnTo>
                    <a:pt x="2631" y="103"/>
                  </a:lnTo>
                  <a:lnTo>
                    <a:pt x="2634" y="101"/>
                  </a:lnTo>
                  <a:lnTo>
                    <a:pt x="2641" y="99"/>
                  </a:lnTo>
                  <a:close/>
                  <a:moveTo>
                    <a:pt x="2104" y="99"/>
                  </a:moveTo>
                  <a:lnTo>
                    <a:pt x="2118" y="101"/>
                  </a:lnTo>
                  <a:lnTo>
                    <a:pt x="2128" y="106"/>
                  </a:lnTo>
                  <a:lnTo>
                    <a:pt x="2138" y="112"/>
                  </a:lnTo>
                  <a:lnTo>
                    <a:pt x="2135" y="115"/>
                  </a:lnTo>
                  <a:lnTo>
                    <a:pt x="2133" y="120"/>
                  </a:lnTo>
                  <a:lnTo>
                    <a:pt x="2130" y="122"/>
                  </a:lnTo>
                  <a:lnTo>
                    <a:pt x="2125" y="124"/>
                  </a:lnTo>
                  <a:lnTo>
                    <a:pt x="2119" y="126"/>
                  </a:lnTo>
                  <a:lnTo>
                    <a:pt x="2112" y="126"/>
                  </a:lnTo>
                  <a:lnTo>
                    <a:pt x="2107" y="129"/>
                  </a:lnTo>
                  <a:lnTo>
                    <a:pt x="2102" y="129"/>
                  </a:lnTo>
                  <a:lnTo>
                    <a:pt x="2097" y="131"/>
                  </a:lnTo>
                  <a:lnTo>
                    <a:pt x="2090" y="131"/>
                  </a:lnTo>
                  <a:lnTo>
                    <a:pt x="2090" y="120"/>
                  </a:lnTo>
                  <a:lnTo>
                    <a:pt x="2091" y="113"/>
                  </a:lnTo>
                  <a:lnTo>
                    <a:pt x="2098" y="108"/>
                  </a:lnTo>
                  <a:lnTo>
                    <a:pt x="2104" y="99"/>
                  </a:lnTo>
                  <a:close/>
                  <a:moveTo>
                    <a:pt x="765" y="99"/>
                  </a:moveTo>
                  <a:lnTo>
                    <a:pt x="779" y="99"/>
                  </a:lnTo>
                  <a:lnTo>
                    <a:pt x="782" y="108"/>
                  </a:lnTo>
                  <a:lnTo>
                    <a:pt x="786" y="113"/>
                  </a:lnTo>
                  <a:lnTo>
                    <a:pt x="789" y="120"/>
                  </a:lnTo>
                  <a:lnTo>
                    <a:pt x="791" y="131"/>
                  </a:lnTo>
                  <a:lnTo>
                    <a:pt x="788" y="131"/>
                  </a:lnTo>
                  <a:lnTo>
                    <a:pt x="777" y="124"/>
                  </a:lnTo>
                  <a:lnTo>
                    <a:pt x="770" y="117"/>
                  </a:lnTo>
                  <a:lnTo>
                    <a:pt x="765" y="110"/>
                  </a:lnTo>
                  <a:lnTo>
                    <a:pt x="765" y="99"/>
                  </a:lnTo>
                  <a:close/>
                  <a:moveTo>
                    <a:pt x="2734" y="77"/>
                  </a:moveTo>
                  <a:lnTo>
                    <a:pt x="2737" y="77"/>
                  </a:lnTo>
                  <a:lnTo>
                    <a:pt x="2741" y="79"/>
                  </a:lnTo>
                  <a:lnTo>
                    <a:pt x="2742" y="79"/>
                  </a:lnTo>
                  <a:lnTo>
                    <a:pt x="2744" y="79"/>
                  </a:lnTo>
                  <a:lnTo>
                    <a:pt x="2746" y="80"/>
                  </a:lnTo>
                  <a:lnTo>
                    <a:pt x="2742" y="84"/>
                  </a:lnTo>
                  <a:lnTo>
                    <a:pt x="2739" y="87"/>
                  </a:lnTo>
                  <a:lnTo>
                    <a:pt x="2737" y="92"/>
                  </a:lnTo>
                  <a:lnTo>
                    <a:pt x="2735" y="96"/>
                  </a:lnTo>
                  <a:lnTo>
                    <a:pt x="2734" y="103"/>
                  </a:lnTo>
                  <a:lnTo>
                    <a:pt x="2737" y="103"/>
                  </a:lnTo>
                  <a:lnTo>
                    <a:pt x="2741" y="98"/>
                  </a:lnTo>
                  <a:lnTo>
                    <a:pt x="2744" y="94"/>
                  </a:lnTo>
                  <a:lnTo>
                    <a:pt x="2748" y="91"/>
                  </a:lnTo>
                  <a:lnTo>
                    <a:pt x="2753" y="89"/>
                  </a:lnTo>
                  <a:lnTo>
                    <a:pt x="2763" y="99"/>
                  </a:lnTo>
                  <a:lnTo>
                    <a:pt x="2776" y="108"/>
                  </a:lnTo>
                  <a:lnTo>
                    <a:pt x="2784" y="115"/>
                  </a:lnTo>
                  <a:lnTo>
                    <a:pt x="2784" y="138"/>
                  </a:lnTo>
                  <a:lnTo>
                    <a:pt x="2790" y="143"/>
                  </a:lnTo>
                  <a:lnTo>
                    <a:pt x="2795" y="147"/>
                  </a:lnTo>
                  <a:lnTo>
                    <a:pt x="2800" y="148"/>
                  </a:lnTo>
                  <a:lnTo>
                    <a:pt x="2804" y="155"/>
                  </a:lnTo>
                  <a:lnTo>
                    <a:pt x="2807" y="169"/>
                  </a:lnTo>
                  <a:lnTo>
                    <a:pt x="2800" y="178"/>
                  </a:lnTo>
                  <a:lnTo>
                    <a:pt x="2797" y="187"/>
                  </a:lnTo>
                  <a:lnTo>
                    <a:pt x="2790" y="192"/>
                  </a:lnTo>
                  <a:lnTo>
                    <a:pt x="2781" y="194"/>
                  </a:lnTo>
                  <a:lnTo>
                    <a:pt x="2765" y="195"/>
                  </a:lnTo>
                  <a:lnTo>
                    <a:pt x="2753" y="185"/>
                  </a:lnTo>
                  <a:lnTo>
                    <a:pt x="2735" y="176"/>
                  </a:lnTo>
                  <a:lnTo>
                    <a:pt x="2716" y="171"/>
                  </a:lnTo>
                  <a:lnTo>
                    <a:pt x="2697" y="164"/>
                  </a:lnTo>
                  <a:lnTo>
                    <a:pt x="2680" y="157"/>
                  </a:lnTo>
                  <a:lnTo>
                    <a:pt x="2669" y="147"/>
                  </a:lnTo>
                  <a:lnTo>
                    <a:pt x="2676" y="143"/>
                  </a:lnTo>
                  <a:lnTo>
                    <a:pt x="2681" y="140"/>
                  </a:lnTo>
                  <a:lnTo>
                    <a:pt x="2685" y="136"/>
                  </a:lnTo>
                  <a:lnTo>
                    <a:pt x="2687" y="131"/>
                  </a:lnTo>
                  <a:lnTo>
                    <a:pt x="2688" y="122"/>
                  </a:lnTo>
                  <a:lnTo>
                    <a:pt x="2687" y="119"/>
                  </a:lnTo>
                  <a:lnTo>
                    <a:pt x="2685" y="113"/>
                  </a:lnTo>
                  <a:lnTo>
                    <a:pt x="2685" y="106"/>
                  </a:lnTo>
                  <a:lnTo>
                    <a:pt x="2685" y="99"/>
                  </a:lnTo>
                  <a:lnTo>
                    <a:pt x="2685" y="98"/>
                  </a:lnTo>
                  <a:lnTo>
                    <a:pt x="2687" y="98"/>
                  </a:lnTo>
                  <a:lnTo>
                    <a:pt x="2687" y="98"/>
                  </a:lnTo>
                  <a:lnTo>
                    <a:pt x="2687" y="98"/>
                  </a:lnTo>
                  <a:lnTo>
                    <a:pt x="2687" y="98"/>
                  </a:lnTo>
                  <a:lnTo>
                    <a:pt x="2688" y="96"/>
                  </a:lnTo>
                  <a:lnTo>
                    <a:pt x="2704" y="92"/>
                  </a:lnTo>
                  <a:lnTo>
                    <a:pt x="2721" y="84"/>
                  </a:lnTo>
                  <a:lnTo>
                    <a:pt x="2734" y="77"/>
                  </a:lnTo>
                  <a:close/>
                  <a:moveTo>
                    <a:pt x="2512" y="73"/>
                  </a:moveTo>
                  <a:lnTo>
                    <a:pt x="2522" y="73"/>
                  </a:lnTo>
                  <a:lnTo>
                    <a:pt x="2536" y="87"/>
                  </a:lnTo>
                  <a:lnTo>
                    <a:pt x="2554" y="99"/>
                  </a:lnTo>
                  <a:lnTo>
                    <a:pt x="2554" y="103"/>
                  </a:lnTo>
                  <a:lnTo>
                    <a:pt x="2550" y="103"/>
                  </a:lnTo>
                  <a:lnTo>
                    <a:pt x="2550" y="108"/>
                  </a:lnTo>
                  <a:lnTo>
                    <a:pt x="2533" y="99"/>
                  </a:lnTo>
                  <a:lnTo>
                    <a:pt x="2521" y="87"/>
                  </a:lnTo>
                  <a:lnTo>
                    <a:pt x="2512" y="73"/>
                  </a:lnTo>
                  <a:close/>
                  <a:moveTo>
                    <a:pt x="2161" y="68"/>
                  </a:moveTo>
                  <a:lnTo>
                    <a:pt x="2175" y="72"/>
                  </a:lnTo>
                  <a:lnTo>
                    <a:pt x="2186" y="75"/>
                  </a:lnTo>
                  <a:lnTo>
                    <a:pt x="2196" y="80"/>
                  </a:lnTo>
                  <a:lnTo>
                    <a:pt x="2196" y="89"/>
                  </a:lnTo>
                  <a:lnTo>
                    <a:pt x="2187" y="91"/>
                  </a:lnTo>
                  <a:lnTo>
                    <a:pt x="2179" y="94"/>
                  </a:lnTo>
                  <a:lnTo>
                    <a:pt x="2166" y="96"/>
                  </a:lnTo>
                  <a:lnTo>
                    <a:pt x="2161" y="98"/>
                  </a:lnTo>
                  <a:lnTo>
                    <a:pt x="2158" y="99"/>
                  </a:lnTo>
                  <a:lnTo>
                    <a:pt x="2152" y="99"/>
                  </a:lnTo>
                  <a:lnTo>
                    <a:pt x="2147" y="99"/>
                  </a:lnTo>
                  <a:lnTo>
                    <a:pt x="2147" y="89"/>
                  </a:lnTo>
                  <a:lnTo>
                    <a:pt x="2151" y="84"/>
                  </a:lnTo>
                  <a:lnTo>
                    <a:pt x="2156" y="77"/>
                  </a:lnTo>
                  <a:lnTo>
                    <a:pt x="2161" y="68"/>
                  </a:lnTo>
                  <a:close/>
                  <a:moveTo>
                    <a:pt x="1735" y="58"/>
                  </a:moveTo>
                  <a:lnTo>
                    <a:pt x="1735" y="77"/>
                  </a:lnTo>
                  <a:lnTo>
                    <a:pt x="1742" y="77"/>
                  </a:lnTo>
                  <a:lnTo>
                    <a:pt x="1746" y="75"/>
                  </a:lnTo>
                  <a:lnTo>
                    <a:pt x="1749" y="75"/>
                  </a:lnTo>
                  <a:lnTo>
                    <a:pt x="1753" y="75"/>
                  </a:lnTo>
                  <a:lnTo>
                    <a:pt x="1754" y="75"/>
                  </a:lnTo>
                  <a:lnTo>
                    <a:pt x="1758" y="77"/>
                  </a:lnTo>
                  <a:lnTo>
                    <a:pt x="1763" y="80"/>
                  </a:lnTo>
                  <a:lnTo>
                    <a:pt x="1763" y="89"/>
                  </a:lnTo>
                  <a:lnTo>
                    <a:pt x="1767" y="91"/>
                  </a:lnTo>
                  <a:lnTo>
                    <a:pt x="1772" y="91"/>
                  </a:lnTo>
                  <a:lnTo>
                    <a:pt x="1775" y="89"/>
                  </a:lnTo>
                  <a:lnTo>
                    <a:pt x="1781" y="89"/>
                  </a:lnTo>
                  <a:lnTo>
                    <a:pt x="1782" y="87"/>
                  </a:lnTo>
                  <a:lnTo>
                    <a:pt x="1786" y="89"/>
                  </a:lnTo>
                  <a:lnTo>
                    <a:pt x="1789" y="92"/>
                  </a:lnTo>
                  <a:lnTo>
                    <a:pt x="1793" y="98"/>
                  </a:lnTo>
                  <a:lnTo>
                    <a:pt x="1796" y="103"/>
                  </a:lnTo>
                  <a:lnTo>
                    <a:pt x="1791" y="115"/>
                  </a:lnTo>
                  <a:lnTo>
                    <a:pt x="1786" y="127"/>
                  </a:lnTo>
                  <a:lnTo>
                    <a:pt x="1782" y="141"/>
                  </a:lnTo>
                  <a:lnTo>
                    <a:pt x="1770" y="141"/>
                  </a:lnTo>
                  <a:lnTo>
                    <a:pt x="1761" y="145"/>
                  </a:lnTo>
                  <a:lnTo>
                    <a:pt x="1753" y="150"/>
                  </a:lnTo>
                  <a:lnTo>
                    <a:pt x="1739" y="154"/>
                  </a:lnTo>
                  <a:lnTo>
                    <a:pt x="1730" y="147"/>
                  </a:lnTo>
                  <a:lnTo>
                    <a:pt x="1718" y="143"/>
                  </a:lnTo>
                  <a:lnTo>
                    <a:pt x="1706" y="138"/>
                  </a:lnTo>
                  <a:lnTo>
                    <a:pt x="1704" y="134"/>
                  </a:lnTo>
                  <a:lnTo>
                    <a:pt x="1704" y="131"/>
                  </a:lnTo>
                  <a:lnTo>
                    <a:pt x="1702" y="127"/>
                  </a:lnTo>
                  <a:lnTo>
                    <a:pt x="1700" y="122"/>
                  </a:lnTo>
                  <a:lnTo>
                    <a:pt x="1695" y="117"/>
                  </a:lnTo>
                  <a:lnTo>
                    <a:pt x="1690" y="112"/>
                  </a:lnTo>
                  <a:lnTo>
                    <a:pt x="1686" y="108"/>
                  </a:lnTo>
                  <a:lnTo>
                    <a:pt x="1683" y="101"/>
                  </a:lnTo>
                  <a:lnTo>
                    <a:pt x="1681" y="89"/>
                  </a:lnTo>
                  <a:lnTo>
                    <a:pt x="1688" y="80"/>
                  </a:lnTo>
                  <a:lnTo>
                    <a:pt x="1693" y="73"/>
                  </a:lnTo>
                  <a:lnTo>
                    <a:pt x="1700" y="73"/>
                  </a:lnTo>
                  <a:lnTo>
                    <a:pt x="1706" y="75"/>
                  </a:lnTo>
                  <a:lnTo>
                    <a:pt x="1713" y="77"/>
                  </a:lnTo>
                  <a:lnTo>
                    <a:pt x="1720" y="77"/>
                  </a:lnTo>
                  <a:lnTo>
                    <a:pt x="1720" y="65"/>
                  </a:lnTo>
                  <a:lnTo>
                    <a:pt x="1723" y="63"/>
                  </a:lnTo>
                  <a:lnTo>
                    <a:pt x="1727" y="61"/>
                  </a:lnTo>
                  <a:lnTo>
                    <a:pt x="1728" y="61"/>
                  </a:lnTo>
                  <a:lnTo>
                    <a:pt x="1732" y="59"/>
                  </a:lnTo>
                  <a:lnTo>
                    <a:pt x="1735" y="58"/>
                  </a:lnTo>
                  <a:close/>
                  <a:moveTo>
                    <a:pt x="2186" y="45"/>
                  </a:moveTo>
                  <a:lnTo>
                    <a:pt x="2200" y="45"/>
                  </a:lnTo>
                  <a:lnTo>
                    <a:pt x="2208" y="54"/>
                  </a:lnTo>
                  <a:lnTo>
                    <a:pt x="2217" y="59"/>
                  </a:lnTo>
                  <a:lnTo>
                    <a:pt x="2224" y="66"/>
                  </a:lnTo>
                  <a:lnTo>
                    <a:pt x="2231" y="77"/>
                  </a:lnTo>
                  <a:lnTo>
                    <a:pt x="2215" y="77"/>
                  </a:lnTo>
                  <a:lnTo>
                    <a:pt x="2205" y="66"/>
                  </a:lnTo>
                  <a:lnTo>
                    <a:pt x="2194" y="58"/>
                  </a:lnTo>
                  <a:lnTo>
                    <a:pt x="2186" y="45"/>
                  </a:lnTo>
                  <a:close/>
                  <a:moveTo>
                    <a:pt x="421" y="45"/>
                  </a:moveTo>
                  <a:lnTo>
                    <a:pt x="433" y="45"/>
                  </a:lnTo>
                  <a:lnTo>
                    <a:pt x="438" y="49"/>
                  </a:lnTo>
                  <a:lnTo>
                    <a:pt x="442" y="52"/>
                  </a:lnTo>
                  <a:lnTo>
                    <a:pt x="444" y="56"/>
                  </a:lnTo>
                  <a:lnTo>
                    <a:pt x="447" y="61"/>
                  </a:lnTo>
                  <a:lnTo>
                    <a:pt x="449" y="65"/>
                  </a:lnTo>
                  <a:lnTo>
                    <a:pt x="458" y="56"/>
                  </a:lnTo>
                  <a:lnTo>
                    <a:pt x="468" y="52"/>
                  </a:lnTo>
                  <a:lnTo>
                    <a:pt x="484" y="54"/>
                  </a:lnTo>
                  <a:lnTo>
                    <a:pt x="484" y="68"/>
                  </a:lnTo>
                  <a:lnTo>
                    <a:pt x="506" y="70"/>
                  </a:lnTo>
                  <a:lnTo>
                    <a:pt x="526" y="73"/>
                  </a:lnTo>
                  <a:lnTo>
                    <a:pt x="543" y="77"/>
                  </a:lnTo>
                  <a:lnTo>
                    <a:pt x="562" y="79"/>
                  </a:lnTo>
                  <a:lnTo>
                    <a:pt x="583" y="77"/>
                  </a:lnTo>
                  <a:lnTo>
                    <a:pt x="583" y="89"/>
                  </a:lnTo>
                  <a:lnTo>
                    <a:pt x="587" y="89"/>
                  </a:lnTo>
                  <a:lnTo>
                    <a:pt x="590" y="89"/>
                  </a:lnTo>
                  <a:lnTo>
                    <a:pt x="592" y="89"/>
                  </a:lnTo>
                  <a:lnTo>
                    <a:pt x="594" y="91"/>
                  </a:lnTo>
                  <a:lnTo>
                    <a:pt x="596" y="92"/>
                  </a:lnTo>
                  <a:lnTo>
                    <a:pt x="592" y="92"/>
                  </a:lnTo>
                  <a:lnTo>
                    <a:pt x="576" y="103"/>
                  </a:lnTo>
                  <a:lnTo>
                    <a:pt x="557" y="115"/>
                  </a:lnTo>
                  <a:lnTo>
                    <a:pt x="534" y="126"/>
                  </a:lnTo>
                  <a:lnTo>
                    <a:pt x="513" y="138"/>
                  </a:lnTo>
                  <a:lnTo>
                    <a:pt x="498" y="148"/>
                  </a:lnTo>
                  <a:lnTo>
                    <a:pt x="487" y="157"/>
                  </a:lnTo>
                  <a:lnTo>
                    <a:pt x="503" y="157"/>
                  </a:lnTo>
                  <a:lnTo>
                    <a:pt x="508" y="154"/>
                  </a:lnTo>
                  <a:lnTo>
                    <a:pt x="513" y="152"/>
                  </a:lnTo>
                  <a:lnTo>
                    <a:pt x="519" y="150"/>
                  </a:lnTo>
                  <a:lnTo>
                    <a:pt x="526" y="150"/>
                  </a:lnTo>
                  <a:lnTo>
                    <a:pt x="526" y="154"/>
                  </a:lnTo>
                  <a:lnTo>
                    <a:pt x="505" y="169"/>
                  </a:lnTo>
                  <a:lnTo>
                    <a:pt x="487" y="185"/>
                  </a:lnTo>
                  <a:lnTo>
                    <a:pt x="472" y="201"/>
                  </a:lnTo>
                  <a:lnTo>
                    <a:pt x="454" y="215"/>
                  </a:lnTo>
                  <a:lnTo>
                    <a:pt x="435" y="227"/>
                  </a:lnTo>
                  <a:lnTo>
                    <a:pt x="410" y="234"/>
                  </a:lnTo>
                  <a:lnTo>
                    <a:pt x="410" y="246"/>
                  </a:lnTo>
                  <a:lnTo>
                    <a:pt x="398" y="248"/>
                  </a:lnTo>
                  <a:lnTo>
                    <a:pt x="384" y="253"/>
                  </a:lnTo>
                  <a:lnTo>
                    <a:pt x="376" y="260"/>
                  </a:lnTo>
                  <a:lnTo>
                    <a:pt x="381" y="264"/>
                  </a:lnTo>
                  <a:lnTo>
                    <a:pt x="384" y="267"/>
                  </a:lnTo>
                  <a:lnTo>
                    <a:pt x="386" y="269"/>
                  </a:lnTo>
                  <a:lnTo>
                    <a:pt x="386" y="272"/>
                  </a:lnTo>
                  <a:lnTo>
                    <a:pt x="386" y="276"/>
                  </a:lnTo>
                  <a:lnTo>
                    <a:pt x="384" y="281"/>
                  </a:lnTo>
                  <a:lnTo>
                    <a:pt x="384" y="288"/>
                  </a:lnTo>
                  <a:lnTo>
                    <a:pt x="346" y="291"/>
                  </a:lnTo>
                  <a:lnTo>
                    <a:pt x="346" y="295"/>
                  </a:lnTo>
                  <a:lnTo>
                    <a:pt x="351" y="297"/>
                  </a:lnTo>
                  <a:lnTo>
                    <a:pt x="353" y="297"/>
                  </a:lnTo>
                  <a:lnTo>
                    <a:pt x="356" y="297"/>
                  </a:lnTo>
                  <a:lnTo>
                    <a:pt x="356" y="297"/>
                  </a:lnTo>
                  <a:lnTo>
                    <a:pt x="358" y="298"/>
                  </a:lnTo>
                  <a:lnTo>
                    <a:pt x="358" y="300"/>
                  </a:lnTo>
                  <a:lnTo>
                    <a:pt x="362" y="304"/>
                  </a:lnTo>
                  <a:lnTo>
                    <a:pt x="356" y="304"/>
                  </a:lnTo>
                  <a:lnTo>
                    <a:pt x="348" y="307"/>
                  </a:lnTo>
                  <a:lnTo>
                    <a:pt x="337" y="311"/>
                  </a:lnTo>
                  <a:lnTo>
                    <a:pt x="327" y="314"/>
                  </a:lnTo>
                  <a:lnTo>
                    <a:pt x="330" y="316"/>
                  </a:lnTo>
                  <a:lnTo>
                    <a:pt x="332" y="316"/>
                  </a:lnTo>
                  <a:lnTo>
                    <a:pt x="334" y="316"/>
                  </a:lnTo>
                  <a:lnTo>
                    <a:pt x="335" y="318"/>
                  </a:lnTo>
                  <a:lnTo>
                    <a:pt x="337" y="318"/>
                  </a:lnTo>
                  <a:lnTo>
                    <a:pt x="335" y="321"/>
                  </a:lnTo>
                  <a:lnTo>
                    <a:pt x="334" y="325"/>
                  </a:lnTo>
                  <a:lnTo>
                    <a:pt x="332" y="326"/>
                  </a:lnTo>
                  <a:lnTo>
                    <a:pt x="334" y="328"/>
                  </a:lnTo>
                  <a:lnTo>
                    <a:pt x="334" y="330"/>
                  </a:lnTo>
                  <a:lnTo>
                    <a:pt x="335" y="333"/>
                  </a:lnTo>
                  <a:lnTo>
                    <a:pt x="337" y="337"/>
                  </a:lnTo>
                  <a:lnTo>
                    <a:pt x="330" y="339"/>
                  </a:lnTo>
                  <a:lnTo>
                    <a:pt x="325" y="339"/>
                  </a:lnTo>
                  <a:lnTo>
                    <a:pt x="320" y="339"/>
                  </a:lnTo>
                  <a:lnTo>
                    <a:pt x="314" y="342"/>
                  </a:lnTo>
                  <a:lnTo>
                    <a:pt x="332" y="342"/>
                  </a:lnTo>
                  <a:lnTo>
                    <a:pt x="346" y="346"/>
                  </a:lnTo>
                  <a:lnTo>
                    <a:pt x="346" y="353"/>
                  </a:lnTo>
                  <a:lnTo>
                    <a:pt x="323" y="353"/>
                  </a:lnTo>
                  <a:lnTo>
                    <a:pt x="321" y="358"/>
                  </a:lnTo>
                  <a:lnTo>
                    <a:pt x="321" y="360"/>
                  </a:lnTo>
                  <a:lnTo>
                    <a:pt x="321" y="361"/>
                  </a:lnTo>
                  <a:lnTo>
                    <a:pt x="320" y="363"/>
                  </a:lnTo>
                  <a:lnTo>
                    <a:pt x="318" y="365"/>
                  </a:lnTo>
                  <a:lnTo>
                    <a:pt x="309" y="368"/>
                  </a:lnTo>
                  <a:lnTo>
                    <a:pt x="297" y="368"/>
                  </a:lnTo>
                  <a:lnTo>
                    <a:pt x="285" y="368"/>
                  </a:lnTo>
                  <a:lnTo>
                    <a:pt x="273" y="361"/>
                  </a:lnTo>
                  <a:lnTo>
                    <a:pt x="257" y="361"/>
                  </a:lnTo>
                  <a:lnTo>
                    <a:pt x="241" y="363"/>
                  </a:lnTo>
                  <a:lnTo>
                    <a:pt x="224" y="365"/>
                  </a:lnTo>
                  <a:lnTo>
                    <a:pt x="208" y="363"/>
                  </a:lnTo>
                  <a:lnTo>
                    <a:pt x="192" y="358"/>
                  </a:lnTo>
                  <a:lnTo>
                    <a:pt x="191" y="356"/>
                  </a:lnTo>
                  <a:lnTo>
                    <a:pt x="191" y="354"/>
                  </a:lnTo>
                  <a:lnTo>
                    <a:pt x="189" y="354"/>
                  </a:lnTo>
                  <a:lnTo>
                    <a:pt x="189" y="353"/>
                  </a:lnTo>
                  <a:lnTo>
                    <a:pt x="189" y="349"/>
                  </a:lnTo>
                  <a:lnTo>
                    <a:pt x="192" y="349"/>
                  </a:lnTo>
                  <a:lnTo>
                    <a:pt x="194" y="346"/>
                  </a:lnTo>
                  <a:lnTo>
                    <a:pt x="198" y="342"/>
                  </a:lnTo>
                  <a:lnTo>
                    <a:pt x="199" y="340"/>
                  </a:lnTo>
                  <a:lnTo>
                    <a:pt x="203" y="339"/>
                  </a:lnTo>
                  <a:lnTo>
                    <a:pt x="205" y="335"/>
                  </a:lnTo>
                  <a:lnTo>
                    <a:pt x="208" y="330"/>
                  </a:lnTo>
                  <a:lnTo>
                    <a:pt x="201" y="328"/>
                  </a:lnTo>
                  <a:lnTo>
                    <a:pt x="196" y="325"/>
                  </a:lnTo>
                  <a:lnTo>
                    <a:pt x="192" y="319"/>
                  </a:lnTo>
                  <a:lnTo>
                    <a:pt x="191" y="314"/>
                  </a:lnTo>
                  <a:lnTo>
                    <a:pt x="189" y="307"/>
                  </a:lnTo>
                  <a:lnTo>
                    <a:pt x="196" y="307"/>
                  </a:lnTo>
                  <a:lnTo>
                    <a:pt x="208" y="304"/>
                  </a:lnTo>
                  <a:lnTo>
                    <a:pt x="222" y="307"/>
                  </a:lnTo>
                  <a:lnTo>
                    <a:pt x="234" y="312"/>
                  </a:lnTo>
                  <a:lnTo>
                    <a:pt x="246" y="318"/>
                  </a:lnTo>
                  <a:lnTo>
                    <a:pt x="246" y="311"/>
                  </a:lnTo>
                  <a:lnTo>
                    <a:pt x="234" y="305"/>
                  </a:lnTo>
                  <a:lnTo>
                    <a:pt x="224" y="300"/>
                  </a:lnTo>
                  <a:lnTo>
                    <a:pt x="215" y="291"/>
                  </a:lnTo>
                  <a:lnTo>
                    <a:pt x="218" y="291"/>
                  </a:lnTo>
                  <a:lnTo>
                    <a:pt x="227" y="278"/>
                  </a:lnTo>
                  <a:lnTo>
                    <a:pt x="238" y="269"/>
                  </a:lnTo>
                  <a:lnTo>
                    <a:pt x="252" y="262"/>
                  </a:lnTo>
                  <a:lnTo>
                    <a:pt x="269" y="257"/>
                  </a:lnTo>
                  <a:lnTo>
                    <a:pt x="269" y="253"/>
                  </a:lnTo>
                  <a:lnTo>
                    <a:pt x="253" y="248"/>
                  </a:lnTo>
                  <a:lnTo>
                    <a:pt x="241" y="239"/>
                  </a:lnTo>
                  <a:lnTo>
                    <a:pt x="231" y="227"/>
                  </a:lnTo>
                  <a:lnTo>
                    <a:pt x="222" y="215"/>
                  </a:lnTo>
                  <a:lnTo>
                    <a:pt x="227" y="213"/>
                  </a:lnTo>
                  <a:lnTo>
                    <a:pt x="231" y="213"/>
                  </a:lnTo>
                  <a:lnTo>
                    <a:pt x="236" y="211"/>
                  </a:lnTo>
                  <a:lnTo>
                    <a:pt x="241" y="211"/>
                  </a:lnTo>
                  <a:lnTo>
                    <a:pt x="248" y="216"/>
                  </a:lnTo>
                  <a:lnTo>
                    <a:pt x="253" y="222"/>
                  </a:lnTo>
                  <a:lnTo>
                    <a:pt x="260" y="227"/>
                  </a:lnTo>
                  <a:lnTo>
                    <a:pt x="260" y="223"/>
                  </a:lnTo>
                  <a:lnTo>
                    <a:pt x="259" y="220"/>
                  </a:lnTo>
                  <a:lnTo>
                    <a:pt x="257" y="220"/>
                  </a:lnTo>
                  <a:lnTo>
                    <a:pt x="257" y="218"/>
                  </a:lnTo>
                  <a:lnTo>
                    <a:pt x="255" y="216"/>
                  </a:lnTo>
                  <a:lnTo>
                    <a:pt x="255" y="215"/>
                  </a:lnTo>
                  <a:lnTo>
                    <a:pt x="253" y="211"/>
                  </a:lnTo>
                  <a:lnTo>
                    <a:pt x="257" y="211"/>
                  </a:lnTo>
                  <a:lnTo>
                    <a:pt x="257" y="208"/>
                  </a:lnTo>
                  <a:lnTo>
                    <a:pt x="273" y="202"/>
                  </a:lnTo>
                  <a:lnTo>
                    <a:pt x="288" y="199"/>
                  </a:lnTo>
                  <a:lnTo>
                    <a:pt x="304" y="197"/>
                  </a:lnTo>
                  <a:lnTo>
                    <a:pt x="323" y="199"/>
                  </a:lnTo>
                  <a:lnTo>
                    <a:pt x="314" y="188"/>
                  </a:lnTo>
                  <a:lnTo>
                    <a:pt x="325" y="185"/>
                  </a:lnTo>
                  <a:lnTo>
                    <a:pt x="337" y="180"/>
                  </a:lnTo>
                  <a:lnTo>
                    <a:pt x="349" y="175"/>
                  </a:lnTo>
                  <a:lnTo>
                    <a:pt x="356" y="169"/>
                  </a:lnTo>
                  <a:lnTo>
                    <a:pt x="362" y="169"/>
                  </a:lnTo>
                  <a:lnTo>
                    <a:pt x="362" y="166"/>
                  </a:lnTo>
                  <a:lnTo>
                    <a:pt x="353" y="166"/>
                  </a:lnTo>
                  <a:lnTo>
                    <a:pt x="349" y="168"/>
                  </a:lnTo>
                  <a:lnTo>
                    <a:pt x="346" y="169"/>
                  </a:lnTo>
                  <a:lnTo>
                    <a:pt x="344" y="169"/>
                  </a:lnTo>
                  <a:lnTo>
                    <a:pt x="342" y="169"/>
                  </a:lnTo>
                  <a:lnTo>
                    <a:pt x="341" y="169"/>
                  </a:lnTo>
                  <a:lnTo>
                    <a:pt x="339" y="168"/>
                  </a:lnTo>
                  <a:lnTo>
                    <a:pt x="337" y="166"/>
                  </a:lnTo>
                  <a:lnTo>
                    <a:pt x="334" y="166"/>
                  </a:lnTo>
                  <a:lnTo>
                    <a:pt x="330" y="169"/>
                  </a:lnTo>
                  <a:lnTo>
                    <a:pt x="325" y="175"/>
                  </a:lnTo>
                  <a:lnTo>
                    <a:pt x="320" y="180"/>
                  </a:lnTo>
                  <a:lnTo>
                    <a:pt x="316" y="185"/>
                  </a:lnTo>
                  <a:lnTo>
                    <a:pt x="311" y="188"/>
                  </a:lnTo>
                  <a:lnTo>
                    <a:pt x="292" y="194"/>
                  </a:lnTo>
                  <a:lnTo>
                    <a:pt x="274" y="194"/>
                  </a:lnTo>
                  <a:lnTo>
                    <a:pt x="257" y="190"/>
                  </a:lnTo>
                  <a:lnTo>
                    <a:pt x="241" y="183"/>
                  </a:lnTo>
                  <a:lnTo>
                    <a:pt x="239" y="183"/>
                  </a:lnTo>
                  <a:lnTo>
                    <a:pt x="236" y="185"/>
                  </a:lnTo>
                  <a:lnTo>
                    <a:pt x="231" y="187"/>
                  </a:lnTo>
                  <a:lnTo>
                    <a:pt x="227" y="188"/>
                  </a:lnTo>
                  <a:lnTo>
                    <a:pt x="224" y="190"/>
                  </a:lnTo>
                  <a:lnTo>
                    <a:pt x="218" y="192"/>
                  </a:lnTo>
                  <a:lnTo>
                    <a:pt x="215" y="183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20" y="180"/>
                  </a:lnTo>
                  <a:lnTo>
                    <a:pt x="222" y="176"/>
                  </a:lnTo>
                  <a:lnTo>
                    <a:pt x="212" y="176"/>
                  </a:lnTo>
                  <a:lnTo>
                    <a:pt x="208" y="178"/>
                  </a:lnTo>
                  <a:lnTo>
                    <a:pt x="203" y="180"/>
                  </a:lnTo>
                  <a:lnTo>
                    <a:pt x="198" y="180"/>
                  </a:lnTo>
                  <a:lnTo>
                    <a:pt x="192" y="180"/>
                  </a:lnTo>
                  <a:lnTo>
                    <a:pt x="189" y="169"/>
                  </a:lnTo>
                  <a:lnTo>
                    <a:pt x="192" y="168"/>
                  </a:lnTo>
                  <a:lnTo>
                    <a:pt x="194" y="168"/>
                  </a:lnTo>
                  <a:lnTo>
                    <a:pt x="196" y="168"/>
                  </a:lnTo>
                  <a:lnTo>
                    <a:pt x="198" y="166"/>
                  </a:lnTo>
                  <a:lnTo>
                    <a:pt x="199" y="166"/>
                  </a:lnTo>
                  <a:lnTo>
                    <a:pt x="177" y="169"/>
                  </a:lnTo>
                  <a:lnTo>
                    <a:pt x="175" y="164"/>
                  </a:lnTo>
                  <a:lnTo>
                    <a:pt x="171" y="161"/>
                  </a:lnTo>
                  <a:lnTo>
                    <a:pt x="170" y="159"/>
                  </a:lnTo>
                  <a:lnTo>
                    <a:pt x="168" y="155"/>
                  </a:lnTo>
                  <a:lnTo>
                    <a:pt x="164" y="150"/>
                  </a:lnTo>
                  <a:lnTo>
                    <a:pt x="170" y="148"/>
                  </a:lnTo>
                  <a:lnTo>
                    <a:pt x="173" y="148"/>
                  </a:lnTo>
                  <a:lnTo>
                    <a:pt x="175" y="148"/>
                  </a:lnTo>
                  <a:lnTo>
                    <a:pt x="177" y="148"/>
                  </a:lnTo>
                  <a:lnTo>
                    <a:pt x="177" y="147"/>
                  </a:lnTo>
                  <a:lnTo>
                    <a:pt x="178" y="145"/>
                  </a:lnTo>
                  <a:lnTo>
                    <a:pt x="180" y="141"/>
                  </a:lnTo>
                  <a:lnTo>
                    <a:pt x="173" y="140"/>
                  </a:lnTo>
                  <a:lnTo>
                    <a:pt x="166" y="138"/>
                  </a:lnTo>
                  <a:lnTo>
                    <a:pt x="163" y="134"/>
                  </a:lnTo>
                  <a:lnTo>
                    <a:pt x="157" y="131"/>
                  </a:lnTo>
                  <a:lnTo>
                    <a:pt x="161" y="131"/>
                  </a:lnTo>
                  <a:lnTo>
                    <a:pt x="161" y="126"/>
                  </a:lnTo>
                  <a:lnTo>
                    <a:pt x="178" y="129"/>
                  </a:lnTo>
                  <a:lnTo>
                    <a:pt x="187" y="127"/>
                  </a:lnTo>
                  <a:lnTo>
                    <a:pt x="194" y="124"/>
                  </a:lnTo>
                  <a:lnTo>
                    <a:pt x="198" y="119"/>
                  </a:lnTo>
                  <a:lnTo>
                    <a:pt x="203" y="112"/>
                  </a:lnTo>
                  <a:lnTo>
                    <a:pt x="212" y="108"/>
                  </a:lnTo>
                  <a:lnTo>
                    <a:pt x="222" y="105"/>
                  </a:lnTo>
                  <a:lnTo>
                    <a:pt x="229" y="108"/>
                  </a:lnTo>
                  <a:lnTo>
                    <a:pt x="238" y="112"/>
                  </a:lnTo>
                  <a:lnTo>
                    <a:pt x="245" y="113"/>
                  </a:lnTo>
                  <a:lnTo>
                    <a:pt x="253" y="112"/>
                  </a:lnTo>
                  <a:lnTo>
                    <a:pt x="250" y="110"/>
                  </a:lnTo>
                  <a:lnTo>
                    <a:pt x="246" y="108"/>
                  </a:lnTo>
                  <a:lnTo>
                    <a:pt x="245" y="108"/>
                  </a:lnTo>
                  <a:lnTo>
                    <a:pt x="245" y="106"/>
                  </a:lnTo>
                  <a:lnTo>
                    <a:pt x="243" y="105"/>
                  </a:lnTo>
                  <a:lnTo>
                    <a:pt x="243" y="101"/>
                  </a:lnTo>
                  <a:lnTo>
                    <a:pt x="241" y="96"/>
                  </a:lnTo>
                  <a:lnTo>
                    <a:pt x="246" y="94"/>
                  </a:lnTo>
                  <a:lnTo>
                    <a:pt x="250" y="92"/>
                  </a:lnTo>
                  <a:lnTo>
                    <a:pt x="253" y="92"/>
                  </a:lnTo>
                  <a:lnTo>
                    <a:pt x="255" y="91"/>
                  </a:lnTo>
                  <a:lnTo>
                    <a:pt x="259" y="89"/>
                  </a:lnTo>
                  <a:lnTo>
                    <a:pt x="266" y="89"/>
                  </a:lnTo>
                  <a:lnTo>
                    <a:pt x="269" y="91"/>
                  </a:lnTo>
                  <a:lnTo>
                    <a:pt x="273" y="94"/>
                  </a:lnTo>
                  <a:lnTo>
                    <a:pt x="276" y="96"/>
                  </a:lnTo>
                  <a:lnTo>
                    <a:pt x="276" y="92"/>
                  </a:lnTo>
                  <a:lnTo>
                    <a:pt x="274" y="91"/>
                  </a:lnTo>
                  <a:lnTo>
                    <a:pt x="274" y="89"/>
                  </a:lnTo>
                  <a:lnTo>
                    <a:pt x="274" y="89"/>
                  </a:lnTo>
                  <a:lnTo>
                    <a:pt x="274" y="87"/>
                  </a:lnTo>
                  <a:lnTo>
                    <a:pt x="273" y="84"/>
                  </a:lnTo>
                  <a:lnTo>
                    <a:pt x="278" y="82"/>
                  </a:lnTo>
                  <a:lnTo>
                    <a:pt x="281" y="80"/>
                  </a:lnTo>
                  <a:lnTo>
                    <a:pt x="287" y="77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9" y="73"/>
                  </a:lnTo>
                  <a:lnTo>
                    <a:pt x="304" y="75"/>
                  </a:lnTo>
                  <a:lnTo>
                    <a:pt x="308" y="79"/>
                  </a:lnTo>
                  <a:lnTo>
                    <a:pt x="314" y="79"/>
                  </a:lnTo>
                  <a:lnTo>
                    <a:pt x="323" y="77"/>
                  </a:lnTo>
                  <a:lnTo>
                    <a:pt x="327" y="65"/>
                  </a:lnTo>
                  <a:lnTo>
                    <a:pt x="332" y="63"/>
                  </a:lnTo>
                  <a:lnTo>
                    <a:pt x="337" y="63"/>
                  </a:lnTo>
                  <a:lnTo>
                    <a:pt x="342" y="63"/>
                  </a:lnTo>
                  <a:lnTo>
                    <a:pt x="346" y="65"/>
                  </a:lnTo>
                  <a:lnTo>
                    <a:pt x="349" y="65"/>
                  </a:lnTo>
                  <a:lnTo>
                    <a:pt x="356" y="54"/>
                  </a:lnTo>
                  <a:lnTo>
                    <a:pt x="367" y="52"/>
                  </a:lnTo>
                  <a:lnTo>
                    <a:pt x="374" y="56"/>
                  </a:lnTo>
                  <a:lnTo>
                    <a:pt x="381" y="59"/>
                  </a:lnTo>
                  <a:lnTo>
                    <a:pt x="388" y="61"/>
                  </a:lnTo>
                  <a:lnTo>
                    <a:pt x="397" y="58"/>
                  </a:lnTo>
                  <a:lnTo>
                    <a:pt x="409" y="51"/>
                  </a:lnTo>
                  <a:lnTo>
                    <a:pt x="421" y="45"/>
                  </a:lnTo>
                  <a:close/>
                  <a:moveTo>
                    <a:pt x="2104" y="42"/>
                  </a:moveTo>
                  <a:lnTo>
                    <a:pt x="2111" y="44"/>
                  </a:lnTo>
                  <a:lnTo>
                    <a:pt x="2118" y="47"/>
                  </a:lnTo>
                  <a:lnTo>
                    <a:pt x="2121" y="51"/>
                  </a:lnTo>
                  <a:lnTo>
                    <a:pt x="2126" y="54"/>
                  </a:lnTo>
                  <a:lnTo>
                    <a:pt x="2132" y="58"/>
                  </a:lnTo>
                  <a:lnTo>
                    <a:pt x="2128" y="68"/>
                  </a:lnTo>
                  <a:lnTo>
                    <a:pt x="2107" y="80"/>
                  </a:lnTo>
                  <a:lnTo>
                    <a:pt x="2091" y="94"/>
                  </a:lnTo>
                  <a:lnTo>
                    <a:pt x="2077" y="112"/>
                  </a:lnTo>
                  <a:lnTo>
                    <a:pt x="2074" y="112"/>
                  </a:lnTo>
                  <a:lnTo>
                    <a:pt x="2074" y="108"/>
                  </a:lnTo>
                  <a:lnTo>
                    <a:pt x="2069" y="105"/>
                  </a:lnTo>
                  <a:lnTo>
                    <a:pt x="2065" y="101"/>
                  </a:lnTo>
                  <a:lnTo>
                    <a:pt x="2063" y="98"/>
                  </a:lnTo>
                  <a:lnTo>
                    <a:pt x="2060" y="94"/>
                  </a:lnTo>
                  <a:lnTo>
                    <a:pt x="2058" y="89"/>
                  </a:lnTo>
                  <a:lnTo>
                    <a:pt x="2062" y="82"/>
                  </a:lnTo>
                  <a:lnTo>
                    <a:pt x="2063" y="77"/>
                  </a:lnTo>
                  <a:lnTo>
                    <a:pt x="2065" y="68"/>
                  </a:lnTo>
                  <a:lnTo>
                    <a:pt x="2039" y="68"/>
                  </a:lnTo>
                  <a:lnTo>
                    <a:pt x="2039" y="61"/>
                  </a:lnTo>
                  <a:lnTo>
                    <a:pt x="2053" y="56"/>
                  </a:lnTo>
                  <a:lnTo>
                    <a:pt x="2067" y="52"/>
                  </a:lnTo>
                  <a:lnTo>
                    <a:pt x="2084" y="49"/>
                  </a:lnTo>
                  <a:lnTo>
                    <a:pt x="2086" y="54"/>
                  </a:lnTo>
                  <a:lnTo>
                    <a:pt x="2088" y="56"/>
                  </a:lnTo>
                  <a:lnTo>
                    <a:pt x="2088" y="58"/>
                  </a:lnTo>
                  <a:lnTo>
                    <a:pt x="2090" y="58"/>
                  </a:lnTo>
                  <a:lnTo>
                    <a:pt x="2090" y="59"/>
                  </a:lnTo>
                  <a:lnTo>
                    <a:pt x="2093" y="61"/>
                  </a:lnTo>
                  <a:lnTo>
                    <a:pt x="2095" y="56"/>
                  </a:lnTo>
                  <a:lnTo>
                    <a:pt x="2097" y="52"/>
                  </a:lnTo>
                  <a:lnTo>
                    <a:pt x="2098" y="49"/>
                  </a:lnTo>
                  <a:lnTo>
                    <a:pt x="2102" y="45"/>
                  </a:lnTo>
                  <a:lnTo>
                    <a:pt x="2104" y="42"/>
                  </a:lnTo>
                  <a:close/>
                  <a:moveTo>
                    <a:pt x="2147" y="23"/>
                  </a:moveTo>
                  <a:lnTo>
                    <a:pt x="2151" y="24"/>
                  </a:lnTo>
                  <a:lnTo>
                    <a:pt x="2152" y="24"/>
                  </a:lnTo>
                  <a:lnTo>
                    <a:pt x="2154" y="26"/>
                  </a:lnTo>
                  <a:lnTo>
                    <a:pt x="2154" y="26"/>
                  </a:lnTo>
                  <a:lnTo>
                    <a:pt x="2156" y="28"/>
                  </a:lnTo>
                  <a:lnTo>
                    <a:pt x="2158" y="31"/>
                  </a:lnTo>
                  <a:lnTo>
                    <a:pt x="2161" y="37"/>
                  </a:lnTo>
                  <a:lnTo>
                    <a:pt x="2165" y="42"/>
                  </a:lnTo>
                  <a:lnTo>
                    <a:pt x="2166" y="49"/>
                  </a:lnTo>
                  <a:lnTo>
                    <a:pt x="2158" y="49"/>
                  </a:lnTo>
                  <a:lnTo>
                    <a:pt x="2158" y="45"/>
                  </a:lnTo>
                  <a:lnTo>
                    <a:pt x="2154" y="42"/>
                  </a:lnTo>
                  <a:lnTo>
                    <a:pt x="2151" y="38"/>
                  </a:lnTo>
                  <a:lnTo>
                    <a:pt x="2149" y="35"/>
                  </a:lnTo>
                  <a:lnTo>
                    <a:pt x="2147" y="30"/>
                  </a:lnTo>
                  <a:lnTo>
                    <a:pt x="2147" y="23"/>
                  </a:lnTo>
                  <a:close/>
                  <a:moveTo>
                    <a:pt x="943" y="19"/>
                  </a:moveTo>
                  <a:lnTo>
                    <a:pt x="967" y="19"/>
                  </a:lnTo>
                  <a:lnTo>
                    <a:pt x="992" y="23"/>
                  </a:lnTo>
                  <a:lnTo>
                    <a:pt x="1014" y="26"/>
                  </a:lnTo>
                  <a:lnTo>
                    <a:pt x="1034" y="31"/>
                  </a:lnTo>
                  <a:lnTo>
                    <a:pt x="1063" y="26"/>
                  </a:lnTo>
                  <a:lnTo>
                    <a:pt x="1067" y="30"/>
                  </a:lnTo>
                  <a:lnTo>
                    <a:pt x="1070" y="31"/>
                  </a:lnTo>
                  <a:lnTo>
                    <a:pt x="1074" y="37"/>
                  </a:lnTo>
                  <a:lnTo>
                    <a:pt x="1076" y="40"/>
                  </a:lnTo>
                  <a:lnTo>
                    <a:pt x="1079" y="42"/>
                  </a:lnTo>
                  <a:lnTo>
                    <a:pt x="1096" y="49"/>
                  </a:lnTo>
                  <a:lnTo>
                    <a:pt x="1116" y="54"/>
                  </a:lnTo>
                  <a:lnTo>
                    <a:pt x="1133" y="58"/>
                  </a:lnTo>
                  <a:lnTo>
                    <a:pt x="1133" y="65"/>
                  </a:lnTo>
                  <a:lnTo>
                    <a:pt x="1105" y="65"/>
                  </a:lnTo>
                  <a:lnTo>
                    <a:pt x="1093" y="59"/>
                  </a:lnTo>
                  <a:lnTo>
                    <a:pt x="1079" y="59"/>
                  </a:lnTo>
                  <a:lnTo>
                    <a:pt x="1063" y="61"/>
                  </a:lnTo>
                  <a:lnTo>
                    <a:pt x="1048" y="65"/>
                  </a:lnTo>
                  <a:lnTo>
                    <a:pt x="1048" y="73"/>
                  </a:lnTo>
                  <a:lnTo>
                    <a:pt x="1067" y="73"/>
                  </a:lnTo>
                  <a:lnTo>
                    <a:pt x="1081" y="70"/>
                  </a:lnTo>
                  <a:lnTo>
                    <a:pt x="1098" y="68"/>
                  </a:lnTo>
                  <a:lnTo>
                    <a:pt x="1119" y="68"/>
                  </a:lnTo>
                  <a:lnTo>
                    <a:pt x="1140" y="68"/>
                  </a:lnTo>
                  <a:lnTo>
                    <a:pt x="1156" y="68"/>
                  </a:lnTo>
                  <a:lnTo>
                    <a:pt x="1170" y="82"/>
                  </a:lnTo>
                  <a:lnTo>
                    <a:pt x="1187" y="92"/>
                  </a:lnTo>
                  <a:lnTo>
                    <a:pt x="1182" y="103"/>
                  </a:lnTo>
                  <a:lnTo>
                    <a:pt x="1172" y="110"/>
                  </a:lnTo>
                  <a:lnTo>
                    <a:pt x="1163" y="115"/>
                  </a:lnTo>
                  <a:lnTo>
                    <a:pt x="1151" y="119"/>
                  </a:lnTo>
                  <a:lnTo>
                    <a:pt x="1133" y="119"/>
                  </a:lnTo>
                  <a:lnTo>
                    <a:pt x="1117" y="124"/>
                  </a:lnTo>
                  <a:lnTo>
                    <a:pt x="1100" y="124"/>
                  </a:lnTo>
                  <a:lnTo>
                    <a:pt x="1081" y="122"/>
                  </a:lnTo>
                  <a:lnTo>
                    <a:pt x="1063" y="120"/>
                  </a:lnTo>
                  <a:lnTo>
                    <a:pt x="1046" y="120"/>
                  </a:lnTo>
                  <a:lnTo>
                    <a:pt x="1032" y="124"/>
                  </a:lnTo>
                  <a:lnTo>
                    <a:pt x="1021" y="134"/>
                  </a:lnTo>
                  <a:lnTo>
                    <a:pt x="1063" y="134"/>
                  </a:lnTo>
                  <a:lnTo>
                    <a:pt x="1076" y="131"/>
                  </a:lnTo>
                  <a:lnTo>
                    <a:pt x="1091" y="129"/>
                  </a:lnTo>
                  <a:lnTo>
                    <a:pt x="1109" y="131"/>
                  </a:lnTo>
                  <a:lnTo>
                    <a:pt x="1121" y="134"/>
                  </a:lnTo>
                  <a:lnTo>
                    <a:pt x="1124" y="147"/>
                  </a:lnTo>
                  <a:lnTo>
                    <a:pt x="1130" y="145"/>
                  </a:lnTo>
                  <a:lnTo>
                    <a:pt x="1138" y="140"/>
                  </a:lnTo>
                  <a:lnTo>
                    <a:pt x="1149" y="136"/>
                  </a:lnTo>
                  <a:lnTo>
                    <a:pt x="1159" y="134"/>
                  </a:lnTo>
                  <a:lnTo>
                    <a:pt x="1161" y="140"/>
                  </a:lnTo>
                  <a:lnTo>
                    <a:pt x="1163" y="143"/>
                  </a:lnTo>
                  <a:lnTo>
                    <a:pt x="1165" y="145"/>
                  </a:lnTo>
                  <a:lnTo>
                    <a:pt x="1168" y="147"/>
                  </a:lnTo>
                  <a:lnTo>
                    <a:pt x="1172" y="150"/>
                  </a:lnTo>
                  <a:lnTo>
                    <a:pt x="1156" y="180"/>
                  </a:lnTo>
                  <a:lnTo>
                    <a:pt x="1163" y="180"/>
                  </a:lnTo>
                  <a:lnTo>
                    <a:pt x="1175" y="173"/>
                  </a:lnTo>
                  <a:lnTo>
                    <a:pt x="1191" y="164"/>
                  </a:lnTo>
                  <a:lnTo>
                    <a:pt x="1210" y="157"/>
                  </a:lnTo>
                  <a:lnTo>
                    <a:pt x="1231" y="150"/>
                  </a:lnTo>
                  <a:lnTo>
                    <a:pt x="1254" y="145"/>
                  </a:lnTo>
                  <a:lnTo>
                    <a:pt x="1274" y="145"/>
                  </a:lnTo>
                  <a:lnTo>
                    <a:pt x="1294" y="147"/>
                  </a:lnTo>
                  <a:lnTo>
                    <a:pt x="1308" y="155"/>
                  </a:lnTo>
                  <a:lnTo>
                    <a:pt x="1316" y="169"/>
                  </a:lnTo>
                  <a:lnTo>
                    <a:pt x="1322" y="169"/>
                  </a:lnTo>
                  <a:lnTo>
                    <a:pt x="1322" y="171"/>
                  </a:lnTo>
                  <a:lnTo>
                    <a:pt x="1322" y="171"/>
                  </a:lnTo>
                  <a:lnTo>
                    <a:pt x="1320" y="173"/>
                  </a:lnTo>
                  <a:lnTo>
                    <a:pt x="1318" y="173"/>
                  </a:lnTo>
                  <a:lnTo>
                    <a:pt x="1318" y="173"/>
                  </a:lnTo>
                  <a:lnTo>
                    <a:pt x="1316" y="173"/>
                  </a:lnTo>
                  <a:lnTo>
                    <a:pt x="1313" y="176"/>
                  </a:lnTo>
                  <a:lnTo>
                    <a:pt x="1308" y="178"/>
                  </a:lnTo>
                  <a:lnTo>
                    <a:pt x="1302" y="180"/>
                  </a:lnTo>
                  <a:lnTo>
                    <a:pt x="1295" y="182"/>
                  </a:lnTo>
                  <a:lnTo>
                    <a:pt x="1290" y="183"/>
                  </a:lnTo>
                  <a:lnTo>
                    <a:pt x="1278" y="202"/>
                  </a:lnTo>
                  <a:lnTo>
                    <a:pt x="1255" y="216"/>
                  </a:lnTo>
                  <a:lnTo>
                    <a:pt x="1229" y="225"/>
                  </a:lnTo>
                  <a:lnTo>
                    <a:pt x="1198" y="230"/>
                  </a:lnTo>
                  <a:lnTo>
                    <a:pt x="1198" y="236"/>
                  </a:lnTo>
                  <a:lnTo>
                    <a:pt x="1198" y="239"/>
                  </a:lnTo>
                  <a:lnTo>
                    <a:pt x="1198" y="241"/>
                  </a:lnTo>
                  <a:lnTo>
                    <a:pt x="1196" y="243"/>
                  </a:lnTo>
                  <a:lnTo>
                    <a:pt x="1198" y="244"/>
                  </a:lnTo>
                  <a:lnTo>
                    <a:pt x="1198" y="246"/>
                  </a:lnTo>
                  <a:lnTo>
                    <a:pt x="1201" y="250"/>
                  </a:lnTo>
                  <a:lnTo>
                    <a:pt x="1206" y="253"/>
                  </a:lnTo>
                  <a:lnTo>
                    <a:pt x="1210" y="255"/>
                  </a:lnTo>
                  <a:lnTo>
                    <a:pt x="1213" y="258"/>
                  </a:lnTo>
                  <a:lnTo>
                    <a:pt x="1217" y="260"/>
                  </a:lnTo>
                  <a:lnTo>
                    <a:pt x="1220" y="265"/>
                  </a:lnTo>
                  <a:lnTo>
                    <a:pt x="1217" y="272"/>
                  </a:lnTo>
                  <a:lnTo>
                    <a:pt x="1213" y="288"/>
                  </a:lnTo>
                  <a:lnTo>
                    <a:pt x="1210" y="307"/>
                  </a:lnTo>
                  <a:lnTo>
                    <a:pt x="1206" y="326"/>
                  </a:lnTo>
                  <a:lnTo>
                    <a:pt x="1206" y="342"/>
                  </a:lnTo>
                  <a:lnTo>
                    <a:pt x="1210" y="340"/>
                  </a:lnTo>
                  <a:lnTo>
                    <a:pt x="1213" y="340"/>
                  </a:lnTo>
                  <a:lnTo>
                    <a:pt x="1215" y="340"/>
                  </a:lnTo>
                  <a:lnTo>
                    <a:pt x="1219" y="340"/>
                  </a:lnTo>
                  <a:lnTo>
                    <a:pt x="1220" y="340"/>
                  </a:lnTo>
                  <a:lnTo>
                    <a:pt x="1226" y="342"/>
                  </a:lnTo>
                  <a:lnTo>
                    <a:pt x="1224" y="347"/>
                  </a:lnTo>
                  <a:lnTo>
                    <a:pt x="1224" y="349"/>
                  </a:lnTo>
                  <a:lnTo>
                    <a:pt x="1224" y="353"/>
                  </a:lnTo>
                  <a:lnTo>
                    <a:pt x="1224" y="354"/>
                  </a:lnTo>
                  <a:lnTo>
                    <a:pt x="1224" y="358"/>
                  </a:lnTo>
                  <a:lnTo>
                    <a:pt x="1226" y="365"/>
                  </a:lnTo>
                  <a:lnTo>
                    <a:pt x="1220" y="365"/>
                  </a:lnTo>
                  <a:lnTo>
                    <a:pt x="1220" y="368"/>
                  </a:lnTo>
                  <a:lnTo>
                    <a:pt x="1217" y="367"/>
                  </a:lnTo>
                  <a:lnTo>
                    <a:pt x="1213" y="363"/>
                  </a:lnTo>
                  <a:lnTo>
                    <a:pt x="1212" y="361"/>
                  </a:lnTo>
                  <a:lnTo>
                    <a:pt x="1208" y="360"/>
                  </a:lnTo>
                  <a:lnTo>
                    <a:pt x="1205" y="358"/>
                  </a:lnTo>
                  <a:lnTo>
                    <a:pt x="1198" y="358"/>
                  </a:lnTo>
                  <a:lnTo>
                    <a:pt x="1194" y="360"/>
                  </a:lnTo>
                  <a:lnTo>
                    <a:pt x="1191" y="361"/>
                  </a:lnTo>
                  <a:lnTo>
                    <a:pt x="1187" y="363"/>
                  </a:lnTo>
                  <a:lnTo>
                    <a:pt x="1185" y="365"/>
                  </a:lnTo>
                  <a:lnTo>
                    <a:pt x="1182" y="367"/>
                  </a:lnTo>
                  <a:lnTo>
                    <a:pt x="1180" y="370"/>
                  </a:lnTo>
                  <a:lnTo>
                    <a:pt x="1178" y="377"/>
                  </a:lnTo>
                  <a:lnTo>
                    <a:pt x="1201" y="384"/>
                  </a:lnTo>
                  <a:lnTo>
                    <a:pt x="1206" y="415"/>
                  </a:lnTo>
                  <a:lnTo>
                    <a:pt x="1201" y="415"/>
                  </a:lnTo>
                  <a:lnTo>
                    <a:pt x="1198" y="415"/>
                  </a:lnTo>
                  <a:lnTo>
                    <a:pt x="1194" y="417"/>
                  </a:lnTo>
                  <a:lnTo>
                    <a:pt x="1191" y="419"/>
                  </a:lnTo>
                  <a:lnTo>
                    <a:pt x="1191" y="426"/>
                  </a:lnTo>
                  <a:lnTo>
                    <a:pt x="1199" y="431"/>
                  </a:lnTo>
                  <a:lnTo>
                    <a:pt x="1205" y="438"/>
                  </a:lnTo>
                  <a:lnTo>
                    <a:pt x="1208" y="447"/>
                  </a:lnTo>
                  <a:lnTo>
                    <a:pt x="1210" y="461"/>
                  </a:lnTo>
                  <a:lnTo>
                    <a:pt x="1201" y="461"/>
                  </a:lnTo>
                  <a:lnTo>
                    <a:pt x="1199" y="461"/>
                  </a:lnTo>
                  <a:lnTo>
                    <a:pt x="1194" y="459"/>
                  </a:lnTo>
                  <a:lnTo>
                    <a:pt x="1191" y="461"/>
                  </a:lnTo>
                  <a:lnTo>
                    <a:pt x="1185" y="461"/>
                  </a:lnTo>
                  <a:lnTo>
                    <a:pt x="1182" y="464"/>
                  </a:lnTo>
                  <a:lnTo>
                    <a:pt x="1178" y="468"/>
                  </a:lnTo>
                  <a:lnTo>
                    <a:pt x="1184" y="471"/>
                  </a:lnTo>
                  <a:lnTo>
                    <a:pt x="1187" y="473"/>
                  </a:lnTo>
                  <a:lnTo>
                    <a:pt x="1189" y="475"/>
                  </a:lnTo>
                  <a:lnTo>
                    <a:pt x="1191" y="476"/>
                  </a:lnTo>
                  <a:lnTo>
                    <a:pt x="1192" y="482"/>
                  </a:lnTo>
                  <a:lnTo>
                    <a:pt x="1194" y="487"/>
                  </a:lnTo>
                  <a:lnTo>
                    <a:pt x="1192" y="489"/>
                  </a:lnTo>
                  <a:lnTo>
                    <a:pt x="1192" y="490"/>
                  </a:lnTo>
                  <a:lnTo>
                    <a:pt x="1192" y="490"/>
                  </a:lnTo>
                  <a:lnTo>
                    <a:pt x="1191" y="492"/>
                  </a:lnTo>
                  <a:lnTo>
                    <a:pt x="1191" y="496"/>
                  </a:lnTo>
                  <a:lnTo>
                    <a:pt x="1177" y="496"/>
                  </a:lnTo>
                  <a:lnTo>
                    <a:pt x="1163" y="499"/>
                  </a:lnTo>
                  <a:lnTo>
                    <a:pt x="1152" y="503"/>
                  </a:lnTo>
                  <a:lnTo>
                    <a:pt x="1156" y="503"/>
                  </a:lnTo>
                  <a:lnTo>
                    <a:pt x="1161" y="506"/>
                  </a:lnTo>
                  <a:lnTo>
                    <a:pt x="1165" y="508"/>
                  </a:lnTo>
                  <a:lnTo>
                    <a:pt x="1168" y="508"/>
                  </a:lnTo>
                  <a:lnTo>
                    <a:pt x="1172" y="510"/>
                  </a:lnTo>
                  <a:lnTo>
                    <a:pt x="1175" y="513"/>
                  </a:lnTo>
                  <a:lnTo>
                    <a:pt x="1178" y="518"/>
                  </a:lnTo>
                  <a:lnTo>
                    <a:pt x="1172" y="527"/>
                  </a:lnTo>
                  <a:lnTo>
                    <a:pt x="1168" y="538"/>
                  </a:lnTo>
                  <a:lnTo>
                    <a:pt x="1163" y="550"/>
                  </a:lnTo>
                  <a:lnTo>
                    <a:pt x="1161" y="545"/>
                  </a:lnTo>
                  <a:lnTo>
                    <a:pt x="1158" y="541"/>
                  </a:lnTo>
                  <a:lnTo>
                    <a:pt x="1156" y="539"/>
                  </a:lnTo>
                  <a:lnTo>
                    <a:pt x="1152" y="539"/>
                  </a:lnTo>
                  <a:lnTo>
                    <a:pt x="1147" y="538"/>
                  </a:lnTo>
                  <a:lnTo>
                    <a:pt x="1140" y="538"/>
                  </a:lnTo>
                  <a:lnTo>
                    <a:pt x="1140" y="541"/>
                  </a:lnTo>
                  <a:lnTo>
                    <a:pt x="1144" y="541"/>
                  </a:lnTo>
                  <a:lnTo>
                    <a:pt x="1156" y="553"/>
                  </a:lnTo>
                  <a:lnTo>
                    <a:pt x="1166" y="567"/>
                  </a:lnTo>
                  <a:lnTo>
                    <a:pt x="1172" y="585"/>
                  </a:lnTo>
                  <a:lnTo>
                    <a:pt x="1175" y="606"/>
                  </a:lnTo>
                  <a:lnTo>
                    <a:pt x="1172" y="606"/>
                  </a:lnTo>
                  <a:lnTo>
                    <a:pt x="1172" y="611"/>
                  </a:lnTo>
                  <a:lnTo>
                    <a:pt x="1144" y="614"/>
                  </a:lnTo>
                  <a:lnTo>
                    <a:pt x="1144" y="595"/>
                  </a:lnTo>
                  <a:lnTo>
                    <a:pt x="1140" y="592"/>
                  </a:lnTo>
                  <a:lnTo>
                    <a:pt x="1137" y="590"/>
                  </a:lnTo>
                  <a:lnTo>
                    <a:pt x="1135" y="588"/>
                  </a:lnTo>
                  <a:lnTo>
                    <a:pt x="1130" y="585"/>
                  </a:lnTo>
                  <a:lnTo>
                    <a:pt x="1124" y="583"/>
                  </a:lnTo>
                  <a:lnTo>
                    <a:pt x="1116" y="588"/>
                  </a:lnTo>
                  <a:lnTo>
                    <a:pt x="1105" y="592"/>
                  </a:lnTo>
                  <a:lnTo>
                    <a:pt x="1093" y="593"/>
                  </a:lnTo>
                  <a:lnTo>
                    <a:pt x="1082" y="597"/>
                  </a:lnTo>
                  <a:lnTo>
                    <a:pt x="1076" y="602"/>
                  </a:lnTo>
                  <a:lnTo>
                    <a:pt x="1082" y="602"/>
                  </a:lnTo>
                  <a:lnTo>
                    <a:pt x="1091" y="602"/>
                  </a:lnTo>
                  <a:lnTo>
                    <a:pt x="1105" y="600"/>
                  </a:lnTo>
                  <a:lnTo>
                    <a:pt x="1121" y="599"/>
                  </a:lnTo>
                  <a:lnTo>
                    <a:pt x="1121" y="606"/>
                  </a:lnTo>
                  <a:lnTo>
                    <a:pt x="1086" y="618"/>
                  </a:lnTo>
                  <a:lnTo>
                    <a:pt x="1086" y="621"/>
                  </a:lnTo>
                  <a:lnTo>
                    <a:pt x="1095" y="621"/>
                  </a:lnTo>
                  <a:lnTo>
                    <a:pt x="1100" y="620"/>
                  </a:lnTo>
                  <a:lnTo>
                    <a:pt x="1107" y="618"/>
                  </a:lnTo>
                  <a:lnTo>
                    <a:pt x="1114" y="616"/>
                  </a:lnTo>
                  <a:lnTo>
                    <a:pt x="1121" y="614"/>
                  </a:lnTo>
                  <a:lnTo>
                    <a:pt x="1123" y="623"/>
                  </a:lnTo>
                  <a:lnTo>
                    <a:pt x="1130" y="627"/>
                  </a:lnTo>
                  <a:lnTo>
                    <a:pt x="1137" y="628"/>
                  </a:lnTo>
                  <a:lnTo>
                    <a:pt x="1149" y="627"/>
                  </a:lnTo>
                  <a:lnTo>
                    <a:pt x="1163" y="627"/>
                  </a:lnTo>
                  <a:lnTo>
                    <a:pt x="1163" y="630"/>
                  </a:lnTo>
                  <a:lnTo>
                    <a:pt x="1159" y="630"/>
                  </a:lnTo>
                  <a:lnTo>
                    <a:pt x="1140" y="648"/>
                  </a:lnTo>
                  <a:lnTo>
                    <a:pt x="1119" y="665"/>
                  </a:lnTo>
                  <a:lnTo>
                    <a:pt x="1098" y="679"/>
                  </a:lnTo>
                  <a:lnTo>
                    <a:pt x="1074" y="691"/>
                  </a:lnTo>
                  <a:lnTo>
                    <a:pt x="1048" y="696"/>
                  </a:lnTo>
                  <a:lnTo>
                    <a:pt x="1018" y="695"/>
                  </a:lnTo>
                  <a:lnTo>
                    <a:pt x="1018" y="700"/>
                  </a:lnTo>
                  <a:lnTo>
                    <a:pt x="1018" y="705"/>
                  </a:lnTo>
                  <a:lnTo>
                    <a:pt x="1016" y="709"/>
                  </a:lnTo>
                  <a:lnTo>
                    <a:pt x="1014" y="710"/>
                  </a:lnTo>
                  <a:lnTo>
                    <a:pt x="1013" y="710"/>
                  </a:lnTo>
                  <a:lnTo>
                    <a:pt x="1011" y="712"/>
                  </a:lnTo>
                  <a:lnTo>
                    <a:pt x="1007" y="714"/>
                  </a:lnTo>
                  <a:lnTo>
                    <a:pt x="1004" y="716"/>
                  </a:lnTo>
                  <a:lnTo>
                    <a:pt x="1002" y="717"/>
                  </a:lnTo>
                  <a:lnTo>
                    <a:pt x="999" y="721"/>
                  </a:lnTo>
                  <a:lnTo>
                    <a:pt x="995" y="731"/>
                  </a:lnTo>
                  <a:lnTo>
                    <a:pt x="993" y="744"/>
                  </a:lnTo>
                  <a:lnTo>
                    <a:pt x="990" y="752"/>
                  </a:lnTo>
                  <a:lnTo>
                    <a:pt x="981" y="761"/>
                  </a:lnTo>
                  <a:lnTo>
                    <a:pt x="966" y="771"/>
                  </a:lnTo>
                  <a:lnTo>
                    <a:pt x="946" y="780"/>
                  </a:lnTo>
                  <a:lnTo>
                    <a:pt x="929" y="787"/>
                  </a:lnTo>
                  <a:lnTo>
                    <a:pt x="913" y="791"/>
                  </a:lnTo>
                  <a:lnTo>
                    <a:pt x="913" y="787"/>
                  </a:lnTo>
                  <a:lnTo>
                    <a:pt x="913" y="784"/>
                  </a:lnTo>
                  <a:lnTo>
                    <a:pt x="911" y="784"/>
                  </a:lnTo>
                  <a:lnTo>
                    <a:pt x="911" y="782"/>
                  </a:lnTo>
                  <a:lnTo>
                    <a:pt x="910" y="780"/>
                  </a:lnTo>
                  <a:lnTo>
                    <a:pt x="908" y="794"/>
                  </a:lnTo>
                  <a:lnTo>
                    <a:pt x="903" y="806"/>
                  </a:lnTo>
                  <a:lnTo>
                    <a:pt x="899" y="817"/>
                  </a:lnTo>
                  <a:lnTo>
                    <a:pt x="894" y="827"/>
                  </a:lnTo>
                  <a:lnTo>
                    <a:pt x="890" y="841"/>
                  </a:lnTo>
                  <a:lnTo>
                    <a:pt x="894" y="843"/>
                  </a:lnTo>
                  <a:lnTo>
                    <a:pt x="894" y="845"/>
                  </a:lnTo>
                  <a:lnTo>
                    <a:pt x="896" y="845"/>
                  </a:lnTo>
                  <a:lnTo>
                    <a:pt x="896" y="845"/>
                  </a:lnTo>
                  <a:lnTo>
                    <a:pt x="896" y="847"/>
                  </a:lnTo>
                  <a:lnTo>
                    <a:pt x="894" y="848"/>
                  </a:lnTo>
                  <a:lnTo>
                    <a:pt x="890" y="852"/>
                  </a:lnTo>
                  <a:lnTo>
                    <a:pt x="887" y="854"/>
                  </a:lnTo>
                  <a:lnTo>
                    <a:pt x="884" y="857"/>
                  </a:lnTo>
                  <a:lnTo>
                    <a:pt x="880" y="859"/>
                  </a:lnTo>
                  <a:lnTo>
                    <a:pt x="878" y="862"/>
                  </a:lnTo>
                  <a:lnTo>
                    <a:pt x="875" y="867"/>
                  </a:lnTo>
                  <a:lnTo>
                    <a:pt x="868" y="887"/>
                  </a:lnTo>
                  <a:lnTo>
                    <a:pt x="863" y="908"/>
                  </a:lnTo>
                  <a:lnTo>
                    <a:pt x="861" y="932"/>
                  </a:lnTo>
                  <a:lnTo>
                    <a:pt x="857" y="955"/>
                  </a:lnTo>
                  <a:lnTo>
                    <a:pt x="852" y="976"/>
                  </a:lnTo>
                  <a:lnTo>
                    <a:pt x="849" y="974"/>
                  </a:lnTo>
                  <a:lnTo>
                    <a:pt x="849" y="974"/>
                  </a:lnTo>
                  <a:lnTo>
                    <a:pt x="847" y="974"/>
                  </a:lnTo>
                  <a:lnTo>
                    <a:pt x="847" y="972"/>
                  </a:lnTo>
                  <a:lnTo>
                    <a:pt x="845" y="972"/>
                  </a:lnTo>
                  <a:lnTo>
                    <a:pt x="840" y="969"/>
                  </a:lnTo>
                  <a:lnTo>
                    <a:pt x="831" y="962"/>
                  </a:lnTo>
                  <a:lnTo>
                    <a:pt x="817" y="953"/>
                  </a:lnTo>
                  <a:lnTo>
                    <a:pt x="801" y="944"/>
                  </a:lnTo>
                  <a:lnTo>
                    <a:pt x="786" y="934"/>
                  </a:lnTo>
                  <a:lnTo>
                    <a:pt x="774" y="925"/>
                  </a:lnTo>
                  <a:lnTo>
                    <a:pt x="763" y="920"/>
                  </a:lnTo>
                  <a:lnTo>
                    <a:pt x="760" y="918"/>
                  </a:lnTo>
                  <a:lnTo>
                    <a:pt x="756" y="880"/>
                  </a:lnTo>
                  <a:lnTo>
                    <a:pt x="754" y="876"/>
                  </a:lnTo>
                  <a:lnTo>
                    <a:pt x="749" y="873"/>
                  </a:lnTo>
                  <a:lnTo>
                    <a:pt x="746" y="871"/>
                  </a:lnTo>
                  <a:lnTo>
                    <a:pt x="740" y="867"/>
                  </a:lnTo>
                  <a:lnTo>
                    <a:pt x="737" y="864"/>
                  </a:lnTo>
                  <a:lnTo>
                    <a:pt x="740" y="862"/>
                  </a:lnTo>
                  <a:lnTo>
                    <a:pt x="740" y="860"/>
                  </a:lnTo>
                  <a:lnTo>
                    <a:pt x="742" y="859"/>
                  </a:lnTo>
                  <a:lnTo>
                    <a:pt x="742" y="859"/>
                  </a:lnTo>
                  <a:lnTo>
                    <a:pt x="744" y="855"/>
                  </a:lnTo>
                  <a:lnTo>
                    <a:pt x="746" y="852"/>
                  </a:lnTo>
                  <a:lnTo>
                    <a:pt x="737" y="852"/>
                  </a:lnTo>
                  <a:lnTo>
                    <a:pt x="732" y="852"/>
                  </a:lnTo>
                  <a:lnTo>
                    <a:pt x="728" y="852"/>
                  </a:lnTo>
                  <a:lnTo>
                    <a:pt x="726" y="850"/>
                  </a:lnTo>
                  <a:lnTo>
                    <a:pt x="725" y="847"/>
                  </a:lnTo>
                  <a:lnTo>
                    <a:pt x="721" y="841"/>
                  </a:lnTo>
                  <a:lnTo>
                    <a:pt x="719" y="838"/>
                  </a:lnTo>
                  <a:lnTo>
                    <a:pt x="719" y="834"/>
                  </a:lnTo>
                  <a:lnTo>
                    <a:pt x="719" y="833"/>
                  </a:lnTo>
                  <a:lnTo>
                    <a:pt x="719" y="829"/>
                  </a:lnTo>
                  <a:lnTo>
                    <a:pt x="721" y="826"/>
                  </a:lnTo>
                  <a:lnTo>
                    <a:pt x="721" y="822"/>
                  </a:lnTo>
                  <a:lnTo>
                    <a:pt x="711" y="822"/>
                  </a:lnTo>
                  <a:lnTo>
                    <a:pt x="711" y="817"/>
                  </a:lnTo>
                  <a:lnTo>
                    <a:pt x="712" y="812"/>
                  </a:lnTo>
                  <a:lnTo>
                    <a:pt x="714" y="810"/>
                  </a:lnTo>
                  <a:lnTo>
                    <a:pt x="714" y="806"/>
                  </a:lnTo>
                  <a:lnTo>
                    <a:pt x="716" y="803"/>
                  </a:lnTo>
                  <a:lnTo>
                    <a:pt x="718" y="798"/>
                  </a:lnTo>
                  <a:lnTo>
                    <a:pt x="712" y="798"/>
                  </a:lnTo>
                  <a:lnTo>
                    <a:pt x="707" y="798"/>
                  </a:lnTo>
                  <a:lnTo>
                    <a:pt x="704" y="796"/>
                  </a:lnTo>
                  <a:lnTo>
                    <a:pt x="698" y="794"/>
                  </a:lnTo>
                  <a:lnTo>
                    <a:pt x="697" y="768"/>
                  </a:lnTo>
                  <a:lnTo>
                    <a:pt x="695" y="744"/>
                  </a:lnTo>
                  <a:lnTo>
                    <a:pt x="695" y="721"/>
                  </a:lnTo>
                  <a:lnTo>
                    <a:pt x="702" y="698"/>
                  </a:lnTo>
                  <a:lnTo>
                    <a:pt x="709" y="688"/>
                  </a:lnTo>
                  <a:lnTo>
                    <a:pt x="718" y="681"/>
                  </a:lnTo>
                  <a:lnTo>
                    <a:pt x="725" y="675"/>
                  </a:lnTo>
                  <a:lnTo>
                    <a:pt x="730" y="667"/>
                  </a:lnTo>
                  <a:lnTo>
                    <a:pt x="735" y="656"/>
                  </a:lnTo>
                  <a:lnTo>
                    <a:pt x="737" y="637"/>
                  </a:lnTo>
                  <a:lnTo>
                    <a:pt x="733" y="637"/>
                  </a:lnTo>
                  <a:lnTo>
                    <a:pt x="730" y="641"/>
                  </a:lnTo>
                  <a:lnTo>
                    <a:pt x="726" y="642"/>
                  </a:lnTo>
                  <a:lnTo>
                    <a:pt x="725" y="642"/>
                  </a:lnTo>
                  <a:lnTo>
                    <a:pt x="721" y="642"/>
                  </a:lnTo>
                  <a:lnTo>
                    <a:pt x="718" y="641"/>
                  </a:lnTo>
                  <a:lnTo>
                    <a:pt x="704" y="637"/>
                  </a:lnTo>
                  <a:lnTo>
                    <a:pt x="693" y="630"/>
                  </a:lnTo>
                  <a:lnTo>
                    <a:pt x="686" y="620"/>
                  </a:lnTo>
                  <a:lnTo>
                    <a:pt x="683" y="602"/>
                  </a:lnTo>
                  <a:lnTo>
                    <a:pt x="688" y="602"/>
                  </a:lnTo>
                  <a:lnTo>
                    <a:pt x="688" y="599"/>
                  </a:lnTo>
                  <a:lnTo>
                    <a:pt x="697" y="604"/>
                  </a:lnTo>
                  <a:lnTo>
                    <a:pt x="707" y="611"/>
                  </a:lnTo>
                  <a:lnTo>
                    <a:pt x="716" y="614"/>
                  </a:lnTo>
                  <a:lnTo>
                    <a:pt x="726" y="614"/>
                  </a:lnTo>
                  <a:lnTo>
                    <a:pt x="726" y="613"/>
                  </a:lnTo>
                  <a:lnTo>
                    <a:pt x="728" y="611"/>
                  </a:lnTo>
                  <a:lnTo>
                    <a:pt x="728" y="611"/>
                  </a:lnTo>
                  <a:lnTo>
                    <a:pt x="728" y="609"/>
                  </a:lnTo>
                  <a:lnTo>
                    <a:pt x="730" y="606"/>
                  </a:lnTo>
                  <a:lnTo>
                    <a:pt x="711" y="592"/>
                  </a:lnTo>
                  <a:lnTo>
                    <a:pt x="695" y="572"/>
                  </a:lnTo>
                  <a:lnTo>
                    <a:pt x="690" y="574"/>
                  </a:lnTo>
                  <a:lnTo>
                    <a:pt x="686" y="576"/>
                  </a:lnTo>
                  <a:lnTo>
                    <a:pt x="681" y="578"/>
                  </a:lnTo>
                  <a:lnTo>
                    <a:pt x="676" y="579"/>
                  </a:lnTo>
                  <a:lnTo>
                    <a:pt x="672" y="576"/>
                  </a:lnTo>
                  <a:lnTo>
                    <a:pt x="671" y="574"/>
                  </a:lnTo>
                  <a:lnTo>
                    <a:pt x="669" y="571"/>
                  </a:lnTo>
                  <a:lnTo>
                    <a:pt x="667" y="569"/>
                  </a:lnTo>
                  <a:lnTo>
                    <a:pt x="664" y="564"/>
                  </a:lnTo>
                  <a:lnTo>
                    <a:pt x="674" y="553"/>
                  </a:lnTo>
                  <a:lnTo>
                    <a:pt x="676" y="538"/>
                  </a:lnTo>
                  <a:lnTo>
                    <a:pt x="674" y="518"/>
                  </a:lnTo>
                  <a:lnTo>
                    <a:pt x="669" y="497"/>
                  </a:lnTo>
                  <a:lnTo>
                    <a:pt x="660" y="475"/>
                  </a:lnTo>
                  <a:lnTo>
                    <a:pt x="650" y="454"/>
                  </a:lnTo>
                  <a:lnTo>
                    <a:pt x="637" y="435"/>
                  </a:lnTo>
                  <a:lnTo>
                    <a:pt x="627" y="417"/>
                  </a:lnTo>
                  <a:lnTo>
                    <a:pt x="618" y="403"/>
                  </a:lnTo>
                  <a:lnTo>
                    <a:pt x="597" y="389"/>
                  </a:lnTo>
                  <a:lnTo>
                    <a:pt x="573" y="384"/>
                  </a:lnTo>
                  <a:lnTo>
                    <a:pt x="548" y="384"/>
                  </a:lnTo>
                  <a:lnTo>
                    <a:pt x="520" y="384"/>
                  </a:lnTo>
                  <a:lnTo>
                    <a:pt x="493" y="386"/>
                  </a:lnTo>
                  <a:lnTo>
                    <a:pt x="465" y="384"/>
                  </a:lnTo>
                  <a:lnTo>
                    <a:pt x="465" y="379"/>
                  </a:lnTo>
                  <a:lnTo>
                    <a:pt x="465" y="375"/>
                  </a:lnTo>
                  <a:lnTo>
                    <a:pt x="466" y="374"/>
                  </a:lnTo>
                  <a:lnTo>
                    <a:pt x="466" y="372"/>
                  </a:lnTo>
                  <a:lnTo>
                    <a:pt x="466" y="370"/>
                  </a:lnTo>
                  <a:lnTo>
                    <a:pt x="465" y="368"/>
                  </a:lnTo>
                  <a:lnTo>
                    <a:pt x="454" y="363"/>
                  </a:lnTo>
                  <a:lnTo>
                    <a:pt x="444" y="360"/>
                  </a:lnTo>
                  <a:lnTo>
                    <a:pt x="433" y="353"/>
                  </a:lnTo>
                  <a:lnTo>
                    <a:pt x="442" y="353"/>
                  </a:lnTo>
                  <a:lnTo>
                    <a:pt x="452" y="349"/>
                  </a:lnTo>
                  <a:lnTo>
                    <a:pt x="466" y="346"/>
                  </a:lnTo>
                  <a:lnTo>
                    <a:pt x="482" y="344"/>
                  </a:lnTo>
                  <a:lnTo>
                    <a:pt x="494" y="340"/>
                  </a:lnTo>
                  <a:lnTo>
                    <a:pt x="503" y="333"/>
                  </a:lnTo>
                  <a:lnTo>
                    <a:pt x="461" y="333"/>
                  </a:lnTo>
                  <a:lnTo>
                    <a:pt x="451" y="330"/>
                  </a:lnTo>
                  <a:lnTo>
                    <a:pt x="442" y="330"/>
                  </a:lnTo>
                  <a:lnTo>
                    <a:pt x="431" y="328"/>
                  </a:lnTo>
                  <a:lnTo>
                    <a:pt x="423" y="326"/>
                  </a:lnTo>
                  <a:lnTo>
                    <a:pt x="414" y="323"/>
                  </a:lnTo>
                  <a:lnTo>
                    <a:pt x="409" y="314"/>
                  </a:lnTo>
                  <a:lnTo>
                    <a:pt x="407" y="300"/>
                  </a:lnTo>
                  <a:lnTo>
                    <a:pt x="428" y="297"/>
                  </a:lnTo>
                  <a:lnTo>
                    <a:pt x="447" y="290"/>
                  </a:lnTo>
                  <a:lnTo>
                    <a:pt x="463" y="283"/>
                  </a:lnTo>
                  <a:lnTo>
                    <a:pt x="480" y="276"/>
                  </a:lnTo>
                  <a:lnTo>
                    <a:pt x="515" y="276"/>
                  </a:lnTo>
                  <a:lnTo>
                    <a:pt x="529" y="230"/>
                  </a:lnTo>
                  <a:lnTo>
                    <a:pt x="496" y="230"/>
                  </a:lnTo>
                  <a:lnTo>
                    <a:pt x="487" y="218"/>
                  </a:lnTo>
                  <a:lnTo>
                    <a:pt x="498" y="211"/>
                  </a:lnTo>
                  <a:lnTo>
                    <a:pt x="506" y="204"/>
                  </a:lnTo>
                  <a:lnTo>
                    <a:pt x="517" y="199"/>
                  </a:lnTo>
                  <a:lnTo>
                    <a:pt x="529" y="195"/>
                  </a:lnTo>
                  <a:lnTo>
                    <a:pt x="529" y="183"/>
                  </a:lnTo>
                  <a:lnTo>
                    <a:pt x="543" y="176"/>
                  </a:lnTo>
                  <a:lnTo>
                    <a:pt x="550" y="168"/>
                  </a:lnTo>
                  <a:lnTo>
                    <a:pt x="557" y="157"/>
                  </a:lnTo>
                  <a:lnTo>
                    <a:pt x="568" y="150"/>
                  </a:lnTo>
                  <a:lnTo>
                    <a:pt x="580" y="145"/>
                  </a:lnTo>
                  <a:lnTo>
                    <a:pt x="590" y="145"/>
                  </a:lnTo>
                  <a:lnTo>
                    <a:pt x="599" y="148"/>
                  </a:lnTo>
                  <a:lnTo>
                    <a:pt x="611" y="147"/>
                  </a:lnTo>
                  <a:lnTo>
                    <a:pt x="602" y="143"/>
                  </a:lnTo>
                  <a:lnTo>
                    <a:pt x="597" y="141"/>
                  </a:lnTo>
                  <a:lnTo>
                    <a:pt x="592" y="140"/>
                  </a:lnTo>
                  <a:lnTo>
                    <a:pt x="587" y="134"/>
                  </a:lnTo>
                  <a:lnTo>
                    <a:pt x="604" y="131"/>
                  </a:lnTo>
                  <a:lnTo>
                    <a:pt x="620" y="126"/>
                  </a:lnTo>
                  <a:lnTo>
                    <a:pt x="634" y="122"/>
                  </a:lnTo>
                  <a:lnTo>
                    <a:pt x="650" y="119"/>
                  </a:lnTo>
                  <a:lnTo>
                    <a:pt x="651" y="126"/>
                  </a:lnTo>
                  <a:lnTo>
                    <a:pt x="653" y="129"/>
                  </a:lnTo>
                  <a:lnTo>
                    <a:pt x="655" y="134"/>
                  </a:lnTo>
                  <a:lnTo>
                    <a:pt x="657" y="138"/>
                  </a:lnTo>
                  <a:lnTo>
                    <a:pt x="662" y="140"/>
                  </a:lnTo>
                  <a:lnTo>
                    <a:pt x="669" y="141"/>
                  </a:lnTo>
                  <a:lnTo>
                    <a:pt x="669" y="136"/>
                  </a:lnTo>
                  <a:lnTo>
                    <a:pt x="672" y="131"/>
                  </a:lnTo>
                  <a:lnTo>
                    <a:pt x="674" y="124"/>
                  </a:lnTo>
                  <a:lnTo>
                    <a:pt x="676" y="119"/>
                  </a:lnTo>
                  <a:lnTo>
                    <a:pt x="679" y="124"/>
                  </a:lnTo>
                  <a:lnTo>
                    <a:pt x="685" y="129"/>
                  </a:lnTo>
                  <a:lnTo>
                    <a:pt x="688" y="133"/>
                  </a:lnTo>
                  <a:lnTo>
                    <a:pt x="695" y="136"/>
                  </a:lnTo>
                  <a:lnTo>
                    <a:pt x="702" y="138"/>
                  </a:lnTo>
                  <a:lnTo>
                    <a:pt x="698" y="115"/>
                  </a:lnTo>
                  <a:lnTo>
                    <a:pt x="711" y="112"/>
                  </a:lnTo>
                  <a:lnTo>
                    <a:pt x="721" y="108"/>
                  </a:lnTo>
                  <a:lnTo>
                    <a:pt x="737" y="112"/>
                  </a:lnTo>
                  <a:lnTo>
                    <a:pt x="754" y="119"/>
                  </a:lnTo>
                  <a:lnTo>
                    <a:pt x="772" y="129"/>
                  </a:lnTo>
                  <a:lnTo>
                    <a:pt x="791" y="138"/>
                  </a:lnTo>
                  <a:lnTo>
                    <a:pt x="807" y="145"/>
                  </a:lnTo>
                  <a:lnTo>
                    <a:pt x="822" y="150"/>
                  </a:lnTo>
                  <a:lnTo>
                    <a:pt x="822" y="147"/>
                  </a:lnTo>
                  <a:lnTo>
                    <a:pt x="812" y="138"/>
                  </a:lnTo>
                  <a:lnTo>
                    <a:pt x="805" y="131"/>
                  </a:lnTo>
                  <a:lnTo>
                    <a:pt x="801" y="122"/>
                  </a:lnTo>
                  <a:lnTo>
                    <a:pt x="807" y="112"/>
                  </a:lnTo>
                  <a:lnTo>
                    <a:pt x="803" y="108"/>
                  </a:lnTo>
                  <a:lnTo>
                    <a:pt x="798" y="103"/>
                  </a:lnTo>
                  <a:lnTo>
                    <a:pt x="793" y="99"/>
                  </a:lnTo>
                  <a:lnTo>
                    <a:pt x="788" y="96"/>
                  </a:lnTo>
                  <a:lnTo>
                    <a:pt x="784" y="92"/>
                  </a:lnTo>
                  <a:lnTo>
                    <a:pt x="788" y="84"/>
                  </a:lnTo>
                  <a:lnTo>
                    <a:pt x="798" y="87"/>
                  </a:lnTo>
                  <a:lnTo>
                    <a:pt x="812" y="89"/>
                  </a:lnTo>
                  <a:lnTo>
                    <a:pt x="824" y="87"/>
                  </a:lnTo>
                  <a:lnTo>
                    <a:pt x="833" y="80"/>
                  </a:lnTo>
                  <a:lnTo>
                    <a:pt x="791" y="80"/>
                  </a:lnTo>
                  <a:lnTo>
                    <a:pt x="791" y="77"/>
                  </a:lnTo>
                  <a:lnTo>
                    <a:pt x="788" y="77"/>
                  </a:lnTo>
                  <a:lnTo>
                    <a:pt x="788" y="73"/>
                  </a:lnTo>
                  <a:lnTo>
                    <a:pt x="793" y="70"/>
                  </a:lnTo>
                  <a:lnTo>
                    <a:pt x="798" y="66"/>
                  </a:lnTo>
                  <a:lnTo>
                    <a:pt x="803" y="63"/>
                  </a:lnTo>
                  <a:lnTo>
                    <a:pt x="808" y="59"/>
                  </a:lnTo>
                  <a:lnTo>
                    <a:pt x="814" y="58"/>
                  </a:lnTo>
                  <a:lnTo>
                    <a:pt x="836" y="61"/>
                  </a:lnTo>
                  <a:lnTo>
                    <a:pt x="842" y="45"/>
                  </a:lnTo>
                  <a:lnTo>
                    <a:pt x="868" y="49"/>
                  </a:lnTo>
                  <a:lnTo>
                    <a:pt x="870" y="49"/>
                  </a:lnTo>
                  <a:lnTo>
                    <a:pt x="871" y="45"/>
                  </a:lnTo>
                  <a:lnTo>
                    <a:pt x="873" y="44"/>
                  </a:lnTo>
                  <a:lnTo>
                    <a:pt x="875" y="40"/>
                  </a:lnTo>
                  <a:lnTo>
                    <a:pt x="880" y="38"/>
                  </a:lnTo>
                  <a:lnTo>
                    <a:pt x="884" y="44"/>
                  </a:lnTo>
                  <a:lnTo>
                    <a:pt x="889" y="49"/>
                  </a:lnTo>
                  <a:lnTo>
                    <a:pt x="894" y="54"/>
                  </a:lnTo>
                  <a:lnTo>
                    <a:pt x="894" y="45"/>
                  </a:lnTo>
                  <a:lnTo>
                    <a:pt x="896" y="44"/>
                  </a:lnTo>
                  <a:lnTo>
                    <a:pt x="896" y="42"/>
                  </a:lnTo>
                  <a:lnTo>
                    <a:pt x="896" y="40"/>
                  </a:lnTo>
                  <a:lnTo>
                    <a:pt x="896" y="38"/>
                  </a:lnTo>
                  <a:lnTo>
                    <a:pt x="897" y="35"/>
                  </a:lnTo>
                  <a:lnTo>
                    <a:pt x="899" y="33"/>
                  </a:lnTo>
                  <a:lnTo>
                    <a:pt x="903" y="31"/>
                  </a:lnTo>
                  <a:lnTo>
                    <a:pt x="920" y="23"/>
                  </a:lnTo>
                  <a:lnTo>
                    <a:pt x="943" y="19"/>
                  </a:lnTo>
                  <a:close/>
                  <a:moveTo>
                    <a:pt x="2205" y="16"/>
                  </a:moveTo>
                  <a:lnTo>
                    <a:pt x="2215" y="19"/>
                  </a:lnTo>
                  <a:lnTo>
                    <a:pt x="2215" y="26"/>
                  </a:lnTo>
                  <a:lnTo>
                    <a:pt x="2200" y="26"/>
                  </a:lnTo>
                  <a:lnTo>
                    <a:pt x="2205" y="16"/>
                  </a:lnTo>
                  <a:close/>
                  <a:moveTo>
                    <a:pt x="2676" y="0"/>
                  </a:moveTo>
                  <a:lnTo>
                    <a:pt x="2681" y="3"/>
                  </a:lnTo>
                  <a:lnTo>
                    <a:pt x="2685" y="7"/>
                  </a:lnTo>
                  <a:lnTo>
                    <a:pt x="2687" y="10"/>
                  </a:lnTo>
                  <a:lnTo>
                    <a:pt x="2688" y="16"/>
                  </a:lnTo>
                  <a:lnTo>
                    <a:pt x="2690" y="19"/>
                  </a:lnTo>
                  <a:lnTo>
                    <a:pt x="2692" y="24"/>
                  </a:lnTo>
                  <a:lnTo>
                    <a:pt x="2695" y="26"/>
                  </a:lnTo>
                  <a:lnTo>
                    <a:pt x="2706" y="31"/>
                  </a:lnTo>
                  <a:lnTo>
                    <a:pt x="2716" y="33"/>
                  </a:lnTo>
                  <a:lnTo>
                    <a:pt x="2723" y="33"/>
                  </a:lnTo>
                  <a:lnTo>
                    <a:pt x="2728" y="37"/>
                  </a:lnTo>
                  <a:lnTo>
                    <a:pt x="2732" y="44"/>
                  </a:lnTo>
                  <a:lnTo>
                    <a:pt x="2734" y="58"/>
                  </a:lnTo>
                  <a:lnTo>
                    <a:pt x="2732" y="59"/>
                  </a:lnTo>
                  <a:lnTo>
                    <a:pt x="2732" y="59"/>
                  </a:lnTo>
                  <a:lnTo>
                    <a:pt x="2732" y="61"/>
                  </a:lnTo>
                  <a:lnTo>
                    <a:pt x="2732" y="63"/>
                  </a:lnTo>
                  <a:lnTo>
                    <a:pt x="2730" y="65"/>
                  </a:lnTo>
                  <a:lnTo>
                    <a:pt x="2708" y="65"/>
                  </a:lnTo>
                  <a:lnTo>
                    <a:pt x="2685" y="65"/>
                  </a:lnTo>
                  <a:lnTo>
                    <a:pt x="2666" y="73"/>
                  </a:lnTo>
                  <a:lnTo>
                    <a:pt x="2662" y="75"/>
                  </a:lnTo>
                  <a:lnTo>
                    <a:pt x="2660" y="79"/>
                  </a:lnTo>
                  <a:lnTo>
                    <a:pt x="2659" y="80"/>
                  </a:lnTo>
                  <a:lnTo>
                    <a:pt x="2657" y="82"/>
                  </a:lnTo>
                  <a:lnTo>
                    <a:pt x="2655" y="84"/>
                  </a:lnTo>
                  <a:lnTo>
                    <a:pt x="2652" y="86"/>
                  </a:lnTo>
                  <a:lnTo>
                    <a:pt x="2646" y="89"/>
                  </a:lnTo>
                  <a:lnTo>
                    <a:pt x="2643" y="84"/>
                  </a:lnTo>
                  <a:lnTo>
                    <a:pt x="2641" y="80"/>
                  </a:lnTo>
                  <a:lnTo>
                    <a:pt x="2638" y="77"/>
                  </a:lnTo>
                  <a:lnTo>
                    <a:pt x="2650" y="47"/>
                  </a:lnTo>
                  <a:lnTo>
                    <a:pt x="2662" y="23"/>
                  </a:lnTo>
                  <a:lnTo>
                    <a:pt x="2676" y="0"/>
                  </a:lnTo>
                  <a:close/>
                  <a:moveTo>
                    <a:pt x="2554" y="0"/>
                  </a:moveTo>
                  <a:lnTo>
                    <a:pt x="2563" y="9"/>
                  </a:lnTo>
                  <a:lnTo>
                    <a:pt x="2568" y="19"/>
                  </a:lnTo>
                  <a:lnTo>
                    <a:pt x="2573" y="31"/>
                  </a:lnTo>
                  <a:lnTo>
                    <a:pt x="2564" y="31"/>
                  </a:lnTo>
                  <a:lnTo>
                    <a:pt x="2564" y="26"/>
                  </a:lnTo>
                  <a:lnTo>
                    <a:pt x="2561" y="23"/>
                  </a:lnTo>
                  <a:lnTo>
                    <a:pt x="2557" y="19"/>
                  </a:lnTo>
                  <a:lnTo>
                    <a:pt x="2556" y="14"/>
                  </a:lnTo>
                  <a:lnTo>
                    <a:pt x="2554" y="9"/>
                  </a:lnTo>
                  <a:lnTo>
                    <a:pt x="2554" y="0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61205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406" y="4801712"/>
            <a:ext cx="7314248" cy="566869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406" y="612917"/>
            <a:ext cx="7314248" cy="4115753"/>
          </a:xfrm>
        </p:spPr>
        <p:txBody>
          <a:bodyPr rtlCol="0">
            <a:normAutofit/>
          </a:bodyPr>
          <a:lstStyle>
            <a:lvl1pPr marL="0" indent="0">
              <a:buNone/>
              <a:defRPr sz="3800"/>
            </a:lvl1pPr>
            <a:lvl2pPr marL="544251" indent="0">
              <a:buNone/>
              <a:defRPr sz="3300"/>
            </a:lvl2pPr>
            <a:lvl3pPr marL="1088502" indent="0">
              <a:buNone/>
              <a:defRPr sz="2900"/>
            </a:lvl3pPr>
            <a:lvl4pPr marL="1632753" indent="0">
              <a:buNone/>
              <a:defRPr sz="2400"/>
            </a:lvl4pPr>
            <a:lvl5pPr marL="2177004" indent="0">
              <a:buNone/>
              <a:defRPr sz="2400"/>
            </a:lvl5pPr>
            <a:lvl6pPr marL="2721254" indent="0">
              <a:buNone/>
              <a:defRPr sz="2400"/>
            </a:lvl6pPr>
            <a:lvl7pPr marL="3265505" indent="0">
              <a:buNone/>
              <a:defRPr sz="2400"/>
            </a:lvl7pPr>
            <a:lvl8pPr marL="3809756" indent="0">
              <a:buNone/>
              <a:defRPr sz="2400"/>
            </a:lvl8pPr>
            <a:lvl9pPr marL="4354007" indent="0">
              <a:buNone/>
              <a:defRPr sz="24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406" y="5368581"/>
            <a:ext cx="7314248" cy="805048"/>
          </a:xfrm>
        </p:spPr>
        <p:txBody>
          <a:bodyPr/>
          <a:lstStyle>
            <a:lvl1pPr marL="0" indent="0">
              <a:buNone/>
              <a:defRPr sz="1700"/>
            </a:lvl1pPr>
            <a:lvl2pPr marL="544251" indent="0">
              <a:buNone/>
              <a:defRPr sz="1400"/>
            </a:lvl2pPr>
            <a:lvl3pPr marL="1088502" indent="0">
              <a:buNone/>
              <a:defRPr sz="1200"/>
            </a:lvl3pPr>
            <a:lvl4pPr marL="1632753" indent="0">
              <a:buNone/>
              <a:defRPr sz="1100"/>
            </a:lvl4pPr>
            <a:lvl5pPr marL="2177004" indent="0">
              <a:buNone/>
              <a:defRPr sz="1100"/>
            </a:lvl5pPr>
            <a:lvl6pPr marL="2721254" indent="0">
              <a:buNone/>
              <a:defRPr sz="1100"/>
            </a:lvl6pPr>
            <a:lvl7pPr marL="3265505" indent="0">
              <a:buNone/>
              <a:defRPr sz="1100"/>
            </a:lvl7pPr>
            <a:lvl8pPr marL="3809756" indent="0">
              <a:buNone/>
              <a:defRPr sz="1100"/>
            </a:lvl8pPr>
            <a:lvl9pPr marL="4354007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525B5D-6201-4C22-BB92-CD67CFDE62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630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4BA50E-6052-4476-BF3A-FACED76F4D7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2462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4067" y="274702"/>
            <a:ext cx="3655008" cy="5854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694" y="274702"/>
            <a:ext cx="10768198" cy="5854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0525D5-142B-400F-818B-B1B56EC973F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924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user004\Desktop\Picture4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88"/>
          <a:stretch/>
        </p:blipFill>
        <p:spPr bwMode="auto">
          <a:xfrm>
            <a:off x="0" y="0"/>
            <a:ext cx="12190413" cy="6237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4"/>
          <p:cNvSpPr/>
          <p:nvPr userDrawn="1"/>
        </p:nvSpPr>
        <p:spPr>
          <a:xfrm>
            <a:off x="-19050" y="0"/>
            <a:ext cx="10570938" cy="6237288"/>
          </a:xfrm>
          <a:custGeom>
            <a:avLst/>
            <a:gdLst>
              <a:gd name="connsiteX0" fmla="*/ 0 w 8244408"/>
              <a:gd name="connsiteY0" fmla="*/ 0 h 5143500"/>
              <a:gd name="connsiteX1" fmla="*/ 8244408 w 8244408"/>
              <a:gd name="connsiteY1" fmla="*/ 0 h 5143500"/>
              <a:gd name="connsiteX2" fmla="*/ 8244408 w 8244408"/>
              <a:gd name="connsiteY2" fmla="*/ 5143500 h 5143500"/>
              <a:gd name="connsiteX3" fmla="*/ 0 w 8244408"/>
              <a:gd name="connsiteY3" fmla="*/ 5143500 h 5143500"/>
              <a:gd name="connsiteX4" fmla="*/ 0 w 8244408"/>
              <a:gd name="connsiteY4" fmla="*/ 0 h 5143500"/>
              <a:gd name="connsiteX0" fmla="*/ 0 w 8244408"/>
              <a:gd name="connsiteY0" fmla="*/ 0 h 5143500"/>
              <a:gd name="connsiteX1" fmla="*/ 5779504 w 8244408"/>
              <a:gd name="connsiteY1" fmla="*/ 0 h 5143500"/>
              <a:gd name="connsiteX2" fmla="*/ 8244408 w 8244408"/>
              <a:gd name="connsiteY2" fmla="*/ 5143500 h 5143500"/>
              <a:gd name="connsiteX3" fmla="*/ 0 w 8244408"/>
              <a:gd name="connsiteY3" fmla="*/ 5143500 h 5143500"/>
              <a:gd name="connsiteX4" fmla="*/ 0 w 8244408"/>
              <a:gd name="connsiteY4" fmla="*/ 0 h 5143500"/>
              <a:gd name="connsiteX0" fmla="*/ 0 w 8069479"/>
              <a:gd name="connsiteY0" fmla="*/ 0 h 5143500"/>
              <a:gd name="connsiteX1" fmla="*/ 5779504 w 8069479"/>
              <a:gd name="connsiteY1" fmla="*/ 0 h 5143500"/>
              <a:gd name="connsiteX2" fmla="*/ 8069479 w 8069479"/>
              <a:gd name="connsiteY2" fmla="*/ 5143500 h 5143500"/>
              <a:gd name="connsiteX3" fmla="*/ 0 w 8069479"/>
              <a:gd name="connsiteY3" fmla="*/ 5143500 h 5143500"/>
              <a:gd name="connsiteX4" fmla="*/ 0 w 8069479"/>
              <a:gd name="connsiteY4" fmla="*/ 0 h 5143500"/>
              <a:gd name="connsiteX0" fmla="*/ 0 w 8013820"/>
              <a:gd name="connsiteY0" fmla="*/ 0 h 5143500"/>
              <a:gd name="connsiteX1" fmla="*/ 5779504 w 8013820"/>
              <a:gd name="connsiteY1" fmla="*/ 0 h 5143500"/>
              <a:gd name="connsiteX2" fmla="*/ 8013820 w 8013820"/>
              <a:gd name="connsiteY2" fmla="*/ 5143500 h 5143500"/>
              <a:gd name="connsiteX3" fmla="*/ 0 w 8013820"/>
              <a:gd name="connsiteY3" fmla="*/ 5143500 h 5143500"/>
              <a:gd name="connsiteX4" fmla="*/ 0 w 8013820"/>
              <a:gd name="connsiteY4" fmla="*/ 0 h 5143500"/>
              <a:gd name="connsiteX0" fmla="*/ 0 w 7966112"/>
              <a:gd name="connsiteY0" fmla="*/ 0 h 5143500"/>
              <a:gd name="connsiteX1" fmla="*/ 5779504 w 7966112"/>
              <a:gd name="connsiteY1" fmla="*/ 0 h 5143500"/>
              <a:gd name="connsiteX2" fmla="*/ 7966112 w 7966112"/>
              <a:gd name="connsiteY2" fmla="*/ 5143500 h 5143500"/>
              <a:gd name="connsiteX3" fmla="*/ 0 w 7966112"/>
              <a:gd name="connsiteY3" fmla="*/ 5143500 h 5143500"/>
              <a:gd name="connsiteX4" fmla="*/ 0 w 7966112"/>
              <a:gd name="connsiteY4" fmla="*/ 0 h 5143500"/>
              <a:gd name="connsiteX0" fmla="*/ 0 w 7942258"/>
              <a:gd name="connsiteY0" fmla="*/ 0 h 5143500"/>
              <a:gd name="connsiteX1" fmla="*/ 5779504 w 7942258"/>
              <a:gd name="connsiteY1" fmla="*/ 0 h 5143500"/>
              <a:gd name="connsiteX2" fmla="*/ 7942258 w 7942258"/>
              <a:gd name="connsiteY2" fmla="*/ 5143500 h 5143500"/>
              <a:gd name="connsiteX3" fmla="*/ 0 w 7942258"/>
              <a:gd name="connsiteY3" fmla="*/ 5143500 h 5143500"/>
              <a:gd name="connsiteX4" fmla="*/ 0 w 7942258"/>
              <a:gd name="connsiteY4" fmla="*/ 0 h 5143500"/>
              <a:gd name="connsiteX0" fmla="*/ 0 w 7886599"/>
              <a:gd name="connsiteY0" fmla="*/ 0 h 5151451"/>
              <a:gd name="connsiteX1" fmla="*/ 5779504 w 7886599"/>
              <a:gd name="connsiteY1" fmla="*/ 0 h 5151451"/>
              <a:gd name="connsiteX2" fmla="*/ 7886599 w 7886599"/>
              <a:gd name="connsiteY2" fmla="*/ 5151451 h 5151451"/>
              <a:gd name="connsiteX3" fmla="*/ 0 w 7886599"/>
              <a:gd name="connsiteY3" fmla="*/ 5143500 h 5151451"/>
              <a:gd name="connsiteX4" fmla="*/ 0 w 7886599"/>
              <a:gd name="connsiteY4" fmla="*/ 0 h 5151451"/>
              <a:gd name="connsiteX0" fmla="*/ 14238 w 7900837"/>
              <a:gd name="connsiteY0" fmla="*/ 0 h 5151451"/>
              <a:gd name="connsiteX1" fmla="*/ 5793742 w 7900837"/>
              <a:gd name="connsiteY1" fmla="*/ 0 h 5151451"/>
              <a:gd name="connsiteX2" fmla="*/ 7900837 w 7900837"/>
              <a:gd name="connsiteY2" fmla="*/ 5151451 h 5151451"/>
              <a:gd name="connsiteX3" fmla="*/ 0 w 7900837"/>
              <a:gd name="connsiteY3" fmla="*/ 5151367 h 5151451"/>
              <a:gd name="connsiteX4" fmla="*/ 14238 w 7900837"/>
              <a:gd name="connsiteY4" fmla="*/ 0 h 5151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0837" h="5151451">
                <a:moveTo>
                  <a:pt x="14238" y="0"/>
                </a:moveTo>
                <a:lnTo>
                  <a:pt x="5793742" y="0"/>
                </a:lnTo>
                <a:lnTo>
                  <a:pt x="7900837" y="5151451"/>
                </a:lnTo>
                <a:lnTo>
                  <a:pt x="0" y="5151367"/>
                </a:lnTo>
                <a:lnTo>
                  <a:pt x="14238" y="0"/>
                </a:lnTo>
                <a:close/>
              </a:path>
            </a:pathLst>
          </a:custGeom>
          <a:solidFill>
            <a:schemeClr val="bg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119063" y="6324600"/>
            <a:ext cx="1871662" cy="534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9" t="18617" r="4163" b="16476"/>
          <a:stretch>
            <a:fillRect/>
          </a:stretch>
        </p:blipFill>
        <p:spPr bwMode="auto">
          <a:xfrm>
            <a:off x="152400" y="6467475"/>
            <a:ext cx="1803400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7BE063-69D9-4DE9-A028-46E00C9DA6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6237288"/>
            <a:ext cx="7271657" cy="873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4918756" y="6237288"/>
            <a:ext cx="7271657" cy="87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225326"/>
            <a:ext cx="12195175" cy="0"/>
          </a:xfrm>
          <a:prstGeom prst="line">
            <a:avLst/>
          </a:prstGeom>
          <a:ln w="9525">
            <a:solidFill>
              <a:srgbClr val="EB8B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4984"/>
            <a:ext cx="10971213" cy="82844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748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19063" y="6324600"/>
            <a:ext cx="1871662" cy="534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9" t="18617" r="4163" b="16476"/>
          <a:stretch>
            <a:fillRect/>
          </a:stretch>
        </p:blipFill>
        <p:spPr bwMode="auto">
          <a:xfrm>
            <a:off x="152400" y="6467475"/>
            <a:ext cx="1803400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>
              <a:defRPr/>
            </a:pPr>
            <a:fld id="{637BE063-69D9-4DE9-A028-46E00C9DA6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6237288"/>
            <a:ext cx="7271657" cy="87312"/>
          </a:xfrm>
          <a:prstGeom prst="rect">
            <a:avLst/>
          </a:prstGeom>
          <a:solidFill>
            <a:srgbClr val="EE8A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4918756" y="6237288"/>
            <a:ext cx="7271657" cy="87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225326"/>
            <a:ext cx="12195175" cy="0"/>
          </a:xfrm>
          <a:prstGeom prst="line">
            <a:avLst/>
          </a:prstGeom>
          <a:ln w="9525">
            <a:solidFill>
              <a:srgbClr val="EB8B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4984"/>
            <a:ext cx="10971213" cy="828448"/>
          </a:xfrm>
        </p:spPr>
        <p:txBody>
          <a:bodyPr lIns="0" tIns="0" rIns="0" bIns="0"/>
          <a:lstStyle>
            <a:lvl1pPr algn="l">
              <a:defRPr sz="2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685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59" y="4407921"/>
            <a:ext cx="10361851" cy="1362390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59" y="2907387"/>
            <a:ext cx="10361851" cy="1500534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4251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50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275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0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25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550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097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400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E5A3D-004E-46F5-B876-69FF6AA70F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10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695" y="1600571"/>
            <a:ext cx="7210545" cy="452859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6413" y="1600571"/>
            <a:ext cx="7212661" cy="452859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60FA92-1F44-4A68-9F37-0B87C2EEB6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6901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1" y="274701"/>
            <a:ext cx="10971372" cy="114326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1" y="1535469"/>
            <a:ext cx="5386216" cy="639910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251" indent="0">
              <a:buNone/>
              <a:defRPr sz="2400" b="1"/>
            </a:lvl2pPr>
            <a:lvl3pPr marL="1088502" indent="0">
              <a:buNone/>
              <a:defRPr sz="2100" b="1"/>
            </a:lvl3pPr>
            <a:lvl4pPr marL="1632753" indent="0">
              <a:buNone/>
              <a:defRPr sz="1900" b="1"/>
            </a:lvl4pPr>
            <a:lvl5pPr marL="2177004" indent="0">
              <a:buNone/>
              <a:defRPr sz="1900" b="1"/>
            </a:lvl5pPr>
            <a:lvl6pPr marL="2721254" indent="0">
              <a:buNone/>
              <a:defRPr sz="1900" b="1"/>
            </a:lvl6pPr>
            <a:lvl7pPr marL="3265505" indent="0">
              <a:buNone/>
              <a:defRPr sz="1900" b="1"/>
            </a:lvl7pPr>
            <a:lvl8pPr marL="3809756" indent="0">
              <a:buNone/>
              <a:defRPr sz="1900" b="1"/>
            </a:lvl8pPr>
            <a:lvl9pPr marL="4354007" indent="0">
              <a:buNone/>
              <a:defRPr sz="19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1" y="2175379"/>
            <a:ext cx="5386216" cy="395220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561" y="1535469"/>
            <a:ext cx="5388332" cy="639910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251" indent="0">
              <a:buNone/>
              <a:defRPr sz="2400" b="1"/>
            </a:lvl2pPr>
            <a:lvl3pPr marL="1088502" indent="0">
              <a:buNone/>
              <a:defRPr sz="2100" b="1"/>
            </a:lvl3pPr>
            <a:lvl4pPr marL="1632753" indent="0">
              <a:buNone/>
              <a:defRPr sz="1900" b="1"/>
            </a:lvl4pPr>
            <a:lvl5pPr marL="2177004" indent="0">
              <a:buNone/>
              <a:defRPr sz="1900" b="1"/>
            </a:lvl5pPr>
            <a:lvl6pPr marL="2721254" indent="0">
              <a:buNone/>
              <a:defRPr sz="1900" b="1"/>
            </a:lvl6pPr>
            <a:lvl7pPr marL="3265505" indent="0">
              <a:buNone/>
              <a:defRPr sz="1900" b="1"/>
            </a:lvl7pPr>
            <a:lvl8pPr marL="3809756" indent="0">
              <a:buNone/>
              <a:defRPr sz="1900" b="1"/>
            </a:lvl8pPr>
            <a:lvl9pPr marL="4354007" indent="0">
              <a:buNone/>
              <a:defRPr sz="19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561" y="2175379"/>
            <a:ext cx="5388332" cy="395220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C86B0B-B709-4A33-8F47-2776A31A0C1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174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21A11-057E-4D76-9F95-04A7ECC635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897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E9D0E8-2703-4EF9-BF2D-E1296D8B80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567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1" y="273113"/>
            <a:ext cx="4010562" cy="1162319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113" y="273114"/>
            <a:ext cx="6814779" cy="5854468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21" y="1435433"/>
            <a:ext cx="4010562" cy="4692149"/>
          </a:xfrm>
        </p:spPr>
        <p:txBody>
          <a:bodyPr/>
          <a:lstStyle>
            <a:lvl1pPr marL="0" indent="0">
              <a:buNone/>
              <a:defRPr sz="1700"/>
            </a:lvl1pPr>
            <a:lvl2pPr marL="544251" indent="0">
              <a:buNone/>
              <a:defRPr sz="1400"/>
            </a:lvl2pPr>
            <a:lvl3pPr marL="1088502" indent="0">
              <a:buNone/>
              <a:defRPr sz="1200"/>
            </a:lvl3pPr>
            <a:lvl4pPr marL="1632753" indent="0">
              <a:buNone/>
              <a:defRPr sz="1100"/>
            </a:lvl4pPr>
            <a:lvl5pPr marL="2177004" indent="0">
              <a:buNone/>
              <a:defRPr sz="1100"/>
            </a:lvl5pPr>
            <a:lvl6pPr marL="2721254" indent="0">
              <a:buNone/>
              <a:defRPr sz="1100"/>
            </a:lvl6pPr>
            <a:lvl7pPr marL="3265505" indent="0">
              <a:buNone/>
              <a:defRPr sz="1100"/>
            </a:lvl7pPr>
            <a:lvl8pPr marL="3809756" indent="0">
              <a:buNone/>
              <a:defRPr sz="1100"/>
            </a:lvl8pPr>
            <a:lvl9pPr marL="4354007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41106-1CAF-4F95-8981-21B3FF84DC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692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2975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200" b="0" i="0" baseline="0" dirty="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121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850" tIns="54425" rIns="108850" bIns="544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1213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850" tIns="54425" rIns="108850" bIns="544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7938"/>
            <a:ext cx="2844800" cy="365125"/>
          </a:xfrm>
          <a:prstGeom prst="rect">
            <a:avLst/>
          </a:prstGeom>
        </p:spPr>
        <p:txBody>
          <a:bodyPr vert="horz" lIns="108850" tIns="54425" rIns="108850" bIns="54425" rtlCol="0" anchor="ctr"/>
          <a:lstStyle>
            <a:lvl1pPr algn="l" defTabSz="1088502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7938"/>
            <a:ext cx="3859213" cy="365125"/>
          </a:xfrm>
          <a:prstGeom prst="rect">
            <a:avLst/>
          </a:prstGeom>
        </p:spPr>
        <p:txBody>
          <a:bodyPr vert="horz" lIns="108850" tIns="54425" rIns="108850" bIns="54425" rtlCol="0" anchor="ctr"/>
          <a:lstStyle>
            <a:lvl1pPr algn="ctr" defTabSz="1088502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013" y="6357938"/>
            <a:ext cx="2844800" cy="365125"/>
          </a:xfrm>
          <a:prstGeom prst="rect">
            <a:avLst/>
          </a:prstGeom>
        </p:spPr>
        <p:txBody>
          <a:bodyPr vert="horz" lIns="108850" tIns="54425" rIns="108850" bIns="54425" rtlCol="0" anchor="ctr"/>
          <a:lstStyle>
            <a:lvl1pPr algn="r" defTabSz="1088502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971DAC6-E095-4474-96EC-03BE3AA64B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087438" rtl="0" eaLnBrk="0" fontAlgn="base" hangingPunct="0">
        <a:spcBef>
          <a:spcPct val="0"/>
        </a:spcBef>
        <a:spcAft>
          <a:spcPct val="0"/>
        </a:spcAft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08743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Arial" charset="0"/>
        </a:defRPr>
      </a:lvl2pPr>
      <a:lvl3pPr algn="ctr" defTabSz="108743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Arial" charset="0"/>
        </a:defRPr>
      </a:lvl3pPr>
      <a:lvl4pPr algn="ctr" defTabSz="108743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Arial" charset="0"/>
        </a:defRPr>
      </a:lvl4pPr>
      <a:lvl5pPr algn="ctr" defTabSz="108743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Arial" charset="0"/>
        </a:defRPr>
      </a:lvl5pPr>
      <a:lvl6pPr marL="457200" algn="ctr" defTabSz="1087438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</a:defRPr>
      </a:lvl6pPr>
      <a:lvl7pPr marL="914400" algn="ctr" defTabSz="1087438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</a:defRPr>
      </a:lvl7pPr>
      <a:lvl8pPr marL="1371600" algn="ctr" defTabSz="1087438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</a:defRPr>
      </a:lvl8pPr>
      <a:lvl9pPr marL="1828800" algn="ctr" defTabSz="1087438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</a:defRPr>
      </a:lvl9pPr>
    </p:titleStyle>
    <p:bodyStyle>
      <a:lvl1pPr marL="407988" indent="-407988" algn="l" defTabSz="108743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84238" indent="-339725" algn="l" defTabSz="108743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60488" indent="-271463" algn="l" defTabSz="108743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1903413" indent="-271463" algn="l" defTabSz="108743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7925" indent="-271463" algn="l" defTabSz="108743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3380" indent="-272125" algn="l" defTabSz="10885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631" indent="-272125" algn="l" defTabSz="10885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882" indent="-272125" algn="l" defTabSz="10885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132" indent="-272125" algn="l" defTabSz="10885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51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02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753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004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254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505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756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007" algn="l" defTabSz="10885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6479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 dirty="0">
              <a:latin typeface="Arial"/>
              <a:sym typeface="Arial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DESIGNING OF POWERPOINT PRESENTATIO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377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400" b="1" dirty="0">
              <a:latin typeface="Arial"/>
              <a:sym typeface="Arial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7BE063-69D9-4DE9-A028-46E00C9DA6B3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 CREATE </a:t>
            </a:r>
            <a:r>
              <a:rPr lang="de-DE" dirty="0" smtClean="0"/>
              <a:t>YOUR PROFESSIONAL POWERPOINT PRESENTATION</a:t>
            </a:r>
            <a:endParaRPr lang="de-DE" dirty="0"/>
          </a:p>
        </p:txBody>
      </p:sp>
      <p:grpSp>
        <p:nvGrpSpPr>
          <p:cNvPr id="2061" name="Group 2060"/>
          <p:cNvGrpSpPr/>
          <p:nvPr/>
        </p:nvGrpSpPr>
        <p:grpSpPr>
          <a:xfrm>
            <a:off x="1720411" y="3604268"/>
            <a:ext cx="1488094" cy="2099106"/>
            <a:chOff x="969610" y="4275328"/>
            <a:chExt cx="1170086" cy="1650525"/>
          </a:xfrm>
        </p:grpSpPr>
        <p:grpSp>
          <p:nvGrpSpPr>
            <p:cNvPr id="2055" name="Group 2054"/>
            <p:cNvGrpSpPr/>
            <p:nvPr/>
          </p:nvGrpSpPr>
          <p:grpSpPr>
            <a:xfrm>
              <a:off x="969610" y="4275328"/>
              <a:ext cx="1170086" cy="1650525"/>
              <a:chOff x="969610" y="4376928"/>
              <a:chExt cx="1170086" cy="165052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8" name="Arc 7"/>
              <p:cNvSpPr/>
              <p:nvPr/>
            </p:nvSpPr>
            <p:spPr>
              <a:xfrm>
                <a:off x="969610" y="4857367"/>
                <a:ext cx="1170086" cy="1170086"/>
              </a:xfrm>
              <a:prstGeom prst="arc">
                <a:avLst>
                  <a:gd name="adj1" fmla="val 16200000"/>
                  <a:gd name="adj2" fmla="val 10728507"/>
                </a:avLst>
              </a:prstGeom>
              <a:ln w="28575">
                <a:solidFill>
                  <a:srgbClr val="868686"/>
                </a:solidFill>
                <a:headEnd type="none" w="lg" len="lg"/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048" name="Straight Connector 2047"/>
              <p:cNvCxnSpPr/>
              <p:nvPr/>
            </p:nvCxnSpPr>
            <p:spPr>
              <a:xfrm>
                <a:off x="1560749" y="4376928"/>
                <a:ext cx="0" cy="480439"/>
              </a:xfrm>
              <a:prstGeom prst="line">
                <a:avLst/>
              </a:prstGeom>
              <a:ln w="28575">
                <a:solidFill>
                  <a:srgbClr val="868686"/>
                </a:solidFill>
                <a:head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54" name="Donut 2053"/>
            <p:cNvSpPr/>
            <p:nvPr/>
          </p:nvSpPr>
          <p:spPr>
            <a:xfrm>
              <a:off x="1097453" y="4903930"/>
              <a:ext cx="914400" cy="914400"/>
            </a:xfrm>
            <a:prstGeom prst="donut">
              <a:avLst>
                <a:gd name="adj" fmla="val 12404"/>
              </a:avLst>
            </a:prstGeom>
            <a:solidFill>
              <a:srgbClr val="EE761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60" name="Group 2059"/>
          <p:cNvGrpSpPr/>
          <p:nvPr/>
        </p:nvGrpSpPr>
        <p:grpSpPr>
          <a:xfrm>
            <a:off x="1567503" y="1492758"/>
            <a:ext cx="9055406" cy="1816262"/>
            <a:chOff x="1528667" y="2207581"/>
            <a:chExt cx="9055406" cy="1816262"/>
          </a:xfrm>
        </p:grpSpPr>
        <p:grpSp>
          <p:nvGrpSpPr>
            <p:cNvPr id="2059" name="Group 2058"/>
            <p:cNvGrpSpPr/>
            <p:nvPr/>
          </p:nvGrpSpPr>
          <p:grpSpPr>
            <a:xfrm>
              <a:off x="1528667" y="2207581"/>
              <a:ext cx="1816262" cy="1816262"/>
              <a:chOff x="652618" y="2207581"/>
              <a:chExt cx="1816262" cy="1816262"/>
            </a:xfrm>
          </p:grpSpPr>
          <p:grpSp>
            <p:nvGrpSpPr>
              <p:cNvPr id="7" name="Group 6"/>
              <p:cNvGrpSpPr/>
              <p:nvPr/>
            </p:nvGrpSpPr>
            <p:grpSpPr>
              <a:xfrm>
                <a:off x="652618" y="2207581"/>
                <a:ext cx="1816262" cy="1816262"/>
                <a:chOff x="652618" y="2207581"/>
                <a:chExt cx="1816262" cy="181626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6" name="Oval 5"/>
                <p:cNvSpPr/>
                <p:nvPr/>
              </p:nvSpPr>
              <p:spPr>
                <a:xfrm>
                  <a:off x="652618" y="2207581"/>
                  <a:ext cx="1816262" cy="1816262"/>
                </a:xfrm>
                <a:prstGeom prst="ellipse">
                  <a:avLst/>
                </a:prstGeom>
                <a:solidFill>
                  <a:srgbClr val="EE7612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" name="Oval 13"/>
                <p:cNvSpPr/>
                <p:nvPr/>
              </p:nvSpPr>
              <p:spPr>
                <a:xfrm>
                  <a:off x="894894" y="2207581"/>
                  <a:ext cx="1331710" cy="5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1710" h="589442">
                      <a:moveTo>
                        <a:pt x="665855" y="0"/>
                      </a:moveTo>
                      <a:cubicBezTo>
                        <a:pt x="930010" y="0"/>
                        <a:pt x="1167824" y="112784"/>
                        <a:pt x="1331710" y="294721"/>
                      </a:cubicBezTo>
                      <a:cubicBezTo>
                        <a:pt x="1167824" y="476658"/>
                        <a:pt x="930010" y="589442"/>
                        <a:pt x="665855" y="589442"/>
                      </a:cubicBezTo>
                      <a:cubicBezTo>
                        <a:pt x="401700" y="589442"/>
                        <a:pt x="163886" y="476658"/>
                        <a:pt x="0" y="294721"/>
                      </a:cubicBezTo>
                      <a:cubicBezTo>
                        <a:pt x="163886" y="112784"/>
                        <a:pt x="401700" y="0"/>
                        <a:pt x="665855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6" name="Oval 15"/>
                <p:cNvSpPr/>
                <p:nvPr/>
              </p:nvSpPr>
              <p:spPr>
                <a:xfrm>
                  <a:off x="1074030" y="3739201"/>
                  <a:ext cx="973438" cy="2846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438" h="284642">
                      <a:moveTo>
                        <a:pt x="486719" y="0"/>
                      </a:moveTo>
                      <a:cubicBezTo>
                        <a:pt x="665987" y="0"/>
                        <a:pt x="833123" y="51944"/>
                        <a:pt x="973438" y="142321"/>
                      </a:cubicBezTo>
                      <a:cubicBezTo>
                        <a:pt x="833123" y="232699"/>
                        <a:pt x="665987" y="284642"/>
                        <a:pt x="486719" y="284642"/>
                      </a:cubicBezTo>
                      <a:cubicBezTo>
                        <a:pt x="307451" y="284642"/>
                        <a:pt x="140315" y="232699"/>
                        <a:pt x="0" y="142321"/>
                      </a:cubicBezTo>
                      <a:cubicBezTo>
                        <a:pt x="140315" y="51944"/>
                        <a:pt x="307451" y="0"/>
                        <a:pt x="486719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2" name="TextBox 51"/>
              <p:cNvSpPr txBox="1"/>
              <p:nvPr/>
            </p:nvSpPr>
            <p:spPr>
              <a:xfrm>
                <a:off x="1300958" y="2251149"/>
                <a:ext cx="527709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altLang="ko-KR" sz="24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01</a:t>
                </a:r>
                <a:endParaRPr lang="ko-KR" alt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805526" y="2972359"/>
                <a:ext cx="148809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/>
                <a:r>
                  <a:rPr lang="en-US" altLang="ko-KR" sz="1600" b="1" cap="small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Create a presentation</a:t>
                </a:r>
                <a:endParaRPr lang="ko-KR" altLang="en-US" sz="1600" b="1" cap="small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</p:grpSp>
        <p:grpSp>
          <p:nvGrpSpPr>
            <p:cNvPr id="2058" name="Group 2057"/>
            <p:cNvGrpSpPr/>
            <p:nvPr/>
          </p:nvGrpSpPr>
          <p:grpSpPr>
            <a:xfrm>
              <a:off x="3941715" y="2207581"/>
              <a:ext cx="1816262" cy="1816262"/>
              <a:chOff x="2827407" y="2207581"/>
              <a:chExt cx="1816262" cy="1816262"/>
            </a:xfrm>
          </p:grpSpPr>
          <p:grpSp>
            <p:nvGrpSpPr>
              <p:cNvPr id="31" name="Group 30"/>
              <p:cNvGrpSpPr/>
              <p:nvPr/>
            </p:nvGrpSpPr>
            <p:grpSpPr>
              <a:xfrm>
                <a:off x="2827407" y="2207581"/>
                <a:ext cx="1816262" cy="1816262"/>
                <a:chOff x="652618" y="2207581"/>
                <a:chExt cx="1816262" cy="181626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2" name="Oval 31"/>
                <p:cNvSpPr/>
                <p:nvPr/>
              </p:nvSpPr>
              <p:spPr>
                <a:xfrm>
                  <a:off x="652618" y="2207581"/>
                  <a:ext cx="1816262" cy="1816262"/>
                </a:xfrm>
                <a:prstGeom prst="ellipse">
                  <a:avLst/>
                </a:prstGeom>
                <a:solidFill>
                  <a:srgbClr val="EE7612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Oval 13"/>
                <p:cNvSpPr/>
                <p:nvPr/>
              </p:nvSpPr>
              <p:spPr>
                <a:xfrm>
                  <a:off x="894894" y="2207581"/>
                  <a:ext cx="1331710" cy="5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1710" h="589442">
                      <a:moveTo>
                        <a:pt x="665855" y="0"/>
                      </a:moveTo>
                      <a:cubicBezTo>
                        <a:pt x="930010" y="0"/>
                        <a:pt x="1167824" y="112784"/>
                        <a:pt x="1331710" y="294721"/>
                      </a:cubicBezTo>
                      <a:cubicBezTo>
                        <a:pt x="1167824" y="476658"/>
                        <a:pt x="930010" y="589442"/>
                        <a:pt x="665855" y="589442"/>
                      </a:cubicBezTo>
                      <a:cubicBezTo>
                        <a:pt x="401700" y="589442"/>
                        <a:pt x="163886" y="476658"/>
                        <a:pt x="0" y="294721"/>
                      </a:cubicBezTo>
                      <a:cubicBezTo>
                        <a:pt x="163886" y="112784"/>
                        <a:pt x="401700" y="0"/>
                        <a:pt x="665855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" name="Oval 15"/>
                <p:cNvSpPr/>
                <p:nvPr/>
              </p:nvSpPr>
              <p:spPr>
                <a:xfrm>
                  <a:off x="1074030" y="3739201"/>
                  <a:ext cx="973438" cy="2846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438" h="284642">
                      <a:moveTo>
                        <a:pt x="486719" y="0"/>
                      </a:moveTo>
                      <a:cubicBezTo>
                        <a:pt x="665987" y="0"/>
                        <a:pt x="833123" y="51944"/>
                        <a:pt x="973438" y="142321"/>
                      </a:cubicBezTo>
                      <a:cubicBezTo>
                        <a:pt x="833123" y="232699"/>
                        <a:pt x="665987" y="284642"/>
                        <a:pt x="486719" y="284642"/>
                      </a:cubicBezTo>
                      <a:cubicBezTo>
                        <a:pt x="307451" y="284642"/>
                        <a:pt x="140315" y="232699"/>
                        <a:pt x="0" y="142321"/>
                      </a:cubicBezTo>
                      <a:cubicBezTo>
                        <a:pt x="140315" y="51944"/>
                        <a:pt x="307451" y="0"/>
                        <a:pt x="486719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3" name="TextBox 52"/>
              <p:cNvSpPr txBox="1"/>
              <p:nvPr/>
            </p:nvSpPr>
            <p:spPr>
              <a:xfrm>
                <a:off x="3471683" y="2251149"/>
                <a:ext cx="527709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altLang="ko-KR" sz="2400" b="1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02</a:t>
                </a:r>
                <a:endParaRPr lang="ko-KR" alt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2991491" y="2972359"/>
                <a:ext cx="148809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/>
                <a:r>
                  <a:rPr lang="en-US" altLang="ko-KR" sz="1600" b="1" cap="small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edit presentation</a:t>
                </a:r>
                <a:endParaRPr lang="ko-KR" altLang="en-US" sz="1600" b="1" cap="small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</p:grpSp>
        <p:grpSp>
          <p:nvGrpSpPr>
            <p:cNvPr id="2057" name="Group 2056"/>
            <p:cNvGrpSpPr/>
            <p:nvPr/>
          </p:nvGrpSpPr>
          <p:grpSpPr>
            <a:xfrm>
              <a:off x="6354763" y="2207581"/>
              <a:ext cx="1816262" cy="1816262"/>
              <a:chOff x="4965126" y="2207581"/>
              <a:chExt cx="1816262" cy="1816262"/>
            </a:xfrm>
          </p:grpSpPr>
          <p:grpSp>
            <p:nvGrpSpPr>
              <p:cNvPr id="35" name="Group 34"/>
              <p:cNvGrpSpPr/>
              <p:nvPr/>
            </p:nvGrpSpPr>
            <p:grpSpPr>
              <a:xfrm>
                <a:off x="4965126" y="2207581"/>
                <a:ext cx="1816262" cy="1816262"/>
                <a:chOff x="652618" y="2207581"/>
                <a:chExt cx="1816262" cy="181626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6" name="Oval 35"/>
                <p:cNvSpPr/>
                <p:nvPr/>
              </p:nvSpPr>
              <p:spPr>
                <a:xfrm>
                  <a:off x="652618" y="2207581"/>
                  <a:ext cx="1816262" cy="1816262"/>
                </a:xfrm>
                <a:prstGeom prst="ellipse">
                  <a:avLst/>
                </a:prstGeom>
                <a:solidFill>
                  <a:srgbClr val="EE7612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" name="Oval 13"/>
                <p:cNvSpPr/>
                <p:nvPr/>
              </p:nvSpPr>
              <p:spPr>
                <a:xfrm>
                  <a:off x="894894" y="2207581"/>
                  <a:ext cx="1331710" cy="5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1710" h="589442">
                      <a:moveTo>
                        <a:pt x="665855" y="0"/>
                      </a:moveTo>
                      <a:cubicBezTo>
                        <a:pt x="930010" y="0"/>
                        <a:pt x="1167824" y="112784"/>
                        <a:pt x="1331710" y="294721"/>
                      </a:cubicBezTo>
                      <a:cubicBezTo>
                        <a:pt x="1167824" y="476658"/>
                        <a:pt x="930010" y="589442"/>
                        <a:pt x="665855" y="589442"/>
                      </a:cubicBezTo>
                      <a:cubicBezTo>
                        <a:pt x="401700" y="589442"/>
                        <a:pt x="163886" y="476658"/>
                        <a:pt x="0" y="294721"/>
                      </a:cubicBezTo>
                      <a:cubicBezTo>
                        <a:pt x="163886" y="112784"/>
                        <a:pt x="401700" y="0"/>
                        <a:pt x="665855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Oval 15"/>
                <p:cNvSpPr/>
                <p:nvPr/>
              </p:nvSpPr>
              <p:spPr>
                <a:xfrm>
                  <a:off x="1074030" y="3739201"/>
                  <a:ext cx="973438" cy="2846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438" h="284642">
                      <a:moveTo>
                        <a:pt x="486719" y="0"/>
                      </a:moveTo>
                      <a:cubicBezTo>
                        <a:pt x="665987" y="0"/>
                        <a:pt x="833123" y="51944"/>
                        <a:pt x="973438" y="142321"/>
                      </a:cubicBezTo>
                      <a:cubicBezTo>
                        <a:pt x="833123" y="232699"/>
                        <a:pt x="665987" y="284642"/>
                        <a:pt x="486719" y="284642"/>
                      </a:cubicBezTo>
                      <a:cubicBezTo>
                        <a:pt x="307451" y="284642"/>
                        <a:pt x="140315" y="232699"/>
                        <a:pt x="0" y="142321"/>
                      </a:cubicBezTo>
                      <a:cubicBezTo>
                        <a:pt x="140315" y="51944"/>
                        <a:pt x="307451" y="0"/>
                        <a:pt x="486719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4" name="TextBox 53"/>
              <p:cNvSpPr txBox="1"/>
              <p:nvPr/>
            </p:nvSpPr>
            <p:spPr>
              <a:xfrm>
                <a:off x="5609402" y="2251149"/>
                <a:ext cx="527709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altLang="ko-KR" sz="24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03</a:t>
                </a:r>
                <a:endParaRPr lang="ko-KR" alt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5129209" y="2972361"/>
                <a:ext cx="148809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/>
                <a:r>
                  <a:rPr lang="en-US" altLang="ko-KR" sz="1600" b="1" cap="small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Animate the presentation</a:t>
                </a:r>
                <a:endParaRPr lang="ko-KR" altLang="en-US" sz="1600" b="1" cap="small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</p:grpSp>
        <p:grpSp>
          <p:nvGrpSpPr>
            <p:cNvPr id="2056" name="Group 2055"/>
            <p:cNvGrpSpPr/>
            <p:nvPr/>
          </p:nvGrpSpPr>
          <p:grpSpPr>
            <a:xfrm>
              <a:off x="8767811" y="2207581"/>
              <a:ext cx="1816262" cy="1816262"/>
              <a:chOff x="7102845" y="2207581"/>
              <a:chExt cx="1816262" cy="1816262"/>
            </a:xfrm>
          </p:grpSpPr>
          <p:grpSp>
            <p:nvGrpSpPr>
              <p:cNvPr id="39" name="Group 38"/>
              <p:cNvGrpSpPr/>
              <p:nvPr/>
            </p:nvGrpSpPr>
            <p:grpSpPr>
              <a:xfrm>
                <a:off x="7102845" y="2207581"/>
                <a:ext cx="1816262" cy="1816262"/>
                <a:chOff x="652618" y="2207581"/>
                <a:chExt cx="1816262" cy="181626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0" name="Oval 39"/>
                <p:cNvSpPr/>
                <p:nvPr/>
              </p:nvSpPr>
              <p:spPr>
                <a:xfrm>
                  <a:off x="652618" y="2207581"/>
                  <a:ext cx="1816262" cy="1816262"/>
                </a:xfrm>
                <a:prstGeom prst="ellipse">
                  <a:avLst/>
                </a:prstGeom>
                <a:solidFill>
                  <a:srgbClr val="EE7612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Oval 13"/>
                <p:cNvSpPr/>
                <p:nvPr/>
              </p:nvSpPr>
              <p:spPr>
                <a:xfrm>
                  <a:off x="894894" y="2207581"/>
                  <a:ext cx="1331710" cy="5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1710" h="589442">
                      <a:moveTo>
                        <a:pt x="665855" y="0"/>
                      </a:moveTo>
                      <a:cubicBezTo>
                        <a:pt x="930010" y="0"/>
                        <a:pt x="1167824" y="112784"/>
                        <a:pt x="1331710" y="294721"/>
                      </a:cubicBezTo>
                      <a:cubicBezTo>
                        <a:pt x="1167824" y="476658"/>
                        <a:pt x="930010" y="589442"/>
                        <a:pt x="665855" y="589442"/>
                      </a:cubicBezTo>
                      <a:cubicBezTo>
                        <a:pt x="401700" y="589442"/>
                        <a:pt x="163886" y="476658"/>
                        <a:pt x="0" y="294721"/>
                      </a:cubicBezTo>
                      <a:cubicBezTo>
                        <a:pt x="163886" y="112784"/>
                        <a:pt x="401700" y="0"/>
                        <a:pt x="665855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Oval 15"/>
                <p:cNvSpPr/>
                <p:nvPr/>
              </p:nvSpPr>
              <p:spPr>
                <a:xfrm>
                  <a:off x="1074030" y="3739201"/>
                  <a:ext cx="973438" cy="2846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438" h="284642">
                      <a:moveTo>
                        <a:pt x="486719" y="0"/>
                      </a:moveTo>
                      <a:cubicBezTo>
                        <a:pt x="665987" y="0"/>
                        <a:pt x="833123" y="51944"/>
                        <a:pt x="973438" y="142321"/>
                      </a:cubicBezTo>
                      <a:cubicBezTo>
                        <a:pt x="833123" y="232699"/>
                        <a:pt x="665987" y="284642"/>
                        <a:pt x="486719" y="284642"/>
                      </a:cubicBezTo>
                      <a:cubicBezTo>
                        <a:pt x="307451" y="284642"/>
                        <a:pt x="140315" y="232699"/>
                        <a:pt x="0" y="142321"/>
                      </a:cubicBezTo>
                      <a:cubicBezTo>
                        <a:pt x="140315" y="51944"/>
                        <a:pt x="307451" y="0"/>
                        <a:pt x="486719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5" name="TextBox 54"/>
              <p:cNvSpPr txBox="1"/>
              <p:nvPr/>
            </p:nvSpPr>
            <p:spPr>
              <a:xfrm>
                <a:off x="7747121" y="2251149"/>
                <a:ext cx="527709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altLang="ko-KR" sz="2400" b="1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04</a:t>
                </a:r>
                <a:endParaRPr lang="ko-KR" alt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266929" y="2972361"/>
                <a:ext cx="148809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/>
                <a:r>
                  <a:rPr lang="en-US" altLang="ko-KR" sz="1600" b="1" cap="small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cs typeface="Arial" pitchFamily="34" charset="0"/>
                  </a:rPr>
                  <a:t>Design template</a:t>
                </a:r>
                <a:endParaRPr lang="ko-KR" altLang="en-US" sz="1600" b="1" cap="small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pitchFamily="34" charset="0"/>
                </a:endParaRPr>
              </a:p>
            </p:txBody>
          </p:sp>
        </p:grpSp>
      </p:grpSp>
      <p:grpSp>
        <p:nvGrpSpPr>
          <p:cNvPr id="69" name="Group 68"/>
          <p:cNvGrpSpPr/>
          <p:nvPr/>
        </p:nvGrpSpPr>
        <p:grpSpPr>
          <a:xfrm>
            <a:off x="4144634" y="3604268"/>
            <a:ext cx="1488094" cy="2099106"/>
            <a:chOff x="969610" y="4275328"/>
            <a:chExt cx="1170086" cy="1650525"/>
          </a:xfrm>
        </p:grpSpPr>
        <p:grpSp>
          <p:nvGrpSpPr>
            <p:cNvPr id="70" name="Group 69"/>
            <p:cNvGrpSpPr/>
            <p:nvPr/>
          </p:nvGrpSpPr>
          <p:grpSpPr>
            <a:xfrm>
              <a:off x="969610" y="4275328"/>
              <a:ext cx="1170086" cy="1650525"/>
              <a:chOff x="969610" y="4376928"/>
              <a:chExt cx="1170086" cy="165052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72" name="Arc 71"/>
              <p:cNvSpPr/>
              <p:nvPr/>
            </p:nvSpPr>
            <p:spPr>
              <a:xfrm>
                <a:off x="969610" y="4857367"/>
                <a:ext cx="1170086" cy="1170086"/>
              </a:xfrm>
              <a:prstGeom prst="arc">
                <a:avLst>
                  <a:gd name="adj1" fmla="val 16200000"/>
                  <a:gd name="adj2" fmla="val 10728507"/>
                </a:avLst>
              </a:prstGeom>
              <a:ln w="28575">
                <a:solidFill>
                  <a:srgbClr val="868686"/>
                </a:solidFill>
                <a:headEnd type="none" w="lg" len="lg"/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3" name="Straight Connector 72"/>
              <p:cNvCxnSpPr/>
              <p:nvPr/>
            </p:nvCxnSpPr>
            <p:spPr>
              <a:xfrm>
                <a:off x="1560749" y="4376928"/>
                <a:ext cx="0" cy="480439"/>
              </a:xfrm>
              <a:prstGeom prst="line">
                <a:avLst/>
              </a:prstGeom>
              <a:ln w="28575">
                <a:solidFill>
                  <a:srgbClr val="868686"/>
                </a:solidFill>
                <a:head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Donut 70"/>
            <p:cNvSpPr/>
            <p:nvPr/>
          </p:nvSpPr>
          <p:spPr>
            <a:xfrm>
              <a:off x="1097453" y="4903930"/>
              <a:ext cx="914400" cy="914400"/>
            </a:xfrm>
            <a:prstGeom prst="donut">
              <a:avLst>
                <a:gd name="adj" fmla="val 12404"/>
              </a:avLst>
            </a:prstGeom>
            <a:solidFill>
              <a:srgbClr val="EE761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6557683" y="3604268"/>
            <a:ext cx="1488094" cy="2099106"/>
            <a:chOff x="969610" y="4275328"/>
            <a:chExt cx="1170086" cy="1650525"/>
          </a:xfrm>
        </p:grpSpPr>
        <p:grpSp>
          <p:nvGrpSpPr>
            <p:cNvPr id="75" name="Group 74"/>
            <p:cNvGrpSpPr/>
            <p:nvPr/>
          </p:nvGrpSpPr>
          <p:grpSpPr>
            <a:xfrm>
              <a:off x="969610" y="4275328"/>
              <a:ext cx="1170086" cy="1650525"/>
              <a:chOff x="969610" y="4376928"/>
              <a:chExt cx="1170086" cy="165052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77" name="Arc 76"/>
              <p:cNvSpPr/>
              <p:nvPr/>
            </p:nvSpPr>
            <p:spPr>
              <a:xfrm>
                <a:off x="969610" y="4857367"/>
                <a:ext cx="1170086" cy="1170086"/>
              </a:xfrm>
              <a:prstGeom prst="arc">
                <a:avLst>
                  <a:gd name="adj1" fmla="val 16200000"/>
                  <a:gd name="adj2" fmla="val 10728507"/>
                </a:avLst>
              </a:prstGeom>
              <a:ln w="28575">
                <a:solidFill>
                  <a:srgbClr val="868686"/>
                </a:solidFill>
                <a:headEnd type="none" w="lg" len="lg"/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8" name="Straight Connector 77"/>
              <p:cNvCxnSpPr/>
              <p:nvPr/>
            </p:nvCxnSpPr>
            <p:spPr>
              <a:xfrm>
                <a:off x="1560749" y="4376928"/>
                <a:ext cx="0" cy="480439"/>
              </a:xfrm>
              <a:prstGeom prst="line">
                <a:avLst/>
              </a:prstGeom>
              <a:ln w="28575">
                <a:solidFill>
                  <a:srgbClr val="868686"/>
                </a:solidFill>
                <a:head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Donut 75"/>
            <p:cNvSpPr/>
            <p:nvPr/>
          </p:nvSpPr>
          <p:spPr>
            <a:xfrm>
              <a:off x="1097453" y="4903930"/>
              <a:ext cx="914400" cy="914400"/>
            </a:xfrm>
            <a:prstGeom prst="donut">
              <a:avLst>
                <a:gd name="adj" fmla="val 12404"/>
              </a:avLst>
            </a:prstGeom>
            <a:solidFill>
              <a:srgbClr val="EE761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8970731" y="3604268"/>
            <a:ext cx="1488094" cy="2099106"/>
            <a:chOff x="969610" y="4275328"/>
            <a:chExt cx="1170086" cy="1650525"/>
          </a:xfrm>
        </p:grpSpPr>
        <p:grpSp>
          <p:nvGrpSpPr>
            <p:cNvPr id="80" name="Group 79"/>
            <p:cNvGrpSpPr/>
            <p:nvPr/>
          </p:nvGrpSpPr>
          <p:grpSpPr>
            <a:xfrm>
              <a:off x="969610" y="4275328"/>
              <a:ext cx="1170086" cy="1650525"/>
              <a:chOff x="969610" y="4376928"/>
              <a:chExt cx="1170086" cy="165052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Arc 81"/>
              <p:cNvSpPr/>
              <p:nvPr/>
            </p:nvSpPr>
            <p:spPr>
              <a:xfrm>
                <a:off x="969610" y="4857367"/>
                <a:ext cx="1170086" cy="1170086"/>
              </a:xfrm>
              <a:prstGeom prst="arc">
                <a:avLst>
                  <a:gd name="adj1" fmla="val 16200000"/>
                  <a:gd name="adj2" fmla="val 10728507"/>
                </a:avLst>
              </a:prstGeom>
              <a:ln w="28575">
                <a:solidFill>
                  <a:srgbClr val="868686"/>
                </a:solidFill>
                <a:headEnd type="none" w="lg" len="lg"/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83" name="Straight Connector 82"/>
              <p:cNvCxnSpPr/>
              <p:nvPr/>
            </p:nvCxnSpPr>
            <p:spPr>
              <a:xfrm>
                <a:off x="1560749" y="4376928"/>
                <a:ext cx="0" cy="480439"/>
              </a:xfrm>
              <a:prstGeom prst="line">
                <a:avLst/>
              </a:prstGeom>
              <a:ln w="28575">
                <a:solidFill>
                  <a:srgbClr val="868686"/>
                </a:solidFill>
                <a:head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1" name="Donut 80"/>
            <p:cNvSpPr/>
            <p:nvPr/>
          </p:nvSpPr>
          <p:spPr>
            <a:xfrm>
              <a:off x="1097453" y="4903930"/>
              <a:ext cx="914400" cy="914400"/>
            </a:xfrm>
            <a:prstGeom prst="donut">
              <a:avLst>
                <a:gd name="adj" fmla="val 12404"/>
              </a:avLst>
            </a:prstGeom>
            <a:solidFill>
              <a:srgbClr val="EE761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2184493" y="4708087"/>
            <a:ext cx="559059" cy="554165"/>
            <a:chOff x="4329113" y="20637"/>
            <a:chExt cx="725488" cy="719138"/>
          </a:xfrm>
          <a:solidFill>
            <a:schemeClr val="tx1"/>
          </a:solidFill>
        </p:grpSpPr>
        <p:sp>
          <p:nvSpPr>
            <p:cNvPr id="86" name="Rectangle 159"/>
            <p:cNvSpPr>
              <a:spLocks noChangeArrowheads="1"/>
            </p:cNvSpPr>
            <p:nvPr/>
          </p:nvSpPr>
          <p:spPr bwMode="auto">
            <a:xfrm>
              <a:off x="4383088" y="90487"/>
              <a:ext cx="619125" cy="4333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7" name="Freeform 160"/>
            <p:cNvSpPr>
              <a:spLocks noEditPoints="1"/>
            </p:cNvSpPr>
            <p:nvPr/>
          </p:nvSpPr>
          <p:spPr bwMode="auto">
            <a:xfrm>
              <a:off x="4368801" y="76200"/>
              <a:ext cx="647700" cy="461963"/>
            </a:xfrm>
            <a:custGeom>
              <a:avLst/>
              <a:gdLst>
                <a:gd name="T0" fmla="*/ 0 w 408"/>
                <a:gd name="T1" fmla="*/ 291 h 291"/>
                <a:gd name="T2" fmla="*/ 0 w 408"/>
                <a:gd name="T3" fmla="*/ 0 h 291"/>
                <a:gd name="T4" fmla="*/ 408 w 408"/>
                <a:gd name="T5" fmla="*/ 0 h 291"/>
                <a:gd name="T6" fmla="*/ 408 w 408"/>
                <a:gd name="T7" fmla="*/ 282 h 291"/>
                <a:gd name="T8" fmla="*/ 408 w 408"/>
                <a:gd name="T9" fmla="*/ 291 h 291"/>
                <a:gd name="T10" fmla="*/ 0 w 408"/>
                <a:gd name="T11" fmla="*/ 291 h 291"/>
                <a:gd name="T12" fmla="*/ 0 w 408"/>
                <a:gd name="T13" fmla="*/ 291 h 291"/>
                <a:gd name="T14" fmla="*/ 399 w 408"/>
                <a:gd name="T15" fmla="*/ 282 h 291"/>
                <a:gd name="T16" fmla="*/ 399 w 408"/>
                <a:gd name="T17" fmla="*/ 273 h 291"/>
                <a:gd name="T18" fmla="*/ 399 w 408"/>
                <a:gd name="T19" fmla="*/ 282 h 291"/>
                <a:gd name="T20" fmla="*/ 399 w 408"/>
                <a:gd name="T21" fmla="*/ 282 h 291"/>
                <a:gd name="T22" fmla="*/ 18 w 408"/>
                <a:gd name="T23" fmla="*/ 273 h 291"/>
                <a:gd name="T24" fmla="*/ 389 w 408"/>
                <a:gd name="T25" fmla="*/ 273 h 291"/>
                <a:gd name="T26" fmla="*/ 389 w 408"/>
                <a:gd name="T27" fmla="*/ 18 h 291"/>
                <a:gd name="T28" fmla="*/ 18 w 408"/>
                <a:gd name="T29" fmla="*/ 18 h 291"/>
                <a:gd name="T30" fmla="*/ 18 w 408"/>
                <a:gd name="T31" fmla="*/ 273 h 291"/>
                <a:gd name="T32" fmla="*/ 18 w 408"/>
                <a:gd name="T33" fmla="*/ 27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8" h="291">
                  <a:moveTo>
                    <a:pt x="0" y="291"/>
                  </a:moveTo>
                  <a:lnTo>
                    <a:pt x="0" y="0"/>
                  </a:lnTo>
                  <a:lnTo>
                    <a:pt x="408" y="0"/>
                  </a:lnTo>
                  <a:lnTo>
                    <a:pt x="408" y="282"/>
                  </a:lnTo>
                  <a:lnTo>
                    <a:pt x="408" y="291"/>
                  </a:lnTo>
                  <a:lnTo>
                    <a:pt x="0" y="291"/>
                  </a:lnTo>
                  <a:lnTo>
                    <a:pt x="0" y="291"/>
                  </a:lnTo>
                  <a:close/>
                  <a:moveTo>
                    <a:pt x="399" y="282"/>
                  </a:moveTo>
                  <a:lnTo>
                    <a:pt x="399" y="273"/>
                  </a:lnTo>
                  <a:lnTo>
                    <a:pt x="399" y="282"/>
                  </a:lnTo>
                  <a:lnTo>
                    <a:pt x="399" y="282"/>
                  </a:lnTo>
                  <a:close/>
                  <a:moveTo>
                    <a:pt x="18" y="273"/>
                  </a:moveTo>
                  <a:lnTo>
                    <a:pt x="389" y="273"/>
                  </a:lnTo>
                  <a:lnTo>
                    <a:pt x="389" y="18"/>
                  </a:lnTo>
                  <a:lnTo>
                    <a:pt x="18" y="18"/>
                  </a:lnTo>
                  <a:lnTo>
                    <a:pt x="18" y="273"/>
                  </a:lnTo>
                  <a:lnTo>
                    <a:pt x="18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8" name="Rectangle 161"/>
            <p:cNvSpPr>
              <a:spLocks noChangeArrowheads="1"/>
            </p:cNvSpPr>
            <p:nvPr/>
          </p:nvSpPr>
          <p:spPr bwMode="auto">
            <a:xfrm>
              <a:off x="4329113" y="74612"/>
              <a:ext cx="7254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9" name="Rectangle 162"/>
            <p:cNvSpPr>
              <a:spLocks noChangeArrowheads="1"/>
            </p:cNvSpPr>
            <p:nvPr/>
          </p:nvSpPr>
          <p:spPr bwMode="auto">
            <a:xfrm>
              <a:off x="4597401" y="20637"/>
              <a:ext cx="1905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0" name="Rectangle 163"/>
            <p:cNvSpPr>
              <a:spLocks noChangeArrowheads="1"/>
            </p:cNvSpPr>
            <p:nvPr/>
          </p:nvSpPr>
          <p:spPr bwMode="auto">
            <a:xfrm>
              <a:off x="4329113" y="509587"/>
              <a:ext cx="7254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1" name="Freeform 164"/>
            <p:cNvSpPr>
              <a:spLocks/>
            </p:cNvSpPr>
            <p:nvPr/>
          </p:nvSpPr>
          <p:spPr bwMode="auto">
            <a:xfrm>
              <a:off x="4503738" y="514350"/>
              <a:ext cx="195263" cy="196850"/>
            </a:xfrm>
            <a:custGeom>
              <a:avLst/>
              <a:gdLst>
                <a:gd name="T0" fmla="*/ 0 w 123"/>
                <a:gd name="T1" fmla="*/ 111 h 124"/>
                <a:gd name="T2" fmla="*/ 110 w 123"/>
                <a:gd name="T3" fmla="*/ 0 h 124"/>
                <a:gd name="T4" fmla="*/ 123 w 123"/>
                <a:gd name="T5" fmla="*/ 13 h 124"/>
                <a:gd name="T6" fmla="*/ 12 w 123"/>
                <a:gd name="T7" fmla="*/ 124 h 124"/>
                <a:gd name="T8" fmla="*/ 0 w 123"/>
                <a:gd name="T9" fmla="*/ 111 h 124"/>
                <a:gd name="T10" fmla="*/ 0 w 123"/>
                <a:gd name="T11" fmla="*/ 11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24">
                  <a:moveTo>
                    <a:pt x="0" y="111"/>
                  </a:moveTo>
                  <a:lnTo>
                    <a:pt x="110" y="0"/>
                  </a:lnTo>
                  <a:lnTo>
                    <a:pt x="123" y="13"/>
                  </a:lnTo>
                  <a:lnTo>
                    <a:pt x="12" y="124"/>
                  </a:lnTo>
                  <a:lnTo>
                    <a:pt x="0" y="111"/>
                  </a:lnTo>
                  <a:lnTo>
                    <a:pt x="0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2" name="Oval 165"/>
            <p:cNvSpPr>
              <a:spLocks noChangeArrowheads="1"/>
            </p:cNvSpPr>
            <p:nvPr/>
          </p:nvSpPr>
          <p:spPr bwMode="auto">
            <a:xfrm>
              <a:off x="4473576" y="661987"/>
              <a:ext cx="77788" cy="777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3" name="Freeform 166"/>
            <p:cNvSpPr>
              <a:spLocks/>
            </p:cNvSpPr>
            <p:nvPr/>
          </p:nvSpPr>
          <p:spPr bwMode="auto">
            <a:xfrm>
              <a:off x="4686301" y="514350"/>
              <a:ext cx="195263" cy="196850"/>
            </a:xfrm>
            <a:custGeom>
              <a:avLst/>
              <a:gdLst>
                <a:gd name="T0" fmla="*/ 0 w 123"/>
                <a:gd name="T1" fmla="*/ 13 h 124"/>
                <a:gd name="T2" fmla="*/ 12 w 123"/>
                <a:gd name="T3" fmla="*/ 0 h 124"/>
                <a:gd name="T4" fmla="*/ 123 w 123"/>
                <a:gd name="T5" fmla="*/ 111 h 124"/>
                <a:gd name="T6" fmla="*/ 110 w 123"/>
                <a:gd name="T7" fmla="*/ 124 h 124"/>
                <a:gd name="T8" fmla="*/ 0 w 123"/>
                <a:gd name="T9" fmla="*/ 13 h 124"/>
                <a:gd name="T10" fmla="*/ 0 w 123"/>
                <a:gd name="T11" fmla="*/ 1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24">
                  <a:moveTo>
                    <a:pt x="0" y="13"/>
                  </a:moveTo>
                  <a:lnTo>
                    <a:pt x="12" y="0"/>
                  </a:lnTo>
                  <a:lnTo>
                    <a:pt x="123" y="111"/>
                  </a:lnTo>
                  <a:lnTo>
                    <a:pt x="110" y="124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4" name="Oval 167"/>
            <p:cNvSpPr>
              <a:spLocks noChangeArrowheads="1"/>
            </p:cNvSpPr>
            <p:nvPr/>
          </p:nvSpPr>
          <p:spPr bwMode="auto">
            <a:xfrm>
              <a:off x="4830763" y="661987"/>
              <a:ext cx="80963" cy="777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5" name="Freeform 168"/>
            <p:cNvSpPr>
              <a:spLocks/>
            </p:cNvSpPr>
            <p:nvPr/>
          </p:nvSpPr>
          <p:spPr bwMode="auto">
            <a:xfrm>
              <a:off x="4430713" y="152400"/>
              <a:ext cx="517525" cy="330200"/>
            </a:xfrm>
            <a:custGeom>
              <a:avLst/>
              <a:gdLst>
                <a:gd name="T0" fmla="*/ 4 w 286"/>
                <a:gd name="T1" fmla="*/ 179 h 182"/>
                <a:gd name="T2" fmla="*/ 3 w 286"/>
                <a:gd name="T3" fmla="*/ 167 h 182"/>
                <a:gd name="T4" fmla="*/ 3 w 286"/>
                <a:gd name="T5" fmla="*/ 167 h 182"/>
                <a:gd name="T6" fmla="*/ 104 w 286"/>
                <a:gd name="T7" fmla="*/ 59 h 182"/>
                <a:gd name="T8" fmla="*/ 116 w 286"/>
                <a:gd name="T9" fmla="*/ 59 h 182"/>
                <a:gd name="T10" fmla="*/ 116 w 286"/>
                <a:gd name="T11" fmla="*/ 59 h 182"/>
                <a:gd name="T12" fmla="*/ 171 w 286"/>
                <a:gd name="T13" fmla="*/ 110 h 182"/>
                <a:gd name="T14" fmla="*/ 270 w 286"/>
                <a:gd name="T15" fmla="*/ 4 h 182"/>
                <a:gd name="T16" fmla="*/ 283 w 286"/>
                <a:gd name="T17" fmla="*/ 4 h 182"/>
                <a:gd name="T18" fmla="*/ 283 w 286"/>
                <a:gd name="T19" fmla="*/ 4 h 182"/>
                <a:gd name="T20" fmla="*/ 283 w 286"/>
                <a:gd name="T21" fmla="*/ 16 h 182"/>
                <a:gd name="T22" fmla="*/ 283 w 286"/>
                <a:gd name="T23" fmla="*/ 16 h 182"/>
                <a:gd name="T24" fmla="*/ 178 w 286"/>
                <a:gd name="T25" fmla="*/ 129 h 182"/>
                <a:gd name="T26" fmla="*/ 172 w 286"/>
                <a:gd name="T27" fmla="*/ 131 h 182"/>
                <a:gd name="T28" fmla="*/ 172 w 286"/>
                <a:gd name="T29" fmla="*/ 131 h 182"/>
                <a:gd name="T30" fmla="*/ 165 w 286"/>
                <a:gd name="T31" fmla="*/ 129 h 182"/>
                <a:gd name="T32" fmla="*/ 165 w 286"/>
                <a:gd name="T33" fmla="*/ 129 h 182"/>
                <a:gd name="T34" fmla="*/ 111 w 286"/>
                <a:gd name="T35" fmla="*/ 78 h 182"/>
                <a:gd name="T36" fmla="*/ 16 w 286"/>
                <a:gd name="T37" fmla="*/ 179 h 182"/>
                <a:gd name="T38" fmla="*/ 10 w 286"/>
                <a:gd name="T39" fmla="*/ 182 h 182"/>
                <a:gd name="T40" fmla="*/ 10 w 286"/>
                <a:gd name="T41" fmla="*/ 182 h 182"/>
                <a:gd name="T42" fmla="*/ 4 w 286"/>
                <a:gd name="T43" fmla="*/ 1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6" h="182">
                  <a:moveTo>
                    <a:pt x="4" y="179"/>
                  </a:moveTo>
                  <a:cubicBezTo>
                    <a:pt x="0" y="176"/>
                    <a:pt x="0" y="171"/>
                    <a:pt x="3" y="167"/>
                  </a:cubicBezTo>
                  <a:cubicBezTo>
                    <a:pt x="3" y="167"/>
                    <a:pt x="3" y="167"/>
                    <a:pt x="3" y="167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7" y="56"/>
                    <a:pt x="113" y="56"/>
                    <a:pt x="116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270" y="4"/>
                    <a:pt x="270" y="4"/>
                    <a:pt x="270" y="4"/>
                  </a:cubicBezTo>
                  <a:cubicBezTo>
                    <a:pt x="274" y="1"/>
                    <a:pt x="279" y="0"/>
                    <a:pt x="283" y="4"/>
                  </a:cubicBezTo>
                  <a:cubicBezTo>
                    <a:pt x="283" y="4"/>
                    <a:pt x="283" y="4"/>
                    <a:pt x="283" y="4"/>
                  </a:cubicBezTo>
                  <a:cubicBezTo>
                    <a:pt x="286" y="7"/>
                    <a:pt x="286" y="13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178" y="129"/>
                    <a:pt x="178" y="129"/>
                    <a:pt x="178" y="129"/>
                  </a:cubicBezTo>
                  <a:cubicBezTo>
                    <a:pt x="176" y="130"/>
                    <a:pt x="174" y="131"/>
                    <a:pt x="172" y="131"/>
                  </a:cubicBezTo>
                  <a:cubicBezTo>
                    <a:pt x="172" y="131"/>
                    <a:pt x="172" y="131"/>
                    <a:pt x="172" y="131"/>
                  </a:cubicBezTo>
                  <a:cubicBezTo>
                    <a:pt x="169" y="131"/>
                    <a:pt x="167" y="131"/>
                    <a:pt x="165" y="129"/>
                  </a:cubicBezTo>
                  <a:cubicBezTo>
                    <a:pt x="165" y="129"/>
                    <a:pt x="165" y="129"/>
                    <a:pt x="165" y="129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4" y="181"/>
                    <a:pt x="12" y="182"/>
                    <a:pt x="10" y="182"/>
                  </a:cubicBezTo>
                  <a:cubicBezTo>
                    <a:pt x="10" y="182"/>
                    <a:pt x="10" y="182"/>
                    <a:pt x="10" y="182"/>
                  </a:cubicBezTo>
                  <a:cubicBezTo>
                    <a:pt x="7" y="182"/>
                    <a:pt x="5" y="181"/>
                    <a:pt x="4" y="1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6" name="Freeform 169"/>
            <p:cNvSpPr>
              <a:spLocks/>
            </p:cNvSpPr>
            <p:nvPr/>
          </p:nvSpPr>
          <p:spPr bwMode="auto">
            <a:xfrm>
              <a:off x="4440238" y="184150"/>
              <a:ext cx="377825" cy="212725"/>
            </a:xfrm>
            <a:custGeom>
              <a:avLst/>
              <a:gdLst>
                <a:gd name="T0" fmla="*/ 2 w 209"/>
                <a:gd name="T1" fmla="*/ 115 h 117"/>
                <a:gd name="T2" fmla="*/ 1 w 209"/>
                <a:gd name="T3" fmla="*/ 109 h 117"/>
                <a:gd name="T4" fmla="*/ 1 w 209"/>
                <a:gd name="T5" fmla="*/ 109 h 117"/>
                <a:gd name="T6" fmla="*/ 102 w 209"/>
                <a:gd name="T7" fmla="*/ 1 h 117"/>
                <a:gd name="T8" fmla="*/ 108 w 209"/>
                <a:gd name="T9" fmla="*/ 1 h 117"/>
                <a:gd name="T10" fmla="*/ 108 w 209"/>
                <a:gd name="T11" fmla="*/ 1 h 117"/>
                <a:gd name="T12" fmla="*/ 166 w 209"/>
                <a:gd name="T13" fmla="*/ 55 h 117"/>
                <a:gd name="T14" fmla="*/ 201 w 209"/>
                <a:gd name="T15" fmla="*/ 18 h 117"/>
                <a:gd name="T16" fmla="*/ 207 w 209"/>
                <a:gd name="T17" fmla="*/ 18 h 117"/>
                <a:gd name="T18" fmla="*/ 207 w 209"/>
                <a:gd name="T19" fmla="*/ 18 h 117"/>
                <a:gd name="T20" fmla="*/ 208 w 209"/>
                <a:gd name="T21" fmla="*/ 24 h 117"/>
                <a:gd name="T22" fmla="*/ 208 w 209"/>
                <a:gd name="T23" fmla="*/ 24 h 117"/>
                <a:gd name="T24" fmla="*/ 170 w 209"/>
                <a:gd name="T25" fmla="*/ 65 h 117"/>
                <a:gd name="T26" fmla="*/ 167 w 209"/>
                <a:gd name="T27" fmla="*/ 66 h 117"/>
                <a:gd name="T28" fmla="*/ 167 w 209"/>
                <a:gd name="T29" fmla="*/ 66 h 117"/>
                <a:gd name="T30" fmla="*/ 163 w 209"/>
                <a:gd name="T31" fmla="*/ 65 h 117"/>
                <a:gd name="T32" fmla="*/ 163 w 209"/>
                <a:gd name="T33" fmla="*/ 65 h 117"/>
                <a:gd name="T34" fmla="*/ 106 w 209"/>
                <a:gd name="T35" fmla="*/ 11 h 117"/>
                <a:gd name="T36" fmla="*/ 8 w 209"/>
                <a:gd name="T37" fmla="*/ 115 h 117"/>
                <a:gd name="T38" fmla="*/ 8 w 209"/>
                <a:gd name="T39" fmla="*/ 115 h 117"/>
                <a:gd name="T40" fmla="*/ 5 w 209"/>
                <a:gd name="T41" fmla="*/ 117 h 117"/>
                <a:gd name="T42" fmla="*/ 5 w 209"/>
                <a:gd name="T43" fmla="*/ 117 h 117"/>
                <a:gd name="T44" fmla="*/ 2 w 209"/>
                <a:gd name="T45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9" h="117">
                  <a:moveTo>
                    <a:pt x="2" y="115"/>
                  </a:moveTo>
                  <a:cubicBezTo>
                    <a:pt x="0" y="114"/>
                    <a:pt x="0" y="111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104" y="0"/>
                    <a:pt x="107" y="0"/>
                    <a:pt x="108" y="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201" y="18"/>
                    <a:pt x="201" y="18"/>
                    <a:pt x="201" y="18"/>
                  </a:cubicBezTo>
                  <a:cubicBezTo>
                    <a:pt x="203" y="16"/>
                    <a:pt x="206" y="16"/>
                    <a:pt x="207" y="18"/>
                  </a:cubicBezTo>
                  <a:cubicBezTo>
                    <a:pt x="207" y="18"/>
                    <a:pt x="207" y="18"/>
                    <a:pt x="207" y="18"/>
                  </a:cubicBezTo>
                  <a:cubicBezTo>
                    <a:pt x="209" y="19"/>
                    <a:pt x="209" y="22"/>
                    <a:pt x="208" y="24"/>
                  </a:cubicBezTo>
                  <a:cubicBezTo>
                    <a:pt x="208" y="24"/>
                    <a:pt x="208" y="24"/>
                    <a:pt x="208" y="24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69" y="66"/>
                    <a:pt x="168" y="66"/>
                    <a:pt x="167" y="66"/>
                  </a:cubicBezTo>
                  <a:cubicBezTo>
                    <a:pt x="167" y="66"/>
                    <a:pt x="167" y="66"/>
                    <a:pt x="167" y="66"/>
                  </a:cubicBezTo>
                  <a:cubicBezTo>
                    <a:pt x="165" y="66"/>
                    <a:pt x="164" y="66"/>
                    <a:pt x="163" y="65"/>
                  </a:cubicBezTo>
                  <a:cubicBezTo>
                    <a:pt x="163" y="65"/>
                    <a:pt x="163" y="65"/>
                    <a:pt x="163" y="65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7" y="116"/>
                    <a:pt x="6" y="117"/>
                    <a:pt x="5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3" y="117"/>
                    <a:pt x="2" y="116"/>
                    <a:pt x="2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7" name="Freeform 170"/>
            <p:cNvSpPr>
              <a:spLocks/>
            </p:cNvSpPr>
            <p:nvPr/>
          </p:nvSpPr>
          <p:spPr bwMode="auto">
            <a:xfrm>
              <a:off x="4864101" y="147637"/>
              <a:ext cx="87313" cy="87313"/>
            </a:xfrm>
            <a:custGeom>
              <a:avLst/>
              <a:gdLst>
                <a:gd name="T0" fmla="*/ 0 w 55"/>
                <a:gd name="T1" fmla="*/ 10 h 55"/>
                <a:gd name="T2" fmla="*/ 55 w 55"/>
                <a:gd name="T3" fmla="*/ 0 h 55"/>
                <a:gd name="T4" fmla="*/ 48 w 55"/>
                <a:gd name="T5" fmla="*/ 55 h 55"/>
                <a:gd name="T6" fmla="*/ 0 w 55"/>
                <a:gd name="T7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55">
                  <a:moveTo>
                    <a:pt x="0" y="10"/>
                  </a:moveTo>
                  <a:lnTo>
                    <a:pt x="55" y="0"/>
                  </a:lnTo>
                  <a:lnTo>
                    <a:pt x="48" y="55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8" name="Freeform 171"/>
            <p:cNvSpPr>
              <a:spLocks/>
            </p:cNvSpPr>
            <p:nvPr/>
          </p:nvSpPr>
          <p:spPr bwMode="auto">
            <a:xfrm>
              <a:off x="4784726" y="201612"/>
              <a:ext cx="46038" cy="44450"/>
            </a:xfrm>
            <a:custGeom>
              <a:avLst/>
              <a:gdLst>
                <a:gd name="T0" fmla="*/ 0 w 29"/>
                <a:gd name="T1" fmla="*/ 5 h 28"/>
                <a:gd name="T2" fmla="*/ 29 w 29"/>
                <a:gd name="T3" fmla="*/ 0 h 28"/>
                <a:gd name="T4" fmla="*/ 25 w 29"/>
                <a:gd name="T5" fmla="*/ 28 h 28"/>
                <a:gd name="T6" fmla="*/ 0 w 29"/>
                <a:gd name="T7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8">
                  <a:moveTo>
                    <a:pt x="0" y="5"/>
                  </a:moveTo>
                  <a:lnTo>
                    <a:pt x="29" y="0"/>
                  </a:lnTo>
                  <a:lnTo>
                    <a:pt x="25" y="28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2062" name="Group 2061"/>
          <p:cNvGrpSpPr/>
          <p:nvPr/>
        </p:nvGrpSpPr>
        <p:grpSpPr>
          <a:xfrm>
            <a:off x="4595938" y="4730107"/>
            <a:ext cx="626112" cy="443118"/>
            <a:chOff x="4821238" y="3319463"/>
            <a:chExt cx="657225" cy="465138"/>
          </a:xfrm>
          <a:solidFill>
            <a:schemeClr val="tx1"/>
          </a:solidFill>
        </p:grpSpPr>
        <p:sp>
          <p:nvSpPr>
            <p:cNvPr id="99" name="Freeform 60"/>
            <p:cNvSpPr>
              <a:spLocks/>
            </p:cNvSpPr>
            <p:nvPr/>
          </p:nvSpPr>
          <p:spPr bwMode="auto">
            <a:xfrm>
              <a:off x="5065713" y="3427413"/>
              <a:ext cx="412750" cy="273050"/>
            </a:xfrm>
            <a:custGeom>
              <a:avLst/>
              <a:gdLst>
                <a:gd name="T0" fmla="*/ 9 w 230"/>
                <a:gd name="T1" fmla="*/ 126 h 152"/>
                <a:gd name="T2" fmla="*/ 10 w 230"/>
                <a:gd name="T3" fmla="*/ 127 h 152"/>
                <a:gd name="T4" fmla="*/ 29 w 230"/>
                <a:gd name="T5" fmla="*/ 122 h 152"/>
                <a:gd name="T6" fmla="*/ 51 w 230"/>
                <a:gd name="T7" fmla="*/ 85 h 152"/>
                <a:gd name="T8" fmla="*/ 51 w 230"/>
                <a:gd name="T9" fmla="*/ 85 h 152"/>
                <a:gd name="T10" fmla="*/ 56 w 230"/>
                <a:gd name="T11" fmla="*/ 77 h 152"/>
                <a:gd name="T12" fmla="*/ 57 w 230"/>
                <a:gd name="T13" fmla="*/ 74 h 152"/>
                <a:gd name="T14" fmla="*/ 80 w 230"/>
                <a:gd name="T15" fmla="*/ 71 h 152"/>
                <a:gd name="T16" fmla="*/ 86 w 230"/>
                <a:gd name="T17" fmla="*/ 102 h 152"/>
                <a:gd name="T18" fmla="*/ 82 w 230"/>
                <a:gd name="T19" fmla="*/ 107 h 152"/>
                <a:gd name="T20" fmla="*/ 61 w 230"/>
                <a:gd name="T21" fmla="*/ 127 h 152"/>
                <a:gd name="T22" fmla="*/ 60 w 230"/>
                <a:gd name="T23" fmla="*/ 146 h 152"/>
                <a:gd name="T24" fmla="*/ 61 w 230"/>
                <a:gd name="T25" fmla="*/ 146 h 152"/>
                <a:gd name="T26" fmla="*/ 80 w 230"/>
                <a:gd name="T27" fmla="*/ 147 h 152"/>
                <a:gd name="T28" fmla="*/ 109 w 230"/>
                <a:gd name="T29" fmla="*/ 120 h 152"/>
                <a:gd name="T30" fmla="*/ 129 w 230"/>
                <a:gd name="T31" fmla="*/ 113 h 152"/>
                <a:gd name="T32" fmla="*/ 201 w 230"/>
                <a:gd name="T33" fmla="*/ 74 h 152"/>
                <a:gd name="T34" fmla="*/ 226 w 230"/>
                <a:gd name="T35" fmla="*/ 38 h 152"/>
                <a:gd name="T36" fmla="*/ 202 w 230"/>
                <a:gd name="T37" fmla="*/ 0 h 152"/>
                <a:gd name="T38" fmla="*/ 89 w 230"/>
                <a:gd name="T39" fmla="*/ 21 h 152"/>
                <a:gd name="T40" fmla="*/ 29 w 230"/>
                <a:gd name="T41" fmla="*/ 65 h 152"/>
                <a:gd name="T42" fmla="*/ 4 w 230"/>
                <a:gd name="T43" fmla="*/ 107 h 152"/>
                <a:gd name="T44" fmla="*/ 9 w 230"/>
                <a:gd name="T45" fmla="*/ 12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52">
                  <a:moveTo>
                    <a:pt x="9" y="126"/>
                  </a:moveTo>
                  <a:cubicBezTo>
                    <a:pt x="10" y="127"/>
                    <a:pt x="10" y="127"/>
                    <a:pt x="10" y="127"/>
                  </a:cubicBezTo>
                  <a:cubicBezTo>
                    <a:pt x="16" y="131"/>
                    <a:pt x="25" y="129"/>
                    <a:pt x="29" y="122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6"/>
                    <a:pt x="57" y="75"/>
                    <a:pt x="57" y="74"/>
                  </a:cubicBezTo>
                  <a:cubicBezTo>
                    <a:pt x="63" y="72"/>
                    <a:pt x="71" y="73"/>
                    <a:pt x="80" y="71"/>
                  </a:cubicBezTo>
                  <a:cubicBezTo>
                    <a:pt x="80" y="71"/>
                    <a:pt x="111" y="69"/>
                    <a:pt x="86" y="102"/>
                  </a:cubicBezTo>
                  <a:cubicBezTo>
                    <a:pt x="84" y="104"/>
                    <a:pt x="83" y="106"/>
                    <a:pt x="82" y="107"/>
                  </a:cubicBezTo>
                  <a:cubicBezTo>
                    <a:pt x="61" y="127"/>
                    <a:pt x="61" y="127"/>
                    <a:pt x="61" y="127"/>
                  </a:cubicBezTo>
                  <a:cubicBezTo>
                    <a:pt x="55" y="132"/>
                    <a:pt x="55" y="140"/>
                    <a:pt x="60" y="146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66" y="152"/>
                    <a:pt x="74" y="152"/>
                    <a:pt x="80" y="147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14" y="118"/>
                    <a:pt x="121" y="115"/>
                    <a:pt x="129" y="113"/>
                  </a:cubicBezTo>
                  <a:cubicBezTo>
                    <a:pt x="155" y="106"/>
                    <a:pt x="189" y="88"/>
                    <a:pt x="201" y="74"/>
                  </a:cubicBezTo>
                  <a:cubicBezTo>
                    <a:pt x="214" y="61"/>
                    <a:pt x="230" y="49"/>
                    <a:pt x="226" y="38"/>
                  </a:cubicBezTo>
                  <a:cubicBezTo>
                    <a:pt x="222" y="26"/>
                    <a:pt x="202" y="0"/>
                    <a:pt x="202" y="0"/>
                  </a:cubicBezTo>
                  <a:cubicBezTo>
                    <a:pt x="202" y="0"/>
                    <a:pt x="132" y="8"/>
                    <a:pt x="89" y="21"/>
                  </a:cubicBezTo>
                  <a:cubicBezTo>
                    <a:pt x="71" y="26"/>
                    <a:pt x="46" y="34"/>
                    <a:pt x="29" y="65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0" y="114"/>
                    <a:pt x="2" y="122"/>
                    <a:pt x="9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0" name="Freeform 61"/>
            <p:cNvSpPr>
              <a:spLocks/>
            </p:cNvSpPr>
            <p:nvPr/>
          </p:nvSpPr>
          <p:spPr bwMode="auto">
            <a:xfrm>
              <a:off x="5132388" y="3560763"/>
              <a:ext cx="84137" cy="87313"/>
            </a:xfrm>
            <a:custGeom>
              <a:avLst/>
              <a:gdLst>
                <a:gd name="T0" fmla="*/ 47 w 47"/>
                <a:gd name="T1" fmla="*/ 0 h 49"/>
                <a:gd name="T2" fmla="*/ 46 w 47"/>
                <a:gd name="T3" fmla="*/ 0 h 49"/>
                <a:gd name="T4" fmla="*/ 46 w 47"/>
                <a:gd name="T5" fmla="*/ 0 h 49"/>
                <a:gd name="T6" fmla="*/ 45 w 47"/>
                <a:gd name="T7" fmla="*/ 0 h 49"/>
                <a:gd name="T8" fmla="*/ 35 w 47"/>
                <a:gd name="T9" fmla="*/ 1 h 49"/>
                <a:gd name="T10" fmla="*/ 26 w 47"/>
                <a:gd name="T11" fmla="*/ 2 h 49"/>
                <a:gd name="T12" fmla="*/ 24 w 47"/>
                <a:gd name="T13" fmla="*/ 2 h 49"/>
                <a:gd name="T14" fmla="*/ 23 w 47"/>
                <a:gd name="T15" fmla="*/ 4 h 49"/>
                <a:gd name="T16" fmla="*/ 23 w 47"/>
                <a:gd name="T17" fmla="*/ 4 h 49"/>
                <a:gd name="T18" fmla="*/ 0 w 47"/>
                <a:gd name="T19" fmla="*/ 43 h 49"/>
                <a:gd name="T20" fmla="*/ 2 w 47"/>
                <a:gd name="T21" fmla="*/ 45 h 49"/>
                <a:gd name="T22" fmla="*/ 3 w 47"/>
                <a:gd name="T23" fmla="*/ 45 h 49"/>
                <a:gd name="T24" fmla="*/ 22 w 47"/>
                <a:gd name="T25" fmla="*/ 40 h 49"/>
                <a:gd name="T26" fmla="*/ 47 w 47"/>
                <a:gd name="T2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49">
                  <a:moveTo>
                    <a:pt x="47" y="0"/>
                  </a:moveTo>
                  <a:cubicBezTo>
                    <a:pt x="47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2" y="0"/>
                    <a:pt x="38" y="1"/>
                    <a:pt x="35" y="1"/>
                  </a:cubicBezTo>
                  <a:cubicBezTo>
                    <a:pt x="32" y="1"/>
                    <a:pt x="28" y="1"/>
                    <a:pt x="26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3"/>
                    <a:pt x="2" y="44"/>
                    <a:pt x="2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10" y="49"/>
                    <a:pt x="18" y="47"/>
                    <a:pt x="22" y="40"/>
                  </a:cubicBez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1" name="Freeform 62"/>
            <p:cNvSpPr>
              <a:spLocks noEditPoints="1"/>
            </p:cNvSpPr>
            <p:nvPr/>
          </p:nvSpPr>
          <p:spPr bwMode="auto">
            <a:xfrm>
              <a:off x="4821238" y="3319463"/>
              <a:ext cx="641350" cy="465138"/>
            </a:xfrm>
            <a:custGeom>
              <a:avLst/>
              <a:gdLst>
                <a:gd name="T0" fmla="*/ 343 w 359"/>
                <a:gd name="T1" fmla="*/ 228 h 260"/>
                <a:gd name="T2" fmla="*/ 87 w 359"/>
                <a:gd name="T3" fmla="*/ 228 h 260"/>
                <a:gd name="T4" fmla="*/ 32 w 359"/>
                <a:gd name="T5" fmla="*/ 16 h 260"/>
                <a:gd name="T6" fmla="*/ 16 w 359"/>
                <a:gd name="T7" fmla="*/ 0 h 260"/>
                <a:gd name="T8" fmla="*/ 0 w 359"/>
                <a:gd name="T9" fmla="*/ 16 h 260"/>
                <a:gd name="T10" fmla="*/ 55 w 359"/>
                <a:gd name="T11" fmla="*/ 244 h 260"/>
                <a:gd name="T12" fmla="*/ 71 w 359"/>
                <a:gd name="T13" fmla="*/ 260 h 260"/>
                <a:gd name="T14" fmla="*/ 343 w 359"/>
                <a:gd name="T15" fmla="*/ 260 h 260"/>
                <a:gd name="T16" fmla="*/ 359 w 359"/>
                <a:gd name="T17" fmla="*/ 244 h 260"/>
                <a:gd name="T18" fmla="*/ 343 w 359"/>
                <a:gd name="T19" fmla="*/ 228 h 260"/>
                <a:gd name="T20" fmla="*/ 320 w 359"/>
                <a:gd name="T21" fmla="*/ 250 h 260"/>
                <a:gd name="T22" fmla="*/ 245 w 359"/>
                <a:gd name="T23" fmla="*/ 250 h 260"/>
                <a:gd name="T24" fmla="*/ 245 w 359"/>
                <a:gd name="T25" fmla="*/ 239 h 260"/>
                <a:gd name="T26" fmla="*/ 320 w 359"/>
                <a:gd name="T27" fmla="*/ 239 h 260"/>
                <a:gd name="T28" fmla="*/ 320 w 359"/>
                <a:gd name="T29" fmla="*/ 25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9" h="260">
                  <a:moveTo>
                    <a:pt x="343" y="228"/>
                  </a:moveTo>
                  <a:cubicBezTo>
                    <a:pt x="87" y="228"/>
                    <a:pt x="87" y="228"/>
                    <a:pt x="87" y="22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55" y="244"/>
                    <a:pt x="55" y="244"/>
                    <a:pt x="55" y="244"/>
                  </a:cubicBezTo>
                  <a:cubicBezTo>
                    <a:pt x="55" y="253"/>
                    <a:pt x="62" y="260"/>
                    <a:pt x="71" y="260"/>
                  </a:cubicBezTo>
                  <a:cubicBezTo>
                    <a:pt x="343" y="260"/>
                    <a:pt x="343" y="260"/>
                    <a:pt x="343" y="260"/>
                  </a:cubicBezTo>
                  <a:cubicBezTo>
                    <a:pt x="352" y="260"/>
                    <a:pt x="359" y="253"/>
                    <a:pt x="359" y="244"/>
                  </a:cubicBezTo>
                  <a:cubicBezTo>
                    <a:pt x="359" y="236"/>
                    <a:pt x="352" y="228"/>
                    <a:pt x="343" y="228"/>
                  </a:cubicBezTo>
                  <a:close/>
                  <a:moveTo>
                    <a:pt x="320" y="250"/>
                  </a:moveTo>
                  <a:cubicBezTo>
                    <a:pt x="245" y="250"/>
                    <a:pt x="245" y="250"/>
                    <a:pt x="245" y="250"/>
                  </a:cubicBezTo>
                  <a:cubicBezTo>
                    <a:pt x="245" y="239"/>
                    <a:pt x="245" y="239"/>
                    <a:pt x="245" y="239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103" name="Freeform 21"/>
          <p:cNvSpPr>
            <a:spLocks noEditPoints="1"/>
          </p:cNvSpPr>
          <p:nvPr/>
        </p:nvSpPr>
        <p:spPr bwMode="auto">
          <a:xfrm>
            <a:off x="9450923" y="4781906"/>
            <a:ext cx="596900" cy="391319"/>
          </a:xfrm>
          <a:custGeom>
            <a:avLst/>
            <a:gdLst>
              <a:gd name="T0" fmla="*/ 862 w 3669"/>
              <a:gd name="T1" fmla="*/ 0 h 2408"/>
              <a:gd name="T2" fmla="*/ 1306 w 3669"/>
              <a:gd name="T3" fmla="*/ 1834 h 2408"/>
              <a:gd name="T4" fmla="*/ 1473 w 3669"/>
              <a:gd name="T5" fmla="*/ 1849 h 2408"/>
              <a:gd name="T6" fmla="*/ 1848 w 3669"/>
              <a:gd name="T7" fmla="*/ 1834 h 2408"/>
              <a:gd name="T8" fmla="*/ 1799 w 3669"/>
              <a:gd name="T9" fmla="*/ 1726 h 2408"/>
              <a:gd name="T10" fmla="*/ 1662 w 3669"/>
              <a:gd name="T11" fmla="*/ 1667 h 2408"/>
              <a:gd name="T12" fmla="*/ 1219 w 3669"/>
              <a:gd name="T13" fmla="*/ 1667 h 2408"/>
              <a:gd name="T14" fmla="*/ 1964 w 3669"/>
              <a:gd name="T15" fmla="*/ 1983 h 2408"/>
              <a:gd name="T16" fmla="*/ 1848 w 3669"/>
              <a:gd name="T17" fmla="*/ 1972 h 2408"/>
              <a:gd name="T18" fmla="*/ 1495 w 3669"/>
              <a:gd name="T19" fmla="*/ 1940 h 2408"/>
              <a:gd name="T20" fmla="*/ 1119 w 3669"/>
              <a:gd name="T21" fmla="*/ 1667 h 2408"/>
              <a:gd name="T22" fmla="*/ 480 w 3669"/>
              <a:gd name="T23" fmla="*/ 1002 h 2408"/>
              <a:gd name="T24" fmla="*/ 153 w 3669"/>
              <a:gd name="T25" fmla="*/ 2408 h 2408"/>
              <a:gd name="T26" fmla="*/ 750 w 3669"/>
              <a:gd name="T27" fmla="*/ 2109 h 2408"/>
              <a:gd name="T28" fmla="*/ 789 w 3669"/>
              <a:gd name="T29" fmla="*/ 2074 h 2408"/>
              <a:gd name="T30" fmla="*/ 884 w 3669"/>
              <a:gd name="T31" fmla="*/ 2258 h 2408"/>
              <a:gd name="T32" fmla="*/ 1977 w 3669"/>
              <a:gd name="T33" fmla="*/ 2406 h 2408"/>
              <a:gd name="T34" fmla="*/ 2175 w 3669"/>
              <a:gd name="T35" fmla="*/ 2211 h 2408"/>
              <a:gd name="T36" fmla="*/ 3592 w 3669"/>
              <a:gd name="T37" fmla="*/ 1058 h 2408"/>
              <a:gd name="T38" fmla="*/ 2824 w 3669"/>
              <a:gd name="T39" fmla="*/ 728 h 2408"/>
              <a:gd name="T40" fmla="*/ 2728 w 3669"/>
              <a:gd name="T41" fmla="*/ 749 h 2408"/>
              <a:gd name="T42" fmla="*/ 2366 w 3669"/>
              <a:gd name="T43" fmla="*/ 1679 h 2408"/>
              <a:gd name="T44" fmla="*/ 2993 w 3669"/>
              <a:gd name="T45" fmla="*/ 2234 h 2408"/>
              <a:gd name="T46" fmla="*/ 3045 w 3669"/>
              <a:gd name="T47" fmla="*/ 2258 h 2408"/>
              <a:gd name="T48" fmla="*/ 3619 w 3669"/>
              <a:gd name="T49" fmla="*/ 1214 h 2408"/>
              <a:gd name="T50" fmla="*/ 2453 w 3669"/>
              <a:gd name="T51" fmla="*/ 1645 h 2408"/>
              <a:gd name="T52" fmla="*/ 3023 w 3669"/>
              <a:gd name="T53" fmla="*/ 2098 h 2408"/>
              <a:gd name="T54" fmla="*/ 1872 w 3669"/>
              <a:gd name="T55" fmla="*/ 1674 h 2408"/>
              <a:gd name="T56" fmla="*/ 1975 w 3669"/>
              <a:gd name="T57" fmla="*/ 1762 h 2408"/>
              <a:gd name="T58" fmla="*/ 1933 w 3669"/>
              <a:gd name="T59" fmla="*/ 1891 h 2408"/>
              <a:gd name="T60" fmla="*/ 2094 w 3669"/>
              <a:gd name="T61" fmla="*/ 1907 h 2408"/>
              <a:gd name="T62" fmla="*/ 2241 w 3669"/>
              <a:gd name="T63" fmla="*/ 2096 h 2408"/>
              <a:gd name="T64" fmla="*/ 2254 w 3669"/>
              <a:gd name="T65" fmla="*/ 2138 h 2408"/>
              <a:gd name="T66" fmla="*/ 2368 w 3669"/>
              <a:gd name="T67" fmla="*/ 2242 h 2408"/>
              <a:gd name="T68" fmla="*/ 2186 w 3669"/>
              <a:gd name="T69" fmla="*/ 2406 h 2408"/>
              <a:gd name="T70" fmla="*/ 2958 w 3669"/>
              <a:gd name="T71" fmla="*/ 2332 h 2408"/>
              <a:gd name="T72" fmla="*/ 2621 w 3669"/>
              <a:gd name="T73" fmla="*/ 2138 h 2408"/>
              <a:gd name="T74" fmla="*/ 2583 w 3669"/>
              <a:gd name="T75" fmla="*/ 2096 h 2408"/>
              <a:gd name="T76" fmla="*/ 2458 w 3669"/>
              <a:gd name="T77" fmla="*/ 2044 h 2408"/>
              <a:gd name="T78" fmla="*/ 2535 w 3669"/>
              <a:gd name="T79" fmla="*/ 2044 h 2408"/>
              <a:gd name="T80" fmla="*/ 2376 w 3669"/>
              <a:gd name="T81" fmla="*/ 1950 h 2408"/>
              <a:gd name="T82" fmla="*/ 2364 w 3669"/>
              <a:gd name="T83" fmla="*/ 1856 h 2408"/>
              <a:gd name="T84" fmla="*/ 2325 w 3669"/>
              <a:gd name="T85" fmla="*/ 1813 h 2408"/>
              <a:gd name="T86" fmla="*/ 2278 w 3669"/>
              <a:gd name="T87" fmla="*/ 1762 h 2408"/>
              <a:gd name="T88" fmla="*/ 2245 w 3669"/>
              <a:gd name="T89" fmla="*/ 1726 h 2408"/>
              <a:gd name="T90" fmla="*/ 2017 w 3669"/>
              <a:gd name="T91" fmla="*/ 1813 h 2408"/>
              <a:gd name="T92" fmla="*/ 2062 w 3669"/>
              <a:gd name="T93" fmla="*/ 1762 h 2408"/>
              <a:gd name="T94" fmla="*/ 2126 w 3669"/>
              <a:gd name="T95" fmla="*/ 1762 h 2408"/>
              <a:gd name="T96" fmla="*/ 2104 w 3669"/>
              <a:gd name="T97" fmla="*/ 1813 h 2408"/>
              <a:gd name="T98" fmla="*/ 2139 w 3669"/>
              <a:gd name="T99" fmla="*/ 1856 h 2408"/>
              <a:gd name="T100" fmla="*/ 2252 w 3669"/>
              <a:gd name="T101" fmla="*/ 1907 h 2408"/>
              <a:gd name="T102" fmla="*/ 2292 w 3669"/>
              <a:gd name="T103" fmla="*/ 2044 h 2408"/>
              <a:gd name="T104" fmla="*/ 2370 w 3669"/>
              <a:gd name="T105" fmla="*/ 2044 h 2408"/>
              <a:gd name="T106" fmla="*/ 2415 w 3669"/>
              <a:gd name="T107" fmla="*/ 2096 h 2408"/>
              <a:gd name="T108" fmla="*/ 2335 w 3669"/>
              <a:gd name="T109" fmla="*/ 2096 h 2408"/>
              <a:gd name="T110" fmla="*/ 2497 w 3669"/>
              <a:gd name="T111" fmla="*/ 2190 h 2408"/>
              <a:gd name="T112" fmla="*/ 2629 w 3669"/>
              <a:gd name="T113" fmla="*/ 2242 h 2408"/>
              <a:gd name="T114" fmla="*/ 2716 w 3669"/>
              <a:gd name="T115" fmla="*/ 2242 h 2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669" h="2408">
                <a:moveTo>
                  <a:pt x="862" y="927"/>
                </a:moveTo>
                <a:cubicBezTo>
                  <a:pt x="1118" y="927"/>
                  <a:pt x="1326" y="720"/>
                  <a:pt x="1326" y="463"/>
                </a:cubicBezTo>
                <a:cubicBezTo>
                  <a:pt x="1326" y="208"/>
                  <a:pt x="1118" y="0"/>
                  <a:pt x="862" y="0"/>
                </a:cubicBezTo>
                <a:cubicBezTo>
                  <a:pt x="606" y="0"/>
                  <a:pt x="398" y="208"/>
                  <a:pt x="398" y="463"/>
                </a:cubicBezTo>
                <a:cubicBezTo>
                  <a:pt x="398" y="720"/>
                  <a:pt x="606" y="927"/>
                  <a:pt x="862" y="927"/>
                </a:cubicBezTo>
                <a:close/>
                <a:moveTo>
                  <a:pt x="1306" y="1834"/>
                </a:moveTo>
                <a:cubicBezTo>
                  <a:pt x="1403" y="1843"/>
                  <a:pt x="1403" y="1843"/>
                  <a:pt x="1403" y="1843"/>
                </a:cubicBezTo>
                <a:cubicBezTo>
                  <a:pt x="1438" y="1846"/>
                  <a:pt x="1438" y="1846"/>
                  <a:pt x="1438" y="1846"/>
                </a:cubicBezTo>
                <a:cubicBezTo>
                  <a:pt x="1473" y="1849"/>
                  <a:pt x="1473" y="1849"/>
                  <a:pt x="1473" y="1849"/>
                </a:cubicBezTo>
                <a:cubicBezTo>
                  <a:pt x="1844" y="1883"/>
                  <a:pt x="1844" y="1883"/>
                  <a:pt x="1844" y="1883"/>
                </a:cubicBezTo>
                <a:cubicBezTo>
                  <a:pt x="1844" y="1882"/>
                  <a:pt x="1844" y="1882"/>
                  <a:pt x="1845" y="1881"/>
                </a:cubicBezTo>
                <a:cubicBezTo>
                  <a:pt x="1848" y="1866"/>
                  <a:pt x="1850" y="1850"/>
                  <a:pt x="1848" y="1834"/>
                </a:cubicBezTo>
                <a:cubicBezTo>
                  <a:pt x="1848" y="1827"/>
                  <a:pt x="1846" y="1820"/>
                  <a:pt x="1845" y="1813"/>
                </a:cubicBezTo>
                <a:cubicBezTo>
                  <a:pt x="1838" y="1780"/>
                  <a:pt x="1822" y="1751"/>
                  <a:pt x="1800" y="1727"/>
                </a:cubicBezTo>
                <a:cubicBezTo>
                  <a:pt x="1799" y="1727"/>
                  <a:pt x="1799" y="1726"/>
                  <a:pt x="1799" y="1726"/>
                </a:cubicBezTo>
                <a:cubicBezTo>
                  <a:pt x="1776" y="1702"/>
                  <a:pt x="1747" y="1684"/>
                  <a:pt x="1715" y="1674"/>
                </a:cubicBezTo>
                <a:cubicBezTo>
                  <a:pt x="1699" y="1670"/>
                  <a:pt x="1682" y="1666"/>
                  <a:pt x="1665" y="1666"/>
                </a:cubicBezTo>
                <a:cubicBezTo>
                  <a:pt x="1664" y="1666"/>
                  <a:pt x="1663" y="1667"/>
                  <a:pt x="1662" y="1667"/>
                </a:cubicBezTo>
                <a:cubicBezTo>
                  <a:pt x="1441" y="1667"/>
                  <a:pt x="1441" y="1667"/>
                  <a:pt x="1441" y="1667"/>
                </a:cubicBezTo>
                <a:cubicBezTo>
                  <a:pt x="1401" y="1667"/>
                  <a:pt x="1401" y="1667"/>
                  <a:pt x="1401" y="1667"/>
                </a:cubicBezTo>
                <a:cubicBezTo>
                  <a:pt x="1219" y="1667"/>
                  <a:pt x="1219" y="1667"/>
                  <a:pt x="1219" y="1667"/>
                </a:cubicBezTo>
                <a:lnTo>
                  <a:pt x="1306" y="1834"/>
                </a:lnTo>
                <a:close/>
                <a:moveTo>
                  <a:pt x="2000" y="1989"/>
                </a:moveTo>
                <a:cubicBezTo>
                  <a:pt x="1988" y="1987"/>
                  <a:pt x="1976" y="1984"/>
                  <a:pt x="1964" y="1983"/>
                </a:cubicBezTo>
                <a:cubicBezTo>
                  <a:pt x="1917" y="1979"/>
                  <a:pt x="1917" y="1979"/>
                  <a:pt x="1917" y="1979"/>
                </a:cubicBezTo>
                <a:cubicBezTo>
                  <a:pt x="1900" y="1977"/>
                  <a:pt x="1900" y="1977"/>
                  <a:pt x="1900" y="1977"/>
                </a:cubicBezTo>
                <a:cubicBezTo>
                  <a:pt x="1848" y="1972"/>
                  <a:pt x="1848" y="1972"/>
                  <a:pt x="1848" y="1972"/>
                </a:cubicBezTo>
                <a:cubicBezTo>
                  <a:pt x="1789" y="1967"/>
                  <a:pt x="1789" y="1967"/>
                  <a:pt x="1789" y="1967"/>
                </a:cubicBezTo>
                <a:cubicBezTo>
                  <a:pt x="1531" y="1943"/>
                  <a:pt x="1531" y="1943"/>
                  <a:pt x="1531" y="1943"/>
                </a:cubicBezTo>
                <a:cubicBezTo>
                  <a:pt x="1495" y="1940"/>
                  <a:pt x="1495" y="1940"/>
                  <a:pt x="1495" y="1940"/>
                </a:cubicBezTo>
                <a:cubicBezTo>
                  <a:pt x="1458" y="1937"/>
                  <a:pt x="1458" y="1937"/>
                  <a:pt x="1458" y="1937"/>
                </a:cubicBezTo>
                <a:cubicBezTo>
                  <a:pt x="1250" y="1918"/>
                  <a:pt x="1250" y="1918"/>
                  <a:pt x="1250" y="1918"/>
                </a:cubicBezTo>
                <a:cubicBezTo>
                  <a:pt x="1119" y="1667"/>
                  <a:pt x="1119" y="1667"/>
                  <a:pt x="1119" y="1667"/>
                </a:cubicBezTo>
                <a:cubicBezTo>
                  <a:pt x="1072" y="1579"/>
                  <a:pt x="1072" y="1579"/>
                  <a:pt x="1072" y="1579"/>
                </a:cubicBezTo>
                <a:cubicBezTo>
                  <a:pt x="1047" y="1531"/>
                  <a:pt x="1047" y="1531"/>
                  <a:pt x="1047" y="1531"/>
                </a:cubicBezTo>
                <a:cubicBezTo>
                  <a:pt x="907" y="1251"/>
                  <a:pt x="772" y="1002"/>
                  <a:pt x="480" y="1002"/>
                </a:cubicBezTo>
                <a:cubicBezTo>
                  <a:pt x="258" y="1002"/>
                  <a:pt x="86" y="1186"/>
                  <a:pt x="59" y="1476"/>
                </a:cubicBezTo>
                <a:cubicBezTo>
                  <a:pt x="6" y="2250"/>
                  <a:pt x="6" y="2250"/>
                  <a:pt x="6" y="2250"/>
                </a:cubicBezTo>
                <a:cubicBezTo>
                  <a:pt x="0" y="2337"/>
                  <a:pt x="66" y="2408"/>
                  <a:pt x="153" y="2408"/>
                </a:cubicBezTo>
                <a:cubicBezTo>
                  <a:pt x="861" y="2408"/>
                  <a:pt x="861" y="2408"/>
                  <a:pt x="861" y="2408"/>
                </a:cubicBezTo>
                <a:cubicBezTo>
                  <a:pt x="769" y="2160"/>
                  <a:pt x="769" y="2160"/>
                  <a:pt x="769" y="2160"/>
                </a:cubicBezTo>
                <a:cubicBezTo>
                  <a:pt x="750" y="2109"/>
                  <a:pt x="750" y="2109"/>
                  <a:pt x="750" y="2109"/>
                </a:cubicBezTo>
                <a:cubicBezTo>
                  <a:pt x="728" y="2050"/>
                  <a:pt x="728" y="2050"/>
                  <a:pt x="728" y="2050"/>
                </a:cubicBezTo>
                <a:cubicBezTo>
                  <a:pt x="603" y="1712"/>
                  <a:pt x="603" y="1712"/>
                  <a:pt x="603" y="1712"/>
                </a:cubicBezTo>
                <a:cubicBezTo>
                  <a:pt x="789" y="2074"/>
                  <a:pt x="789" y="2074"/>
                  <a:pt x="789" y="2074"/>
                </a:cubicBezTo>
                <a:cubicBezTo>
                  <a:pt x="814" y="2123"/>
                  <a:pt x="814" y="2123"/>
                  <a:pt x="814" y="2123"/>
                </a:cubicBezTo>
                <a:cubicBezTo>
                  <a:pt x="838" y="2168"/>
                  <a:pt x="838" y="2168"/>
                  <a:pt x="838" y="2168"/>
                </a:cubicBezTo>
                <a:cubicBezTo>
                  <a:pt x="884" y="2258"/>
                  <a:pt x="884" y="2258"/>
                  <a:pt x="884" y="2258"/>
                </a:cubicBezTo>
                <a:cubicBezTo>
                  <a:pt x="928" y="2349"/>
                  <a:pt x="1021" y="2408"/>
                  <a:pt x="1119" y="2408"/>
                </a:cubicBezTo>
                <a:cubicBezTo>
                  <a:pt x="1962" y="2408"/>
                  <a:pt x="1962" y="2408"/>
                  <a:pt x="1962" y="2408"/>
                </a:cubicBezTo>
                <a:cubicBezTo>
                  <a:pt x="1967" y="2408"/>
                  <a:pt x="1972" y="2407"/>
                  <a:pt x="1977" y="2406"/>
                </a:cubicBezTo>
                <a:cubicBezTo>
                  <a:pt x="2080" y="2400"/>
                  <a:pt x="2157" y="2336"/>
                  <a:pt x="2172" y="2242"/>
                </a:cubicBezTo>
                <a:cubicBezTo>
                  <a:pt x="2173" y="2233"/>
                  <a:pt x="2174" y="2225"/>
                  <a:pt x="2174" y="2216"/>
                </a:cubicBezTo>
                <a:cubicBezTo>
                  <a:pt x="2174" y="2214"/>
                  <a:pt x="2175" y="2213"/>
                  <a:pt x="2175" y="2211"/>
                </a:cubicBezTo>
                <a:cubicBezTo>
                  <a:pt x="2176" y="2106"/>
                  <a:pt x="2100" y="2014"/>
                  <a:pt x="2000" y="1989"/>
                </a:cubicBezTo>
                <a:close/>
                <a:moveTo>
                  <a:pt x="3595" y="1058"/>
                </a:moveTo>
                <a:cubicBezTo>
                  <a:pt x="3592" y="1058"/>
                  <a:pt x="3592" y="1058"/>
                  <a:pt x="3592" y="1058"/>
                </a:cubicBezTo>
                <a:cubicBezTo>
                  <a:pt x="3591" y="1057"/>
                  <a:pt x="3591" y="1056"/>
                  <a:pt x="3589" y="1056"/>
                </a:cubicBezTo>
                <a:cubicBezTo>
                  <a:pt x="2825" y="728"/>
                  <a:pt x="2825" y="728"/>
                  <a:pt x="2825" y="728"/>
                </a:cubicBezTo>
                <a:cubicBezTo>
                  <a:pt x="2824" y="728"/>
                  <a:pt x="2824" y="728"/>
                  <a:pt x="2824" y="728"/>
                </a:cubicBezTo>
                <a:cubicBezTo>
                  <a:pt x="2818" y="724"/>
                  <a:pt x="2812" y="722"/>
                  <a:pt x="2804" y="720"/>
                </a:cubicBezTo>
                <a:cubicBezTo>
                  <a:pt x="2798" y="719"/>
                  <a:pt x="2792" y="718"/>
                  <a:pt x="2786" y="718"/>
                </a:cubicBezTo>
                <a:cubicBezTo>
                  <a:pt x="2760" y="718"/>
                  <a:pt x="2736" y="730"/>
                  <a:pt x="2728" y="749"/>
                </a:cubicBezTo>
                <a:cubicBezTo>
                  <a:pt x="2355" y="1640"/>
                  <a:pt x="2355" y="1640"/>
                  <a:pt x="2355" y="1640"/>
                </a:cubicBezTo>
                <a:cubicBezTo>
                  <a:pt x="2350" y="1653"/>
                  <a:pt x="2353" y="1668"/>
                  <a:pt x="2366" y="1679"/>
                </a:cubicBezTo>
                <a:cubicBezTo>
                  <a:pt x="2366" y="1679"/>
                  <a:pt x="2366" y="1679"/>
                  <a:pt x="2366" y="1679"/>
                </a:cubicBezTo>
                <a:cubicBezTo>
                  <a:pt x="2993" y="2234"/>
                  <a:pt x="2993" y="2234"/>
                  <a:pt x="2993" y="2234"/>
                </a:cubicBezTo>
                <a:cubicBezTo>
                  <a:pt x="2993" y="2234"/>
                  <a:pt x="2993" y="2234"/>
                  <a:pt x="2993" y="2234"/>
                </a:cubicBezTo>
                <a:cubicBezTo>
                  <a:pt x="2993" y="2234"/>
                  <a:pt x="2993" y="2234"/>
                  <a:pt x="2993" y="2234"/>
                </a:cubicBezTo>
                <a:cubicBezTo>
                  <a:pt x="3000" y="2241"/>
                  <a:pt x="3000" y="2241"/>
                  <a:pt x="3000" y="2241"/>
                </a:cubicBezTo>
                <a:cubicBezTo>
                  <a:pt x="3009" y="2249"/>
                  <a:pt x="3021" y="2254"/>
                  <a:pt x="3035" y="2258"/>
                </a:cubicBezTo>
                <a:cubicBezTo>
                  <a:pt x="3038" y="2258"/>
                  <a:pt x="3041" y="2258"/>
                  <a:pt x="3045" y="2258"/>
                </a:cubicBezTo>
                <a:cubicBezTo>
                  <a:pt x="3055" y="2261"/>
                  <a:pt x="3065" y="2262"/>
                  <a:pt x="3076" y="2262"/>
                </a:cubicBezTo>
                <a:cubicBezTo>
                  <a:pt x="3114" y="2262"/>
                  <a:pt x="3153" y="2246"/>
                  <a:pt x="3173" y="2209"/>
                </a:cubicBezTo>
                <a:cubicBezTo>
                  <a:pt x="3196" y="2166"/>
                  <a:pt x="3580" y="1313"/>
                  <a:pt x="3619" y="1214"/>
                </a:cubicBezTo>
                <a:cubicBezTo>
                  <a:pt x="3669" y="1087"/>
                  <a:pt x="3595" y="1058"/>
                  <a:pt x="3595" y="1058"/>
                </a:cubicBezTo>
                <a:close/>
                <a:moveTo>
                  <a:pt x="3023" y="2098"/>
                </a:moveTo>
                <a:cubicBezTo>
                  <a:pt x="2453" y="1645"/>
                  <a:pt x="2453" y="1645"/>
                  <a:pt x="2453" y="1645"/>
                </a:cubicBezTo>
                <a:cubicBezTo>
                  <a:pt x="2789" y="826"/>
                  <a:pt x="2789" y="826"/>
                  <a:pt x="2789" y="826"/>
                </a:cubicBezTo>
                <a:cubicBezTo>
                  <a:pt x="3458" y="1115"/>
                  <a:pt x="3458" y="1115"/>
                  <a:pt x="3458" y="1115"/>
                </a:cubicBezTo>
                <a:lnTo>
                  <a:pt x="3023" y="2098"/>
                </a:lnTo>
                <a:close/>
                <a:moveTo>
                  <a:pt x="2365" y="1714"/>
                </a:moveTo>
                <a:cubicBezTo>
                  <a:pt x="2342" y="1692"/>
                  <a:pt x="2294" y="1674"/>
                  <a:pt x="2257" y="1674"/>
                </a:cubicBezTo>
                <a:cubicBezTo>
                  <a:pt x="1872" y="1674"/>
                  <a:pt x="1872" y="1674"/>
                  <a:pt x="1872" y="1674"/>
                </a:cubicBezTo>
                <a:cubicBezTo>
                  <a:pt x="1885" y="1690"/>
                  <a:pt x="1897" y="1708"/>
                  <a:pt x="1907" y="1726"/>
                </a:cubicBezTo>
                <a:cubicBezTo>
                  <a:pt x="1946" y="1726"/>
                  <a:pt x="1946" y="1726"/>
                  <a:pt x="1946" y="1726"/>
                </a:cubicBezTo>
                <a:cubicBezTo>
                  <a:pt x="1975" y="1762"/>
                  <a:pt x="1975" y="1762"/>
                  <a:pt x="1975" y="1762"/>
                </a:cubicBezTo>
                <a:cubicBezTo>
                  <a:pt x="1923" y="1762"/>
                  <a:pt x="1923" y="1762"/>
                  <a:pt x="1923" y="1762"/>
                </a:cubicBezTo>
                <a:cubicBezTo>
                  <a:pt x="1930" y="1783"/>
                  <a:pt x="1935" y="1804"/>
                  <a:pt x="1937" y="1826"/>
                </a:cubicBezTo>
                <a:cubicBezTo>
                  <a:pt x="1938" y="1849"/>
                  <a:pt x="1937" y="1871"/>
                  <a:pt x="1933" y="1891"/>
                </a:cubicBezTo>
                <a:cubicBezTo>
                  <a:pt x="1971" y="1895"/>
                  <a:pt x="1971" y="1895"/>
                  <a:pt x="1971" y="1895"/>
                </a:cubicBezTo>
                <a:cubicBezTo>
                  <a:pt x="1994" y="1897"/>
                  <a:pt x="2015" y="1901"/>
                  <a:pt x="2037" y="1907"/>
                </a:cubicBezTo>
                <a:cubicBezTo>
                  <a:pt x="2094" y="1907"/>
                  <a:pt x="2094" y="1907"/>
                  <a:pt x="2094" y="1907"/>
                </a:cubicBezTo>
                <a:cubicBezTo>
                  <a:pt x="2129" y="1950"/>
                  <a:pt x="2129" y="1950"/>
                  <a:pt x="2129" y="1950"/>
                </a:cubicBezTo>
                <a:cubicBezTo>
                  <a:pt x="2124" y="1950"/>
                  <a:pt x="2124" y="1950"/>
                  <a:pt x="2124" y="1950"/>
                </a:cubicBezTo>
                <a:cubicBezTo>
                  <a:pt x="2176" y="1986"/>
                  <a:pt x="2218" y="2037"/>
                  <a:pt x="2241" y="2096"/>
                </a:cubicBezTo>
                <a:cubicBezTo>
                  <a:pt x="2248" y="2096"/>
                  <a:pt x="2248" y="2096"/>
                  <a:pt x="2248" y="2096"/>
                </a:cubicBezTo>
                <a:cubicBezTo>
                  <a:pt x="2282" y="2138"/>
                  <a:pt x="2282" y="2138"/>
                  <a:pt x="2282" y="2138"/>
                </a:cubicBezTo>
                <a:cubicBezTo>
                  <a:pt x="2254" y="2138"/>
                  <a:pt x="2254" y="2138"/>
                  <a:pt x="2254" y="2138"/>
                </a:cubicBezTo>
                <a:cubicBezTo>
                  <a:pt x="2259" y="2155"/>
                  <a:pt x="2261" y="2172"/>
                  <a:pt x="2262" y="2190"/>
                </a:cubicBezTo>
                <a:cubicBezTo>
                  <a:pt x="2326" y="2190"/>
                  <a:pt x="2326" y="2190"/>
                  <a:pt x="2326" y="2190"/>
                </a:cubicBezTo>
                <a:cubicBezTo>
                  <a:pt x="2368" y="2242"/>
                  <a:pt x="2368" y="2242"/>
                  <a:pt x="2368" y="2242"/>
                </a:cubicBezTo>
                <a:cubicBezTo>
                  <a:pt x="2280" y="2242"/>
                  <a:pt x="2280" y="2242"/>
                  <a:pt x="2280" y="2242"/>
                </a:cubicBezTo>
                <a:cubicBezTo>
                  <a:pt x="2263" y="2220"/>
                  <a:pt x="2263" y="2220"/>
                  <a:pt x="2263" y="2220"/>
                </a:cubicBezTo>
                <a:cubicBezTo>
                  <a:pt x="2260" y="2294"/>
                  <a:pt x="2232" y="2358"/>
                  <a:pt x="2186" y="2406"/>
                </a:cubicBezTo>
                <a:cubicBezTo>
                  <a:pt x="2891" y="2406"/>
                  <a:pt x="2891" y="2406"/>
                  <a:pt x="2891" y="2406"/>
                </a:cubicBezTo>
                <a:cubicBezTo>
                  <a:pt x="2928" y="2406"/>
                  <a:pt x="2958" y="2384"/>
                  <a:pt x="2958" y="2357"/>
                </a:cubicBezTo>
                <a:cubicBezTo>
                  <a:pt x="2958" y="2332"/>
                  <a:pt x="2958" y="2332"/>
                  <a:pt x="2958" y="2332"/>
                </a:cubicBezTo>
                <a:cubicBezTo>
                  <a:pt x="2958" y="2305"/>
                  <a:pt x="2940" y="2265"/>
                  <a:pt x="2917" y="2243"/>
                </a:cubicBezTo>
                <a:lnTo>
                  <a:pt x="2365" y="1714"/>
                </a:lnTo>
                <a:close/>
                <a:moveTo>
                  <a:pt x="2621" y="2138"/>
                </a:moveTo>
                <a:cubicBezTo>
                  <a:pt x="2539" y="2138"/>
                  <a:pt x="2539" y="2138"/>
                  <a:pt x="2539" y="2138"/>
                </a:cubicBezTo>
                <a:cubicBezTo>
                  <a:pt x="2503" y="2096"/>
                  <a:pt x="2503" y="2096"/>
                  <a:pt x="2503" y="2096"/>
                </a:cubicBezTo>
                <a:cubicBezTo>
                  <a:pt x="2583" y="2096"/>
                  <a:pt x="2583" y="2096"/>
                  <a:pt x="2583" y="2096"/>
                </a:cubicBezTo>
                <a:lnTo>
                  <a:pt x="2621" y="2138"/>
                </a:lnTo>
                <a:close/>
                <a:moveTo>
                  <a:pt x="2535" y="2044"/>
                </a:moveTo>
                <a:cubicBezTo>
                  <a:pt x="2458" y="2044"/>
                  <a:pt x="2458" y="2044"/>
                  <a:pt x="2458" y="2044"/>
                </a:cubicBezTo>
                <a:cubicBezTo>
                  <a:pt x="2422" y="2002"/>
                  <a:pt x="2422" y="2002"/>
                  <a:pt x="2422" y="2002"/>
                </a:cubicBezTo>
                <a:cubicBezTo>
                  <a:pt x="2497" y="2002"/>
                  <a:pt x="2497" y="2002"/>
                  <a:pt x="2497" y="2002"/>
                </a:cubicBezTo>
                <a:lnTo>
                  <a:pt x="2535" y="2044"/>
                </a:lnTo>
                <a:close/>
                <a:moveTo>
                  <a:pt x="2411" y="1907"/>
                </a:moveTo>
                <a:cubicBezTo>
                  <a:pt x="2449" y="1950"/>
                  <a:pt x="2449" y="1950"/>
                  <a:pt x="2449" y="1950"/>
                </a:cubicBezTo>
                <a:cubicBezTo>
                  <a:pt x="2376" y="1950"/>
                  <a:pt x="2376" y="1950"/>
                  <a:pt x="2376" y="1950"/>
                </a:cubicBezTo>
                <a:cubicBezTo>
                  <a:pt x="2340" y="1907"/>
                  <a:pt x="2340" y="1907"/>
                  <a:pt x="2340" y="1907"/>
                </a:cubicBezTo>
                <a:lnTo>
                  <a:pt x="2411" y="1907"/>
                </a:lnTo>
                <a:close/>
                <a:moveTo>
                  <a:pt x="2364" y="1856"/>
                </a:moveTo>
                <a:cubicBezTo>
                  <a:pt x="2295" y="1856"/>
                  <a:pt x="2295" y="1856"/>
                  <a:pt x="2295" y="1856"/>
                </a:cubicBezTo>
                <a:cubicBezTo>
                  <a:pt x="2259" y="1813"/>
                  <a:pt x="2259" y="1813"/>
                  <a:pt x="2259" y="1813"/>
                </a:cubicBezTo>
                <a:cubicBezTo>
                  <a:pt x="2325" y="1813"/>
                  <a:pt x="2325" y="1813"/>
                  <a:pt x="2325" y="1813"/>
                </a:cubicBezTo>
                <a:lnTo>
                  <a:pt x="2364" y="1856"/>
                </a:lnTo>
                <a:close/>
                <a:moveTo>
                  <a:pt x="2245" y="1726"/>
                </a:moveTo>
                <a:cubicBezTo>
                  <a:pt x="2278" y="1762"/>
                  <a:pt x="2278" y="1762"/>
                  <a:pt x="2278" y="1762"/>
                </a:cubicBezTo>
                <a:cubicBezTo>
                  <a:pt x="2214" y="1762"/>
                  <a:pt x="2214" y="1762"/>
                  <a:pt x="2214" y="1762"/>
                </a:cubicBezTo>
                <a:cubicBezTo>
                  <a:pt x="2183" y="1726"/>
                  <a:pt x="2183" y="1726"/>
                  <a:pt x="2183" y="1726"/>
                </a:cubicBezTo>
                <a:lnTo>
                  <a:pt x="2245" y="1726"/>
                </a:lnTo>
                <a:close/>
                <a:moveTo>
                  <a:pt x="1982" y="1856"/>
                </a:moveTo>
                <a:cubicBezTo>
                  <a:pt x="1949" y="1813"/>
                  <a:pt x="1949" y="1813"/>
                  <a:pt x="1949" y="1813"/>
                </a:cubicBezTo>
                <a:cubicBezTo>
                  <a:pt x="2017" y="1813"/>
                  <a:pt x="2017" y="1813"/>
                  <a:pt x="2017" y="1813"/>
                </a:cubicBezTo>
                <a:cubicBezTo>
                  <a:pt x="2052" y="1856"/>
                  <a:pt x="2052" y="1856"/>
                  <a:pt x="2052" y="1856"/>
                </a:cubicBezTo>
                <a:lnTo>
                  <a:pt x="1982" y="1856"/>
                </a:lnTo>
                <a:close/>
                <a:moveTo>
                  <a:pt x="2062" y="1762"/>
                </a:moveTo>
                <a:cubicBezTo>
                  <a:pt x="2033" y="1726"/>
                  <a:pt x="2033" y="1726"/>
                  <a:pt x="2033" y="1726"/>
                </a:cubicBezTo>
                <a:cubicBezTo>
                  <a:pt x="2096" y="1726"/>
                  <a:pt x="2096" y="1726"/>
                  <a:pt x="2096" y="1726"/>
                </a:cubicBezTo>
                <a:cubicBezTo>
                  <a:pt x="2126" y="1762"/>
                  <a:pt x="2126" y="1762"/>
                  <a:pt x="2126" y="1762"/>
                </a:cubicBezTo>
                <a:lnTo>
                  <a:pt x="2062" y="1762"/>
                </a:lnTo>
                <a:close/>
                <a:moveTo>
                  <a:pt x="2139" y="1856"/>
                </a:moveTo>
                <a:cubicBezTo>
                  <a:pt x="2104" y="1813"/>
                  <a:pt x="2104" y="1813"/>
                  <a:pt x="2104" y="1813"/>
                </a:cubicBezTo>
                <a:cubicBezTo>
                  <a:pt x="2171" y="1813"/>
                  <a:pt x="2171" y="1813"/>
                  <a:pt x="2171" y="1813"/>
                </a:cubicBezTo>
                <a:cubicBezTo>
                  <a:pt x="2208" y="1856"/>
                  <a:pt x="2208" y="1856"/>
                  <a:pt x="2208" y="1856"/>
                </a:cubicBezTo>
                <a:lnTo>
                  <a:pt x="2139" y="1856"/>
                </a:lnTo>
                <a:close/>
                <a:moveTo>
                  <a:pt x="2215" y="1950"/>
                </a:moveTo>
                <a:cubicBezTo>
                  <a:pt x="2181" y="1907"/>
                  <a:pt x="2181" y="1907"/>
                  <a:pt x="2181" y="1907"/>
                </a:cubicBezTo>
                <a:cubicBezTo>
                  <a:pt x="2252" y="1907"/>
                  <a:pt x="2252" y="1907"/>
                  <a:pt x="2252" y="1907"/>
                </a:cubicBezTo>
                <a:cubicBezTo>
                  <a:pt x="2289" y="1950"/>
                  <a:pt x="2289" y="1950"/>
                  <a:pt x="2289" y="1950"/>
                </a:cubicBezTo>
                <a:lnTo>
                  <a:pt x="2215" y="1950"/>
                </a:lnTo>
                <a:close/>
                <a:moveTo>
                  <a:pt x="2292" y="2044"/>
                </a:moveTo>
                <a:cubicBezTo>
                  <a:pt x="2258" y="2002"/>
                  <a:pt x="2258" y="2002"/>
                  <a:pt x="2258" y="2002"/>
                </a:cubicBezTo>
                <a:cubicBezTo>
                  <a:pt x="2334" y="2002"/>
                  <a:pt x="2334" y="2002"/>
                  <a:pt x="2334" y="2002"/>
                </a:cubicBezTo>
                <a:cubicBezTo>
                  <a:pt x="2370" y="2044"/>
                  <a:pt x="2370" y="2044"/>
                  <a:pt x="2370" y="2044"/>
                </a:cubicBezTo>
                <a:lnTo>
                  <a:pt x="2292" y="2044"/>
                </a:lnTo>
                <a:close/>
                <a:moveTo>
                  <a:pt x="2335" y="2096"/>
                </a:moveTo>
                <a:cubicBezTo>
                  <a:pt x="2415" y="2096"/>
                  <a:pt x="2415" y="2096"/>
                  <a:pt x="2415" y="2096"/>
                </a:cubicBezTo>
                <a:cubicBezTo>
                  <a:pt x="2451" y="2138"/>
                  <a:pt x="2451" y="2138"/>
                  <a:pt x="2451" y="2138"/>
                </a:cubicBezTo>
                <a:cubicBezTo>
                  <a:pt x="2369" y="2138"/>
                  <a:pt x="2369" y="2138"/>
                  <a:pt x="2369" y="2138"/>
                </a:cubicBezTo>
                <a:lnTo>
                  <a:pt x="2335" y="2096"/>
                </a:lnTo>
                <a:close/>
                <a:moveTo>
                  <a:pt x="2454" y="2242"/>
                </a:moveTo>
                <a:cubicBezTo>
                  <a:pt x="2412" y="2190"/>
                  <a:pt x="2412" y="2190"/>
                  <a:pt x="2412" y="2190"/>
                </a:cubicBezTo>
                <a:cubicBezTo>
                  <a:pt x="2497" y="2190"/>
                  <a:pt x="2497" y="2190"/>
                  <a:pt x="2497" y="2190"/>
                </a:cubicBezTo>
                <a:cubicBezTo>
                  <a:pt x="2541" y="2242"/>
                  <a:pt x="2541" y="2242"/>
                  <a:pt x="2541" y="2242"/>
                </a:cubicBezTo>
                <a:lnTo>
                  <a:pt x="2454" y="2242"/>
                </a:lnTo>
                <a:close/>
                <a:moveTo>
                  <a:pt x="2629" y="2242"/>
                </a:moveTo>
                <a:cubicBezTo>
                  <a:pt x="2585" y="2190"/>
                  <a:pt x="2585" y="2190"/>
                  <a:pt x="2585" y="2190"/>
                </a:cubicBezTo>
                <a:cubicBezTo>
                  <a:pt x="2669" y="2190"/>
                  <a:pt x="2669" y="2190"/>
                  <a:pt x="2669" y="2190"/>
                </a:cubicBezTo>
                <a:cubicBezTo>
                  <a:pt x="2716" y="2242"/>
                  <a:pt x="2716" y="2242"/>
                  <a:pt x="2716" y="2242"/>
                </a:cubicBezTo>
                <a:lnTo>
                  <a:pt x="2629" y="224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11" name="Freeform 35"/>
          <p:cNvSpPr>
            <a:spLocks noEditPoints="1"/>
          </p:cNvSpPr>
          <p:nvPr/>
        </p:nvSpPr>
        <p:spPr bwMode="auto">
          <a:xfrm>
            <a:off x="7042638" y="4813769"/>
            <a:ext cx="515636" cy="380076"/>
          </a:xfrm>
          <a:custGeom>
            <a:avLst/>
            <a:gdLst>
              <a:gd name="T0" fmla="*/ 14 w 137"/>
              <a:gd name="T1" fmla="*/ 60 h 101"/>
              <a:gd name="T2" fmla="*/ 14 w 137"/>
              <a:gd name="T3" fmla="*/ 30 h 101"/>
              <a:gd name="T4" fmla="*/ 44 w 137"/>
              <a:gd name="T5" fmla="*/ 30 h 101"/>
              <a:gd name="T6" fmla="*/ 57 w 137"/>
              <a:gd name="T7" fmla="*/ 21 h 101"/>
              <a:gd name="T8" fmla="*/ 58 w 137"/>
              <a:gd name="T9" fmla="*/ 16 h 101"/>
              <a:gd name="T10" fmla="*/ 57 w 137"/>
              <a:gd name="T11" fmla="*/ 10 h 101"/>
              <a:gd name="T12" fmla="*/ 55 w 137"/>
              <a:gd name="T13" fmla="*/ 6 h 101"/>
              <a:gd name="T14" fmla="*/ 100 w 137"/>
              <a:gd name="T15" fmla="*/ 6 h 101"/>
              <a:gd name="T16" fmla="*/ 107 w 137"/>
              <a:gd name="T17" fmla="*/ 13 h 101"/>
              <a:gd name="T18" fmla="*/ 107 w 137"/>
              <a:gd name="T19" fmla="*/ 60 h 101"/>
              <a:gd name="T20" fmla="*/ 100 w 137"/>
              <a:gd name="T21" fmla="*/ 66 h 101"/>
              <a:gd name="T22" fmla="*/ 22 w 137"/>
              <a:gd name="T23" fmla="*/ 66 h 101"/>
              <a:gd name="T24" fmla="*/ 14 w 137"/>
              <a:gd name="T25" fmla="*/ 60 h 101"/>
              <a:gd name="T26" fmla="*/ 0 w 137"/>
              <a:gd name="T27" fmla="*/ 1 h 101"/>
              <a:gd name="T28" fmla="*/ 0 w 137"/>
              <a:gd name="T29" fmla="*/ 30 h 101"/>
              <a:gd name="T30" fmla="*/ 1 w 137"/>
              <a:gd name="T31" fmla="*/ 31 h 101"/>
              <a:gd name="T32" fmla="*/ 10 w 137"/>
              <a:gd name="T33" fmla="*/ 25 h 101"/>
              <a:gd name="T34" fmla="*/ 44 w 137"/>
              <a:gd name="T35" fmla="*/ 25 h 101"/>
              <a:gd name="T36" fmla="*/ 44 w 137"/>
              <a:gd name="T37" fmla="*/ 6 h 101"/>
              <a:gd name="T38" fmla="*/ 10 w 137"/>
              <a:gd name="T39" fmla="*/ 6 h 101"/>
              <a:gd name="T40" fmla="*/ 1 w 137"/>
              <a:gd name="T41" fmla="*/ 0 h 101"/>
              <a:gd name="T42" fmla="*/ 0 w 137"/>
              <a:gd name="T43" fmla="*/ 1 h 101"/>
              <a:gd name="T44" fmla="*/ 46 w 137"/>
              <a:gd name="T45" fmla="*/ 73 h 101"/>
              <a:gd name="T46" fmla="*/ 28 w 137"/>
              <a:gd name="T47" fmla="*/ 91 h 101"/>
              <a:gd name="T48" fmla="*/ 34 w 137"/>
              <a:gd name="T49" fmla="*/ 97 h 101"/>
              <a:gd name="T50" fmla="*/ 58 w 137"/>
              <a:gd name="T51" fmla="*/ 73 h 101"/>
              <a:gd name="T52" fmla="*/ 46 w 137"/>
              <a:gd name="T53" fmla="*/ 73 h 101"/>
              <a:gd name="T54" fmla="*/ 84 w 137"/>
              <a:gd name="T55" fmla="*/ 73 h 101"/>
              <a:gd name="T56" fmla="*/ 102 w 137"/>
              <a:gd name="T57" fmla="*/ 91 h 101"/>
              <a:gd name="T58" fmla="*/ 96 w 137"/>
              <a:gd name="T59" fmla="*/ 97 h 101"/>
              <a:gd name="T60" fmla="*/ 72 w 137"/>
              <a:gd name="T61" fmla="*/ 73 h 101"/>
              <a:gd name="T62" fmla="*/ 84 w 137"/>
              <a:gd name="T63" fmla="*/ 73 h 101"/>
              <a:gd name="T64" fmla="*/ 61 w 137"/>
              <a:gd name="T65" fmla="*/ 73 h 101"/>
              <a:gd name="T66" fmla="*/ 61 w 137"/>
              <a:gd name="T67" fmla="*/ 94 h 101"/>
              <a:gd name="T68" fmla="*/ 69 w 137"/>
              <a:gd name="T69" fmla="*/ 94 h 101"/>
              <a:gd name="T70" fmla="*/ 69 w 137"/>
              <a:gd name="T71" fmla="*/ 73 h 101"/>
              <a:gd name="T72" fmla="*/ 61 w 137"/>
              <a:gd name="T73" fmla="*/ 73 h 101"/>
              <a:gd name="T74" fmla="*/ 135 w 137"/>
              <a:gd name="T75" fmla="*/ 6 h 101"/>
              <a:gd name="T76" fmla="*/ 113 w 137"/>
              <a:gd name="T77" fmla="*/ 20 h 101"/>
              <a:gd name="T78" fmla="*/ 113 w 137"/>
              <a:gd name="T79" fmla="*/ 54 h 101"/>
              <a:gd name="T80" fmla="*/ 135 w 137"/>
              <a:gd name="T81" fmla="*/ 68 h 101"/>
              <a:gd name="T82" fmla="*/ 137 w 137"/>
              <a:gd name="T83" fmla="*/ 67 h 101"/>
              <a:gd name="T84" fmla="*/ 137 w 137"/>
              <a:gd name="T85" fmla="*/ 66 h 101"/>
              <a:gd name="T86" fmla="*/ 137 w 137"/>
              <a:gd name="T87" fmla="*/ 8 h 101"/>
              <a:gd name="T88" fmla="*/ 137 w 137"/>
              <a:gd name="T89" fmla="*/ 7 h 101"/>
              <a:gd name="T90" fmla="*/ 135 w 137"/>
              <a:gd name="T91" fmla="*/ 6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7" h="101">
                <a:moveTo>
                  <a:pt x="14" y="60"/>
                </a:moveTo>
                <a:cubicBezTo>
                  <a:pt x="14" y="30"/>
                  <a:pt x="14" y="30"/>
                  <a:pt x="14" y="30"/>
                </a:cubicBezTo>
                <a:cubicBezTo>
                  <a:pt x="44" y="30"/>
                  <a:pt x="44" y="30"/>
                  <a:pt x="44" y="30"/>
                </a:cubicBezTo>
                <a:cubicBezTo>
                  <a:pt x="51" y="30"/>
                  <a:pt x="55" y="26"/>
                  <a:pt x="57" y="21"/>
                </a:cubicBezTo>
                <a:cubicBezTo>
                  <a:pt x="58" y="19"/>
                  <a:pt x="58" y="18"/>
                  <a:pt x="58" y="16"/>
                </a:cubicBezTo>
                <a:cubicBezTo>
                  <a:pt x="58" y="14"/>
                  <a:pt x="58" y="12"/>
                  <a:pt x="57" y="10"/>
                </a:cubicBezTo>
                <a:cubicBezTo>
                  <a:pt x="57" y="9"/>
                  <a:pt x="56" y="7"/>
                  <a:pt x="55" y="6"/>
                </a:cubicBezTo>
                <a:cubicBezTo>
                  <a:pt x="100" y="6"/>
                  <a:pt x="100" y="6"/>
                  <a:pt x="100" y="6"/>
                </a:cubicBezTo>
                <a:cubicBezTo>
                  <a:pt x="104" y="6"/>
                  <a:pt x="107" y="9"/>
                  <a:pt x="107" y="13"/>
                </a:cubicBezTo>
                <a:cubicBezTo>
                  <a:pt x="107" y="60"/>
                  <a:pt x="107" y="60"/>
                  <a:pt x="107" y="60"/>
                </a:cubicBezTo>
                <a:cubicBezTo>
                  <a:pt x="107" y="63"/>
                  <a:pt x="104" y="66"/>
                  <a:pt x="100" y="66"/>
                </a:cubicBezTo>
                <a:cubicBezTo>
                  <a:pt x="22" y="66"/>
                  <a:pt x="22" y="66"/>
                  <a:pt x="22" y="66"/>
                </a:cubicBezTo>
                <a:cubicBezTo>
                  <a:pt x="17" y="66"/>
                  <a:pt x="14" y="63"/>
                  <a:pt x="14" y="60"/>
                </a:cubicBezTo>
                <a:close/>
                <a:moveTo>
                  <a:pt x="0" y="1"/>
                </a:moveTo>
                <a:cubicBezTo>
                  <a:pt x="0" y="30"/>
                  <a:pt x="0" y="30"/>
                  <a:pt x="0" y="30"/>
                </a:cubicBezTo>
                <a:cubicBezTo>
                  <a:pt x="0" y="31"/>
                  <a:pt x="1" y="31"/>
                  <a:pt x="1" y="31"/>
                </a:cubicBezTo>
                <a:cubicBezTo>
                  <a:pt x="5" y="31"/>
                  <a:pt x="10" y="29"/>
                  <a:pt x="10" y="25"/>
                </a:cubicBezTo>
                <a:cubicBezTo>
                  <a:pt x="44" y="25"/>
                  <a:pt x="44" y="25"/>
                  <a:pt x="44" y="25"/>
                </a:cubicBezTo>
                <a:cubicBezTo>
                  <a:pt x="56" y="25"/>
                  <a:pt x="56" y="6"/>
                  <a:pt x="44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0" y="2"/>
                  <a:pt x="5" y="0"/>
                  <a:pt x="1" y="0"/>
                </a:cubicBezTo>
                <a:cubicBezTo>
                  <a:pt x="1" y="0"/>
                  <a:pt x="0" y="0"/>
                  <a:pt x="0" y="1"/>
                </a:cubicBezTo>
                <a:close/>
                <a:moveTo>
                  <a:pt x="46" y="73"/>
                </a:moveTo>
                <a:cubicBezTo>
                  <a:pt x="28" y="91"/>
                  <a:pt x="28" y="91"/>
                  <a:pt x="28" y="91"/>
                </a:cubicBezTo>
                <a:cubicBezTo>
                  <a:pt x="24" y="95"/>
                  <a:pt x="30" y="101"/>
                  <a:pt x="34" y="97"/>
                </a:cubicBezTo>
                <a:cubicBezTo>
                  <a:pt x="58" y="73"/>
                  <a:pt x="58" y="73"/>
                  <a:pt x="58" y="73"/>
                </a:cubicBezTo>
                <a:cubicBezTo>
                  <a:pt x="46" y="73"/>
                  <a:pt x="46" y="73"/>
                  <a:pt x="46" y="73"/>
                </a:cubicBezTo>
                <a:close/>
                <a:moveTo>
                  <a:pt x="84" y="73"/>
                </a:moveTo>
                <a:cubicBezTo>
                  <a:pt x="102" y="91"/>
                  <a:pt x="102" y="91"/>
                  <a:pt x="102" y="91"/>
                </a:cubicBezTo>
                <a:cubicBezTo>
                  <a:pt x="106" y="95"/>
                  <a:pt x="100" y="101"/>
                  <a:pt x="96" y="97"/>
                </a:cubicBezTo>
                <a:cubicBezTo>
                  <a:pt x="72" y="73"/>
                  <a:pt x="72" y="73"/>
                  <a:pt x="72" y="73"/>
                </a:cubicBezTo>
                <a:cubicBezTo>
                  <a:pt x="84" y="73"/>
                  <a:pt x="84" y="73"/>
                  <a:pt x="84" y="73"/>
                </a:cubicBezTo>
                <a:close/>
                <a:moveTo>
                  <a:pt x="61" y="73"/>
                </a:moveTo>
                <a:cubicBezTo>
                  <a:pt x="61" y="94"/>
                  <a:pt x="61" y="94"/>
                  <a:pt x="61" y="94"/>
                </a:cubicBezTo>
                <a:cubicBezTo>
                  <a:pt x="61" y="100"/>
                  <a:pt x="69" y="100"/>
                  <a:pt x="69" y="94"/>
                </a:cubicBezTo>
                <a:cubicBezTo>
                  <a:pt x="69" y="73"/>
                  <a:pt x="69" y="73"/>
                  <a:pt x="69" y="73"/>
                </a:cubicBezTo>
                <a:cubicBezTo>
                  <a:pt x="61" y="73"/>
                  <a:pt x="61" y="73"/>
                  <a:pt x="61" y="73"/>
                </a:cubicBezTo>
                <a:close/>
                <a:moveTo>
                  <a:pt x="135" y="6"/>
                </a:moveTo>
                <a:cubicBezTo>
                  <a:pt x="125" y="7"/>
                  <a:pt x="113" y="12"/>
                  <a:pt x="113" y="20"/>
                </a:cubicBezTo>
                <a:cubicBezTo>
                  <a:pt x="113" y="54"/>
                  <a:pt x="113" y="54"/>
                  <a:pt x="113" y="54"/>
                </a:cubicBezTo>
                <a:cubicBezTo>
                  <a:pt x="113" y="62"/>
                  <a:pt x="125" y="67"/>
                  <a:pt x="135" y="68"/>
                </a:cubicBezTo>
                <a:cubicBezTo>
                  <a:pt x="135" y="68"/>
                  <a:pt x="136" y="68"/>
                  <a:pt x="137" y="67"/>
                </a:cubicBezTo>
                <a:cubicBezTo>
                  <a:pt x="137" y="67"/>
                  <a:pt x="137" y="66"/>
                  <a:pt x="137" y="66"/>
                </a:cubicBezTo>
                <a:cubicBezTo>
                  <a:pt x="137" y="8"/>
                  <a:pt x="137" y="8"/>
                  <a:pt x="137" y="8"/>
                </a:cubicBezTo>
                <a:cubicBezTo>
                  <a:pt x="137" y="8"/>
                  <a:pt x="137" y="7"/>
                  <a:pt x="137" y="7"/>
                </a:cubicBezTo>
                <a:cubicBezTo>
                  <a:pt x="136" y="6"/>
                  <a:pt x="135" y="6"/>
                  <a:pt x="135" y="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32653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14:window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39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"/>
              <a:sym typeface="Arial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7BE063-69D9-4DE9-A028-46E00C9DA6B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SERVICES</a:t>
            </a:r>
            <a:endParaRPr lang="en-US" dirty="0"/>
          </a:p>
        </p:txBody>
      </p:sp>
      <p:grpSp>
        <p:nvGrpSpPr>
          <p:cNvPr id="46" name="Group 45"/>
          <p:cNvGrpSpPr/>
          <p:nvPr/>
        </p:nvGrpSpPr>
        <p:grpSpPr>
          <a:xfrm>
            <a:off x="3815739" y="1086976"/>
            <a:ext cx="7484832" cy="4755164"/>
            <a:chOff x="2667000" y="304800"/>
            <a:chExt cx="9145586" cy="5810252"/>
          </a:xfrm>
        </p:grpSpPr>
        <p:grpSp>
          <p:nvGrpSpPr>
            <p:cNvPr id="6" name="Group 5" title="Megaphone">
              <a:extLst>
                <a:ext uri="{FF2B5EF4-FFF2-40B4-BE49-F238E27FC236}">
                  <a16:creationId xmlns:a16="http://schemas.microsoft.com/office/drawing/2014/main" xmlns="" id="{A57AF911-B45C-0645-9306-FB4C59B7BE32}"/>
                </a:ext>
              </a:extLst>
            </p:cNvPr>
            <p:cNvGrpSpPr/>
            <p:nvPr/>
          </p:nvGrpSpPr>
          <p:grpSpPr>
            <a:xfrm>
              <a:off x="2667000" y="628650"/>
              <a:ext cx="5943817" cy="5486402"/>
              <a:chOff x="2667000" y="628650"/>
              <a:chExt cx="5943817" cy="5486402"/>
            </a:xfrm>
          </p:grpSpPr>
          <p:grpSp>
            <p:nvGrpSpPr>
              <p:cNvPr id="7" name="Group 82">
                <a:extLst>
                  <a:ext uri="{FF2B5EF4-FFF2-40B4-BE49-F238E27FC236}">
                    <a16:creationId xmlns:a16="http://schemas.microsoft.com/office/drawing/2014/main" xmlns="" id="{892B1603-81CE-E845-A7E9-D79D57AE8DDA}"/>
                  </a:ext>
                </a:extLst>
              </p:cNvPr>
              <p:cNvGrpSpPr/>
              <p:nvPr userDrawn="1"/>
            </p:nvGrpSpPr>
            <p:grpSpPr>
              <a:xfrm>
                <a:off x="2667000" y="628650"/>
                <a:ext cx="5943817" cy="5486402"/>
                <a:chOff x="2665412" y="685800"/>
                <a:chExt cx="5943817" cy="5486402"/>
              </a:xfrm>
            </p:grpSpPr>
            <p:grpSp>
              <p:nvGrpSpPr>
                <p:cNvPr id="10" name="Group 32">
                  <a:extLst>
                    <a:ext uri="{FF2B5EF4-FFF2-40B4-BE49-F238E27FC236}">
                      <a16:creationId xmlns:a16="http://schemas.microsoft.com/office/drawing/2014/main" xmlns="" id="{3A405A5B-18FC-0C4B-B080-911E11A4416C}"/>
                    </a:ext>
                  </a:extLst>
                </p:cNvPr>
                <p:cNvGrpSpPr/>
                <p:nvPr/>
              </p:nvGrpSpPr>
              <p:grpSpPr>
                <a:xfrm>
                  <a:off x="2784792" y="4006851"/>
                  <a:ext cx="1630681" cy="2165351"/>
                  <a:chOff x="2498725" y="4151313"/>
                  <a:chExt cx="2038350" cy="2706688"/>
                </a:xfrm>
              </p:grpSpPr>
              <p:grpSp>
                <p:nvGrpSpPr>
                  <p:cNvPr id="25" name="Group 31">
                    <a:extLst>
                      <a:ext uri="{FF2B5EF4-FFF2-40B4-BE49-F238E27FC236}">
                        <a16:creationId xmlns:a16="http://schemas.microsoft.com/office/drawing/2014/main" xmlns="" id="{E2F972BC-3529-6E4F-AE6F-BB94B204C582}"/>
                      </a:ext>
                    </a:extLst>
                  </p:cNvPr>
                  <p:cNvGrpSpPr/>
                  <p:nvPr/>
                </p:nvGrpSpPr>
                <p:grpSpPr>
                  <a:xfrm>
                    <a:off x="3544888" y="4208463"/>
                    <a:ext cx="862012" cy="911225"/>
                    <a:chOff x="3544888" y="4208463"/>
                    <a:chExt cx="862012" cy="911225"/>
                  </a:xfrm>
                </p:grpSpPr>
                <p:sp>
                  <p:nvSpPr>
                    <p:cNvPr id="36" name="Freeform 5">
                      <a:extLst>
                        <a:ext uri="{FF2B5EF4-FFF2-40B4-BE49-F238E27FC236}">
                          <a16:creationId xmlns:a16="http://schemas.microsoft.com/office/drawing/2014/main" xmlns="" id="{2E567D13-6708-974A-B16F-6D9BC18EA1C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622675" y="4208463"/>
                      <a:ext cx="784225" cy="911225"/>
                    </a:xfrm>
                    <a:custGeom>
                      <a:avLst/>
                      <a:gdLst/>
                      <a:ahLst/>
                      <a:cxnLst>
                        <a:cxn ang="0">
                          <a:pos x="989" y="0"/>
                        </a:cxn>
                        <a:cxn ang="0">
                          <a:pos x="300" y="1148"/>
                        </a:cxn>
                        <a:cxn ang="0">
                          <a:pos x="0" y="671"/>
                        </a:cxn>
                        <a:cxn ang="0">
                          <a:pos x="494" y="57"/>
                        </a:cxn>
                        <a:cxn ang="0">
                          <a:pos x="989" y="0"/>
                        </a:cxn>
                      </a:cxnLst>
                      <a:rect l="0" t="0" r="r" b="b"/>
                      <a:pathLst>
                        <a:path w="989" h="1148">
                          <a:moveTo>
                            <a:pt x="989" y="0"/>
                          </a:moveTo>
                          <a:lnTo>
                            <a:pt x="300" y="1148"/>
                          </a:lnTo>
                          <a:lnTo>
                            <a:pt x="0" y="671"/>
                          </a:lnTo>
                          <a:lnTo>
                            <a:pt x="494" y="57"/>
                          </a:lnTo>
                          <a:lnTo>
                            <a:pt x="989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chemeClr val="accent6">
                            <a:lumMod val="50000"/>
                          </a:schemeClr>
                        </a:gs>
                        <a:gs pos="100000">
                          <a:schemeClr val="accent6">
                            <a:lumMod val="50000"/>
                          </a:schemeClr>
                        </a:gs>
                      </a:gsLst>
                      <a:lin ang="0" scaled="1"/>
                      <a:tileRect/>
                    </a:gra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7" name="Freeform 6">
                      <a:extLst>
                        <a:ext uri="{FF2B5EF4-FFF2-40B4-BE49-F238E27FC236}">
                          <a16:creationId xmlns:a16="http://schemas.microsoft.com/office/drawing/2014/main" xmlns="" id="{3294C28A-43F1-EA45-AF7A-6C3E5203B7E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544888" y="4208463"/>
                      <a:ext cx="785813" cy="911225"/>
                    </a:xfrm>
                    <a:custGeom>
                      <a:avLst/>
                      <a:gdLst/>
                      <a:ahLst/>
                      <a:cxnLst>
                        <a:cxn ang="0">
                          <a:pos x="991" y="0"/>
                        </a:cxn>
                        <a:cxn ang="0">
                          <a:pos x="302" y="1148"/>
                        </a:cxn>
                        <a:cxn ang="0">
                          <a:pos x="0" y="671"/>
                        </a:cxn>
                        <a:cxn ang="0">
                          <a:pos x="495" y="57"/>
                        </a:cxn>
                        <a:cxn ang="0">
                          <a:pos x="991" y="0"/>
                        </a:cxn>
                      </a:cxnLst>
                      <a:rect l="0" t="0" r="r" b="b"/>
                      <a:pathLst>
                        <a:path w="991" h="1148">
                          <a:moveTo>
                            <a:pt x="991" y="0"/>
                          </a:moveTo>
                          <a:lnTo>
                            <a:pt x="302" y="1148"/>
                          </a:lnTo>
                          <a:lnTo>
                            <a:pt x="0" y="671"/>
                          </a:lnTo>
                          <a:lnTo>
                            <a:pt x="495" y="57"/>
                          </a:lnTo>
                          <a:lnTo>
                            <a:pt x="991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chemeClr val="accent6">
                            <a:lumMod val="75000"/>
                          </a:schemeClr>
                        </a:gs>
                        <a:gs pos="100000">
                          <a:schemeClr val="accent6">
                            <a:lumMod val="50000"/>
                          </a:schemeClr>
                        </a:gs>
                      </a:gsLst>
                      <a:lin ang="0" scaled="1"/>
                      <a:tileRect/>
                    </a:gra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  <p:grpSp>
                <p:nvGrpSpPr>
                  <p:cNvPr id="26" name="Group 29">
                    <a:extLst>
                      <a:ext uri="{FF2B5EF4-FFF2-40B4-BE49-F238E27FC236}">
                        <a16:creationId xmlns:a16="http://schemas.microsoft.com/office/drawing/2014/main" xmlns="" id="{487B3913-8D62-414F-A9D0-D4FC8959CFC7}"/>
                      </a:ext>
                    </a:extLst>
                  </p:cNvPr>
                  <p:cNvGrpSpPr/>
                  <p:nvPr/>
                </p:nvGrpSpPr>
                <p:grpSpPr>
                  <a:xfrm>
                    <a:off x="2498725" y="4151313"/>
                    <a:ext cx="2038350" cy="2706688"/>
                    <a:chOff x="2498725" y="4151313"/>
                    <a:chExt cx="2038350" cy="2706688"/>
                  </a:xfrm>
                </p:grpSpPr>
                <p:sp>
                  <p:nvSpPr>
                    <p:cNvPr id="27" name="Freeform 18">
                      <a:extLst>
                        <a:ext uri="{FF2B5EF4-FFF2-40B4-BE49-F238E27FC236}">
                          <a16:creationId xmlns:a16="http://schemas.microsoft.com/office/drawing/2014/main" xmlns="" id="{A8991999-C795-9849-9D35-6E93C1E678B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98725" y="4151313"/>
                      <a:ext cx="2038350" cy="2706688"/>
                    </a:xfrm>
                    <a:custGeom>
                      <a:avLst/>
                      <a:gdLst/>
                      <a:ahLst/>
                      <a:cxnLst>
                        <a:cxn ang="0">
                          <a:pos x="883" y="50"/>
                        </a:cxn>
                        <a:cxn ang="0">
                          <a:pos x="757" y="183"/>
                        </a:cxn>
                        <a:cxn ang="0">
                          <a:pos x="656" y="323"/>
                        </a:cxn>
                        <a:cxn ang="0">
                          <a:pos x="598" y="428"/>
                        </a:cxn>
                        <a:cxn ang="0">
                          <a:pos x="559" y="540"/>
                        </a:cxn>
                        <a:cxn ang="0">
                          <a:pos x="545" y="625"/>
                        </a:cxn>
                        <a:cxn ang="0">
                          <a:pos x="541" y="734"/>
                        </a:cxn>
                        <a:cxn ang="0">
                          <a:pos x="560" y="902"/>
                        </a:cxn>
                        <a:cxn ang="0">
                          <a:pos x="598" y="1046"/>
                        </a:cxn>
                        <a:cxn ang="0">
                          <a:pos x="636" y="1138"/>
                        </a:cxn>
                        <a:cxn ang="0">
                          <a:pos x="593" y="1377"/>
                        </a:cxn>
                        <a:cxn ang="0">
                          <a:pos x="474" y="1933"/>
                        </a:cxn>
                        <a:cxn ang="0">
                          <a:pos x="391" y="2252"/>
                        </a:cxn>
                        <a:cxn ang="0">
                          <a:pos x="296" y="2559"/>
                        </a:cxn>
                        <a:cxn ang="0">
                          <a:pos x="191" y="2821"/>
                        </a:cxn>
                        <a:cxn ang="0">
                          <a:pos x="121" y="2949"/>
                        </a:cxn>
                        <a:cxn ang="0">
                          <a:pos x="78" y="3009"/>
                        </a:cxn>
                        <a:cxn ang="0">
                          <a:pos x="28" y="3087"/>
                        </a:cxn>
                        <a:cxn ang="0">
                          <a:pos x="4" y="3154"/>
                        </a:cxn>
                        <a:cxn ang="0">
                          <a:pos x="4" y="3229"/>
                        </a:cxn>
                        <a:cxn ang="0">
                          <a:pos x="23" y="3275"/>
                        </a:cxn>
                        <a:cxn ang="0">
                          <a:pos x="52" y="3310"/>
                        </a:cxn>
                        <a:cxn ang="0">
                          <a:pos x="98" y="3341"/>
                        </a:cxn>
                        <a:cxn ang="0">
                          <a:pos x="159" y="3368"/>
                        </a:cxn>
                        <a:cxn ang="0">
                          <a:pos x="264" y="3394"/>
                        </a:cxn>
                        <a:cxn ang="0">
                          <a:pos x="505" y="3411"/>
                        </a:cxn>
                        <a:cxn ang="0">
                          <a:pos x="911" y="3408"/>
                        </a:cxn>
                        <a:cxn ang="0">
                          <a:pos x="1295" y="3387"/>
                        </a:cxn>
                        <a:cxn ang="0">
                          <a:pos x="1470" y="3362"/>
                        </a:cxn>
                        <a:cxn ang="0">
                          <a:pos x="1608" y="3329"/>
                        </a:cxn>
                        <a:cxn ang="0">
                          <a:pos x="1711" y="3281"/>
                        </a:cxn>
                        <a:cxn ang="0">
                          <a:pos x="1772" y="3219"/>
                        </a:cxn>
                        <a:cxn ang="0">
                          <a:pos x="1788" y="3182"/>
                        </a:cxn>
                        <a:cxn ang="0">
                          <a:pos x="1794" y="3138"/>
                        </a:cxn>
                        <a:cxn ang="0">
                          <a:pos x="1781" y="3003"/>
                        </a:cxn>
                        <a:cxn ang="0">
                          <a:pos x="1692" y="2523"/>
                        </a:cxn>
                        <a:cxn ang="0">
                          <a:pos x="1642" y="2206"/>
                        </a:cxn>
                        <a:cxn ang="0">
                          <a:pos x="1620" y="1956"/>
                        </a:cxn>
                        <a:cxn ang="0">
                          <a:pos x="1626" y="1728"/>
                        </a:cxn>
                        <a:cxn ang="0">
                          <a:pos x="1642" y="1627"/>
                        </a:cxn>
                        <a:cxn ang="0">
                          <a:pos x="1671" y="1537"/>
                        </a:cxn>
                        <a:cxn ang="0">
                          <a:pos x="1708" y="1462"/>
                        </a:cxn>
                        <a:cxn ang="0">
                          <a:pos x="1748" y="1337"/>
                        </a:cxn>
                        <a:cxn ang="0">
                          <a:pos x="1743" y="1245"/>
                        </a:cxn>
                        <a:cxn ang="0">
                          <a:pos x="1708" y="1173"/>
                        </a:cxn>
                        <a:cxn ang="0">
                          <a:pos x="1642" y="1098"/>
                        </a:cxn>
                        <a:cxn ang="0">
                          <a:pos x="1576" y="1029"/>
                        </a:cxn>
                        <a:cxn ang="0">
                          <a:pos x="1540" y="965"/>
                        </a:cxn>
                        <a:cxn ang="0">
                          <a:pos x="1534" y="884"/>
                        </a:cxn>
                        <a:cxn ang="0">
                          <a:pos x="1576" y="720"/>
                        </a:cxn>
                        <a:cxn ang="0">
                          <a:pos x="1628" y="576"/>
                        </a:cxn>
                        <a:cxn ang="0">
                          <a:pos x="1670" y="502"/>
                        </a:cxn>
                        <a:cxn ang="0">
                          <a:pos x="1726" y="433"/>
                        </a:cxn>
                        <a:cxn ang="0">
                          <a:pos x="1798" y="370"/>
                        </a:cxn>
                        <a:cxn ang="0">
                          <a:pos x="1891" y="311"/>
                        </a:cxn>
                        <a:cxn ang="0">
                          <a:pos x="1976" y="269"/>
                        </a:cxn>
                        <a:cxn ang="0">
                          <a:pos x="2211" y="182"/>
                        </a:cxn>
                        <a:cxn ang="0">
                          <a:pos x="2476" y="96"/>
                        </a:cxn>
                        <a:cxn ang="0">
                          <a:pos x="2539" y="62"/>
                        </a:cxn>
                        <a:cxn ang="0">
                          <a:pos x="2565" y="29"/>
                        </a:cxn>
                        <a:cxn ang="0">
                          <a:pos x="2569" y="0"/>
                        </a:cxn>
                      </a:cxnLst>
                      <a:rect l="0" t="0" r="r" b="b"/>
                      <a:pathLst>
                        <a:path w="2569" h="3411">
                          <a:moveTo>
                            <a:pt x="937" y="0"/>
                          </a:moveTo>
                          <a:lnTo>
                            <a:pt x="937" y="0"/>
                          </a:lnTo>
                          <a:lnTo>
                            <a:pt x="922" y="13"/>
                          </a:lnTo>
                          <a:lnTo>
                            <a:pt x="883" y="50"/>
                          </a:lnTo>
                          <a:lnTo>
                            <a:pt x="855" y="77"/>
                          </a:lnTo>
                          <a:lnTo>
                            <a:pt x="825" y="108"/>
                          </a:lnTo>
                          <a:lnTo>
                            <a:pt x="792" y="144"/>
                          </a:lnTo>
                          <a:lnTo>
                            <a:pt x="757" y="183"/>
                          </a:lnTo>
                          <a:lnTo>
                            <a:pt x="722" y="228"/>
                          </a:lnTo>
                          <a:lnTo>
                            <a:pt x="689" y="274"/>
                          </a:lnTo>
                          <a:lnTo>
                            <a:pt x="672" y="298"/>
                          </a:lnTo>
                          <a:lnTo>
                            <a:pt x="656" y="323"/>
                          </a:lnTo>
                          <a:lnTo>
                            <a:pt x="640" y="348"/>
                          </a:lnTo>
                          <a:lnTo>
                            <a:pt x="626" y="375"/>
                          </a:lnTo>
                          <a:lnTo>
                            <a:pt x="612" y="402"/>
                          </a:lnTo>
                          <a:lnTo>
                            <a:pt x="598" y="428"/>
                          </a:lnTo>
                          <a:lnTo>
                            <a:pt x="587" y="455"/>
                          </a:lnTo>
                          <a:lnTo>
                            <a:pt x="576" y="483"/>
                          </a:lnTo>
                          <a:lnTo>
                            <a:pt x="567" y="511"/>
                          </a:lnTo>
                          <a:lnTo>
                            <a:pt x="559" y="540"/>
                          </a:lnTo>
                          <a:lnTo>
                            <a:pt x="553" y="568"/>
                          </a:lnTo>
                          <a:lnTo>
                            <a:pt x="548" y="597"/>
                          </a:lnTo>
                          <a:lnTo>
                            <a:pt x="548" y="597"/>
                          </a:lnTo>
                          <a:lnTo>
                            <a:pt x="545" y="625"/>
                          </a:lnTo>
                          <a:lnTo>
                            <a:pt x="542" y="653"/>
                          </a:lnTo>
                          <a:lnTo>
                            <a:pt x="541" y="680"/>
                          </a:lnTo>
                          <a:lnTo>
                            <a:pt x="541" y="707"/>
                          </a:lnTo>
                          <a:lnTo>
                            <a:pt x="541" y="734"/>
                          </a:lnTo>
                          <a:lnTo>
                            <a:pt x="542" y="759"/>
                          </a:lnTo>
                          <a:lnTo>
                            <a:pt x="546" y="809"/>
                          </a:lnTo>
                          <a:lnTo>
                            <a:pt x="552" y="857"/>
                          </a:lnTo>
                          <a:lnTo>
                            <a:pt x="560" y="902"/>
                          </a:lnTo>
                          <a:lnTo>
                            <a:pt x="568" y="943"/>
                          </a:lnTo>
                          <a:lnTo>
                            <a:pt x="578" y="981"/>
                          </a:lnTo>
                          <a:lnTo>
                            <a:pt x="589" y="1016"/>
                          </a:lnTo>
                          <a:lnTo>
                            <a:pt x="598" y="1046"/>
                          </a:lnTo>
                          <a:lnTo>
                            <a:pt x="609" y="1073"/>
                          </a:lnTo>
                          <a:lnTo>
                            <a:pt x="618" y="1096"/>
                          </a:lnTo>
                          <a:lnTo>
                            <a:pt x="632" y="1126"/>
                          </a:lnTo>
                          <a:lnTo>
                            <a:pt x="636" y="1138"/>
                          </a:lnTo>
                          <a:lnTo>
                            <a:pt x="636" y="1138"/>
                          </a:lnTo>
                          <a:lnTo>
                            <a:pt x="626" y="1203"/>
                          </a:lnTo>
                          <a:lnTo>
                            <a:pt x="612" y="1278"/>
                          </a:lnTo>
                          <a:lnTo>
                            <a:pt x="593" y="1377"/>
                          </a:lnTo>
                          <a:lnTo>
                            <a:pt x="570" y="1497"/>
                          </a:lnTo>
                          <a:lnTo>
                            <a:pt x="542" y="1631"/>
                          </a:lnTo>
                          <a:lnTo>
                            <a:pt x="510" y="1778"/>
                          </a:lnTo>
                          <a:lnTo>
                            <a:pt x="474" y="1933"/>
                          </a:lnTo>
                          <a:lnTo>
                            <a:pt x="454" y="2012"/>
                          </a:lnTo>
                          <a:lnTo>
                            <a:pt x="434" y="2092"/>
                          </a:lnTo>
                          <a:lnTo>
                            <a:pt x="414" y="2172"/>
                          </a:lnTo>
                          <a:lnTo>
                            <a:pt x="391" y="2252"/>
                          </a:lnTo>
                          <a:lnTo>
                            <a:pt x="368" y="2331"/>
                          </a:lnTo>
                          <a:lnTo>
                            <a:pt x="345" y="2409"/>
                          </a:lnTo>
                          <a:lnTo>
                            <a:pt x="321" y="2485"/>
                          </a:lnTo>
                          <a:lnTo>
                            <a:pt x="296" y="2559"/>
                          </a:lnTo>
                          <a:lnTo>
                            <a:pt x="271" y="2630"/>
                          </a:lnTo>
                          <a:lnTo>
                            <a:pt x="245" y="2697"/>
                          </a:lnTo>
                          <a:lnTo>
                            <a:pt x="218" y="2761"/>
                          </a:lnTo>
                          <a:lnTo>
                            <a:pt x="191" y="2821"/>
                          </a:lnTo>
                          <a:lnTo>
                            <a:pt x="164" y="2876"/>
                          </a:lnTo>
                          <a:lnTo>
                            <a:pt x="149" y="2902"/>
                          </a:lnTo>
                          <a:lnTo>
                            <a:pt x="135" y="2927"/>
                          </a:lnTo>
                          <a:lnTo>
                            <a:pt x="121" y="2949"/>
                          </a:lnTo>
                          <a:lnTo>
                            <a:pt x="107" y="2971"/>
                          </a:lnTo>
                          <a:lnTo>
                            <a:pt x="92" y="2991"/>
                          </a:lnTo>
                          <a:lnTo>
                            <a:pt x="78" y="3009"/>
                          </a:lnTo>
                          <a:lnTo>
                            <a:pt x="78" y="3009"/>
                          </a:lnTo>
                          <a:lnTo>
                            <a:pt x="64" y="3027"/>
                          </a:lnTo>
                          <a:lnTo>
                            <a:pt x="50" y="3046"/>
                          </a:lnTo>
                          <a:lnTo>
                            <a:pt x="35" y="3072"/>
                          </a:lnTo>
                          <a:lnTo>
                            <a:pt x="28" y="3087"/>
                          </a:lnTo>
                          <a:lnTo>
                            <a:pt x="20" y="3102"/>
                          </a:lnTo>
                          <a:lnTo>
                            <a:pt x="14" y="3118"/>
                          </a:lnTo>
                          <a:lnTo>
                            <a:pt x="8" y="3136"/>
                          </a:lnTo>
                          <a:lnTo>
                            <a:pt x="4" y="3154"/>
                          </a:lnTo>
                          <a:lnTo>
                            <a:pt x="1" y="3173"/>
                          </a:lnTo>
                          <a:lnTo>
                            <a:pt x="0" y="3192"/>
                          </a:lnTo>
                          <a:lnTo>
                            <a:pt x="0" y="3210"/>
                          </a:lnTo>
                          <a:lnTo>
                            <a:pt x="4" y="3229"/>
                          </a:lnTo>
                          <a:lnTo>
                            <a:pt x="9" y="3247"/>
                          </a:lnTo>
                          <a:lnTo>
                            <a:pt x="13" y="3257"/>
                          </a:lnTo>
                          <a:lnTo>
                            <a:pt x="18" y="3266"/>
                          </a:lnTo>
                          <a:lnTo>
                            <a:pt x="23" y="3275"/>
                          </a:lnTo>
                          <a:lnTo>
                            <a:pt x="29" y="3284"/>
                          </a:lnTo>
                          <a:lnTo>
                            <a:pt x="36" y="3293"/>
                          </a:lnTo>
                          <a:lnTo>
                            <a:pt x="44" y="3302"/>
                          </a:lnTo>
                          <a:lnTo>
                            <a:pt x="52" y="3310"/>
                          </a:lnTo>
                          <a:lnTo>
                            <a:pt x="63" y="3318"/>
                          </a:lnTo>
                          <a:lnTo>
                            <a:pt x="73" y="3326"/>
                          </a:lnTo>
                          <a:lnTo>
                            <a:pt x="85" y="3333"/>
                          </a:lnTo>
                          <a:lnTo>
                            <a:pt x="98" y="3341"/>
                          </a:lnTo>
                          <a:lnTo>
                            <a:pt x="112" y="3348"/>
                          </a:lnTo>
                          <a:lnTo>
                            <a:pt x="126" y="3355"/>
                          </a:lnTo>
                          <a:lnTo>
                            <a:pt x="142" y="3362"/>
                          </a:lnTo>
                          <a:lnTo>
                            <a:pt x="159" y="3368"/>
                          </a:lnTo>
                          <a:lnTo>
                            <a:pt x="178" y="3374"/>
                          </a:lnTo>
                          <a:lnTo>
                            <a:pt x="198" y="3380"/>
                          </a:lnTo>
                          <a:lnTo>
                            <a:pt x="218" y="3384"/>
                          </a:lnTo>
                          <a:lnTo>
                            <a:pt x="264" y="3394"/>
                          </a:lnTo>
                          <a:lnTo>
                            <a:pt x="316" y="3402"/>
                          </a:lnTo>
                          <a:lnTo>
                            <a:pt x="373" y="3406"/>
                          </a:lnTo>
                          <a:lnTo>
                            <a:pt x="436" y="3410"/>
                          </a:lnTo>
                          <a:lnTo>
                            <a:pt x="505" y="3411"/>
                          </a:lnTo>
                          <a:lnTo>
                            <a:pt x="505" y="3411"/>
                          </a:lnTo>
                          <a:lnTo>
                            <a:pt x="648" y="3411"/>
                          </a:lnTo>
                          <a:lnTo>
                            <a:pt x="783" y="3410"/>
                          </a:lnTo>
                          <a:lnTo>
                            <a:pt x="911" y="3408"/>
                          </a:lnTo>
                          <a:lnTo>
                            <a:pt x="1030" y="3403"/>
                          </a:lnTo>
                          <a:lnTo>
                            <a:pt x="1143" y="3398"/>
                          </a:lnTo>
                          <a:lnTo>
                            <a:pt x="1246" y="3391"/>
                          </a:lnTo>
                          <a:lnTo>
                            <a:pt x="1295" y="3387"/>
                          </a:lnTo>
                          <a:lnTo>
                            <a:pt x="1342" y="3381"/>
                          </a:lnTo>
                          <a:lnTo>
                            <a:pt x="1387" y="3376"/>
                          </a:lnTo>
                          <a:lnTo>
                            <a:pt x="1430" y="3369"/>
                          </a:lnTo>
                          <a:lnTo>
                            <a:pt x="1470" y="3362"/>
                          </a:lnTo>
                          <a:lnTo>
                            <a:pt x="1507" y="3355"/>
                          </a:lnTo>
                          <a:lnTo>
                            <a:pt x="1543" y="3347"/>
                          </a:lnTo>
                          <a:lnTo>
                            <a:pt x="1577" y="3338"/>
                          </a:lnTo>
                          <a:lnTo>
                            <a:pt x="1608" y="3329"/>
                          </a:lnTo>
                          <a:lnTo>
                            <a:pt x="1637" y="3318"/>
                          </a:lnTo>
                          <a:lnTo>
                            <a:pt x="1664" y="3307"/>
                          </a:lnTo>
                          <a:lnTo>
                            <a:pt x="1689" y="3294"/>
                          </a:lnTo>
                          <a:lnTo>
                            <a:pt x="1711" y="3281"/>
                          </a:lnTo>
                          <a:lnTo>
                            <a:pt x="1729" y="3267"/>
                          </a:lnTo>
                          <a:lnTo>
                            <a:pt x="1747" y="3252"/>
                          </a:lnTo>
                          <a:lnTo>
                            <a:pt x="1761" y="3236"/>
                          </a:lnTo>
                          <a:lnTo>
                            <a:pt x="1772" y="3219"/>
                          </a:lnTo>
                          <a:lnTo>
                            <a:pt x="1778" y="3210"/>
                          </a:lnTo>
                          <a:lnTo>
                            <a:pt x="1781" y="3201"/>
                          </a:lnTo>
                          <a:lnTo>
                            <a:pt x="1785" y="3192"/>
                          </a:lnTo>
                          <a:lnTo>
                            <a:pt x="1788" y="3182"/>
                          </a:lnTo>
                          <a:lnTo>
                            <a:pt x="1791" y="3172"/>
                          </a:lnTo>
                          <a:lnTo>
                            <a:pt x="1792" y="3161"/>
                          </a:lnTo>
                          <a:lnTo>
                            <a:pt x="1792" y="3161"/>
                          </a:lnTo>
                          <a:lnTo>
                            <a:pt x="1794" y="3138"/>
                          </a:lnTo>
                          <a:lnTo>
                            <a:pt x="1793" y="3110"/>
                          </a:lnTo>
                          <a:lnTo>
                            <a:pt x="1791" y="3079"/>
                          </a:lnTo>
                          <a:lnTo>
                            <a:pt x="1787" y="3043"/>
                          </a:lnTo>
                          <a:lnTo>
                            <a:pt x="1781" y="3003"/>
                          </a:lnTo>
                          <a:lnTo>
                            <a:pt x="1774" y="2961"/>
                          </a:lnTo>
                          <a:lnTo>
                            <a:pt x="1758" y="2864"/>
                          </a:lnTo>
                          <a:lnTo>
                            <a:pt x="1715" y="2644"/>
                          </a:lnTo>
                          <a:lnTo>
                            <a:pt x="1692" y="2523"/>
                          </a:lnTo>
                          <a:lnTo>
                            <a:pt x="1670" y="2397"/>
                          </a:lnTo>
                          <a:lnTo>
                            <a:pt x="1659" y="2334"/>
                          </a:lnTo>
                          <a:lnTo>
                            <a:pt x="1650" y="2270"/>
                          </a:lnTo>
                          <a:lnTo>
                            <a:pt x="1642" y="2206"/>
                          </a:lnTo>
                          <a:lnTo>
                            <a:pt x="1634" y="2142"/>
                          </a:lnTo>
                          <a:lnTo>
                            <a:pt x="1628" y="2079"/>
                          </a:lnTo>
                          <a:lnTo>
                            <a:pt x="1623" y="2017"/>
                          </a:lnTo>
                          <a:lnTo>
                            <a:pt x="1620" y="1956"/>
                          </a:lnTo>
                          <a:lnTo>
                            <a:pt x="1618" y="1896"/>
                          </a:lnTo>
                          <a:lnTo>
                            <a:pt x="1619" y="1838"/>
                          </a:lnTo>
                          <a:lnTo>
                            <a:pt x="1621" y="1782"/>
                          </a:lnTo>
                          <a:lnTo>
                            <a:pt x="1626" y="1728"/>
                          </a:lnTo>
                          <a:lnTo>
                            <a:pt x="1629" y="1701"/>
                          </a:lnTo>
                          <a:lnTo>
                            <a:pt x="1633" y="1675"/>
                          </a:lnTo>
                          <a:lnTo>
                            <a:pt x="1637" y="1651"/>
                          </a:lnTo>
                          <a:lnTo>
                            <a:pt x="1642" y="1627"/>
                          </a:lnTo>
                          <a:lnTo>
                            <a:pt x="1649" y="1603"/>
                          </a:lnTo>
                          <a:lnTo>
                            <a:pt x="1655" y="1580"/>
                          </a:lnTo>
                          <a:lnTo>
                            <a:pt x="1663" y="1558"/>
                          </a:lnTo>
                          <a:lnTo>
                            <a:pt x="1671" y="1537"/>
                          </a:lnTo>
                          <a:lnTo>
                            <a:pt x="1679" y="1517"/>
                          </a:lnTo>
                          <a:lnTo>
                            <a:pt x="1690" y="1498"/>
                          </a:lnTo>
                          <a:lnTo>
                            <a:pt x="1690" y="1498"/>
                          </a:lnTo>
                          <a:lnTo>
                            <a:pt x="1708" y="1462"/>
                          </a:lnTo>
                          <a:lnTo>
                            <a:pt x="1722" y="1427"/>
                          </a:lnTo>
                          <a:lnTo>
                            <a:pt x="1734" y="1396"/>
                          </a:lnTo>
                          <a:lnTo>
                            <a:pt x="1742" y="1365"/>
                          </a:lnTo>
                          <a:lnTo>
                            <a:pt x="1748" y="1337"/>
                          </a:lnTo>
                          <a:lnTo>
                            <a:pt x="1750" y="1312"/>
                          </a:lnTo>
                          <a:lnTo>
                            <a:pt x="1750" y="1288"/>
                          </a:lnTo>
                          <a:lnTo>
                            <a:pt x="1748" y="1266"/>
                          </a:lnTo>
                          <a:lnTo>
                            <a:pt x="1743" y="1245"/>
                          </a:lnTo>
                          <a:lnTo>
                            <a:pt x="1737" y="1225"/>
                          </a:lnTo>
                          <a:lnTo>
                            <a:pt x="1729" y="1206"/>
                          </a:lnTo>
                          <a:lnTo>
                            <a:pt x="1719" y="1189"/>
                          </a:lnTo>
                          <a:lnTo>
                            <a:pt x="1708" y="1173"/>
                          </a:lnTo>
                          <a:lnTo>
                            <a:pt x="1697" y="1156"/>
                          </a:lnTo>
                          <a:lnTo>
                            <a:pt x="1684" y="1141"/>
                          </a:lnTo>
                          <a:lnTo>
                            <a:pt x="1670" y="1127"/>
                          </a:lnTo>
                          <a:lnTo>
                            <a:pt x="1642" y="1098"/>
                          </a:lnTo>
                          <a:lnTo>
                            <a:pt x="1614" y="1072"/>
                          </a:lnTo>
                          <a:lnTo>
                            <a:pt x="1600" y="1058"/>
                          </a:lnTo>
                          <a:lnTo>
                            <a:pt x="1587" y="1044"/>
                          </a:lnTo>
                          <a:lnTo>
                            <a:pt x="1576" y="1029"/>
                          </a:lnTo>
                          <a:lnTo>
                            <a:pt x="1564" y="1015"/>
                          </a:lnTo>
                          <a:lnTo>
                            <a:pt x="1555" y="998"/>
                          </a:lnTo>
                          <a:lnTo>
                            <a:pt x="1547" y="982"/>
                          </a:lnTo>
                          <a:lnTo>
                            <a:pt x="1540" y="965"/>
                          </a:lnTo>
                          <a:lnTo>
                            <a:pt x="1535" y="946"/>
                          </a:lnTo>
                          <a:lnTo>
                            <a:pt x="1533" y="927"/>
                          </a:lnTo>
                          <a:lnTo>
                            <a:pt x="1532" y="906"/>
                          </a:lnTo>
                          <a:lnTo>
                            <a:pt x="1534" y="884"/>
                          </a:lnTo>
                          <a:lnTo>
                            <a:pt x="1539" y="860"/>
                          </a:lnTo>
                          <a:lnTo>
                            <a:pt x="1539" y="860"/>
                          </a:lnTo>
                          <a:lnTo>
                            <a:pt x="1563" y="765"/>
                          </a:lnTo>
                          <a:lnTo>
                            <a:pt x="1576" y="720"/>
                          </a:lnTo>
                          <a:lnTo>
                            <a:pt x="1589" y="677"/>
                          </a:lnTo>
                          <a:lnTo>
                            <a:pt x="1603" y="635"/>
                          </a:lnTo>
                          <a:lnTo>
                            <a:pt x="1619" y="596"/>
                          </a:lnTo>
                          <a:lnTo>
                            <a:pt x="1628" y="576"/>
                          </a:lnTo>
                          <a:lnTo>
                            <a:pt x="1637" y="557"/>
                          </a:lnTo>
                          <a:lnTo>
                            <a:pt x="1648" y="539"/>
                          </a:lnTo>
                          <a:lnTo>
                            <a:pt x="1658" y="520"/>
                          </a:lnTo>
                          <a:lnTo>
                            <a:pt x="1670" y="502"/>
                          </a:lnTo>
                          <a:lnTo>
                            <a:pt x="1683" y="484"/>
                          </a:lnTo>
                          <a:lnTo>
                            <a:pt x="1695" y="467"/>
                          </a:lnTo>
                          <a:lnTo>
                            <a:pt x="1711" y="451"/>
                          </a:lnTo>
                          <a:lnTo>
                            <a:pt x="1726" y="433"/>
                          </a:lnTo>
                          <a:lnTo>
                            <a:pt x="1742" y="417"/>
                          </a:lnTo>
                          <a:lnTo>
                            <a:pt x="1759" y="402"/>
                          </a:lnTo>
                          <a:lnTo>
                            <a:pt x="1778" y="385"/>
                          </a:lnTo>
                          <a:lnTo>
                            <a:pt x="1798" y="370"/>
                          </a:lnTo>
                          <a:lnTo>
                            <a:pt x="1819" y="355"/>
                          </a:lnTo>
                          <a:lnTo>
                            <a:pt x="1842" y="340"/>
                          </a:lnTo>
                          <a:lnTo>
                            <a:pt x="1866" y="325"/>
                          </a:lnTo>
                          <a:lnTo>
                            <a:pt x="1891" y="311"/>
                          </a:lnTo>
                          <a:lnTo>
                            <a:pt x="1918" y="297"/>
                          </a:lnTo>
                          <a:lnTo>
                            <a:pt x="1946" y="283"/>
                          </a:lnTo>
                          <a:lnTo>
                            <a:pt x="1976" y="269"/>
                          </a:lnTo>
                          <a:lnTo>
                            <a:pt x="1976" y="269"/>
                          </a:lnTo>
                          <a:lnTo>
                            <a:pt x="2038" y="244"/>
                          </a:lnTo>
                          <a:lnTo>
                            <a:pt x="2098" y="221"/>
                          </a:lnTo>
                          <a:lnTo>
                            <a:pt x="2156" y="201"/>
                          </a:lnTo>
                          <a:lnTo>
                            <a:pt x="2211" y="182"/>
                          </a:lnTo>
                          <a:lnTo>
                            <a:pt x="2314" y="150"/>
                          </a:lnTo>
                          <a:lnTo>
                            <a:pt x="2403" y="122"/>
                          </a:lnTo>
                          <a:lnTo>
                            <a:pt x="2441" y="109"/>
                          </a:lnTo>
                          <a:lnTo>
                            <a:pt x="2476" y="96"/>
                          </a:lnTo>
                          <a:lnTo>
                            <a:pt x="2505" y="82"/>
                          </a:lnTo>
                          <a:lnTo>
                            <a:pt x="2518" y="76"/>
                          </a:lnTo>
                          <a:lnTo>
                            <a:pt x="2529" y="69"/>
                          </a:lnTo>
                          <a:lnTo>
                            <a:pt x="2539" y="62"/>
                          </a:lnTo>
                          <a:lnTo>
                            <a:pt x="2548" y="53"/>
                          </a:lnTo>
                          <a:lnTo>
                            <a:pt x="2555" y="46"/>
                          </a:lnTo>
                          <a:lnTo>
                            <a:pt x="2561" y="37"/>
                          </a:lnTo>
                          <a:lnTo>
                            <a:pt x="2565" y="29"/>
                          </a:lnTo>
                          <a:lnTo>
                            <a:pt x="2568" y="20"/>
                          </a:lnTo>
                          <a:lnTo>
                            <a:pt x="2569" y="10"/>
                          </a:lnTo>
                          <a:lnTo>
                            <a:pt x="2569" y="0"/>
                          </a:lnTo>
                          <a:lnTo>
                            <a:pt x="2569" y="0"/>
                          </a:lnTo>
                          <a:lnTo>
                            <a:pt x="937" y="0"/>
                          </a:lnTo>
                          <a:lnTo>
                            <a:pt x="937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33000">
                          <a:schemeClr val="tx2">
                            <a:lumMod val="50000"/>
                          </a:schemeClr>
                        </a:gs>
                        <a:gs pos="100000">
                          <a:schemeClr val="tx2">
                            <a:lumMod val="75000"/>
                          </a:schemeClr>
                        </a:gs>
                        <a:gs pos="13000">
                          <a:schemeClr val="tx2">
                            <a:lumMod val="75000"/>
                          </a:schemeClr>
                        </a:gs>
                      </a:gsLst>
                      <a:lin ang="1380000" scaled="0"/>
                      <a:tileRect/>
                    </a:gra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grpSp>
                  <p:nvGrpSpPr>
                    <p:cNvPr id="28" name="Group 23">
                      <a:extLst>
                        <a:ext uri="{FF2B5EF4-FFF2-40B4-BE49-F238E27FC236}">
                          <a16:creationId xmlns:a16="http://schemas.microsoft.com/office/drawing/2014/main" xmlns="" id="{B9774909-1F7B-9E44-A9D3-5AAA71D72D4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697163" y="5378112"/>
                      <a:ext cx="1003300" cy="1265576"/>
                      <a:chOff x="2697163" y="5378112"/>
                      <a:chExt cx="1003300" cy="1265576"/>
                    </a:xfrm>
                  </p:grpSpPr>
                  <p:sp>
                    <p:nvSpPr>
                      <p:cNvPr id="29" name="Freeform 21">
                        <a:extLst>
                          <a:ext uri="{FF2B5EF4-FFF2-40B4-BE49-F238E27FC236}">
                            <a16:creationId xmlns:a16="http://schemas.microsoft.com/office/drawing/2014/main" xmlns="" id="{E166ED42-C82F-FD41-8EA8-85310B7020B5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697163" y="6461126"/>
                        <a:ext cx="1003300" cy="182562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263" y="84"/>
                          </a:cxn>
                          <a:cxn ang="0">
                            <a:pos x="1262" y="104"/>
                          </a:cxn>
                          <a:cxn ang="0">
                            <a:pos x="1256" y="124"/>
                          </a:cxn>
                          <a:cxn ang="0">
                            <a:pos x="1248" y="141"/>
                          </a:cxn>
                          <a:cxn ang="0">
                            <a:pos x="1237" y="156"/>
                          </a:cxn>
                          <a:cxn ang="0">
                            <a:pos x="1223" y="170"/>
                          </a:cxn>
                          <a:cxn ang="0">
                            <a:pos x="1206" y="181"/>
                          </a:cxn>
                          <a:cxn ang="0">
                            <a:pos x="1189" y="189"/>
                          </a:cxn>
                          <a:cxn ang="0">
                            <a:pos x="1169" y="194"/>
                          </a:cxn>
                          <a:cxn ang="0">
                            <a:pos x="1102" y="200"/>
                          </a:cxn>
                          <a:cxn ang="0">
                            <a:pos x="968" y="212"/>
                          </a:cxn>
                          <a:cxn ang="0">
                            <a:pos x="835" y="221"/>
                          </a:cxn>
                          <a:cxn ang="0">
                            <a:pos x="700" y="227"/>
                          </a:cxn>
                          <a:cxn ang="0">
                            <a:pos x="567" y="231"/>
                          </a:cxn>
                          <a:cxn ang="0">
                            <a:pos x="432" y="229"/>
                          </a:cxn>
                          <a:cxn ang="0">
                            <a:pos x="298" y="227"/>
                          </a:cxn>
                          <a:cxn ang="0">
                            <a:pos x="165" y="220"/>
                          </a:cxn>
                          <a:cxn ang="0">
                            <a:pos x="97" y="216"/>
                          </a:cxn>
                          <a:cxn ang="0">
                            <a:pos x="79" y="212"/>
                          </a:cxn>
                          <a:cxn ang="0">
                            <a:pos x="60" y="205"/>
                          </a:cxn>
                          <a:cxn ang="0">
                            <a:pos x="44" y="195"/>
                          </a:cxn>
                          <a:cxn ang="0">
                            <a:pos x="29" y="182"/>
                          </a:cxn>
                          <a:cxn ang="0">
                            <a:pos x="17" y="167"/>
                          </a:cxn>
                          <a:cxn ang="0">
                            <a:pos x="8" y="149"/>
                          </a:cxn>
                          <a:cxn ang="0">
                            <a:pos x="2" y="131"/>
                          </a:cxn>
                          <a:cxn ang="0">
                            <a:pos x="0" y="111"/>
                          </a:cxn>
                          <a:cxn ang="0">
                            <a:pos x="0" y="111"/>
                          </a:cxn>
                          <a:cxn ang="0">
                            <a:pos x="1" y="91"/>
                          </a:cxn>
                          <a:cxn ang="0">
                            <a:pos x="6" y="74"/>
                          </a:cxn>
                          <a:cxn ang="0">
                            <a:pos x="15" y="59"/>
                          </a:cxn>
                          <a:cxn ang="0">
                            <a:pos x="27" y="45"/>
                          </a:cxn>
                          <a:cxn ang="0">
                            <a:pos x="41" y="34"/>
                          </a:cxn>
                          <a:cxn ang="0">
                            <a:pos x="57" y="27"/>
                          </a:cxn>
                          <a:cxn ang="0">
                            <a:pos x="74" y="23"/>
                          </a:cxn>
                          <a:cxn ang="0">
                            <a:pos x="94" y="23"/>
                          </a:cxn>
                          <a:cxn ang="0">
                            <a:pos x="160" y="26"/>
                          </a:cxn>
                          <a:cxn ang="0">
                            <a:pos x="295" y="33"/>
                          </a:cxn>
                          <a:cxn ang="0">
                            <a:pos x="428" y="37"/>
                          </a:cxn>
                          <a:cxn ang="0">
                            <a:pos x="562" y="37"/>
                          </a:cxn>
                          <a:cxn ang="0">
                            <a:pos x="697" y="34"/>
                          </a:cxn>
                          <a:cxn ang="0">
                            <a:pos x="830" y="29"/>
                          </a:cxn>
                          <a:cxn ang="0">
                            <a:pos x="965" y="19"/>
                          </a:cxn>
                          <a:cxn ang="0">
                            <a:pos x="1098" y="8"/>
                          </a:cxn>
                          <a:cxn ang="0">
                            <a:pos x="1165" y="1"/>
                          </a:cxn>
                          <a:cxn ang="0">
                            <a:pos x="1184" y="0"/>
                          </a:cxn>
                          <a:cxn ang="0">
                            <a:pos x="1203" y="3"/>
                          </a:cxn>
                          <a:cxn ang="0">
                            <a:pos x="1219" y="10"/>
                          </a:cxn>
                          <a:cxn ang="0">
                            <a:pos x="1234" y="21"/>
                          </a:cxn>
                          <a:cxn ang="0">
                            <a:pos x="1246" y="33"/>
                          </a:cxn>
                          <a:cxn ang="0">
                            <a:pos x="1255" y="48"/>
                          </a:cxn>
                          <a:cxn ang="0">
                            <a:pos x="1261" y="66"/>
                          </a:cxn>
                          <a:cxn ang="0">
                            <a:pos x="1263" y="84"/>
                          </a:cxn>
                        </a:cxnLst>
                        <a:rect l="0" t="0" r="r" b="b"/>
                        <a:pathLst>
                          <a:path w="1263" h="231">
                            <a:moveTo>
                              <a:pt x="1263" y="84"/>
                            </a:moveTo>
                            <a:lnTo>
                              <a:pt x="1263" y="84"/>
                            </a:lnTo>
                            <a:lnTo>
                              <a:pt x="1263" y="95"/>
                            </a:lnTo>
                            <a:lnTo>
                              <a:pt x="1262" y="104"/>
                            </a:lnTo>
                            <a:lnTo>
                              <a:pt x="1260" y="115"/>
                            </a:lnTo>
                            <a:lnTo>
                              <a:pt x="1256" y="124"/>
                            </a:lnTo>
                            <a:lnTo>
                              <a:pt x="1253" y="132"/>
                            </a:lnTo>
                            <a:lnTo>
                              <a:pt x="1248" y="141"/>
                            </a:lnTo>
                            <a:lnTo>
                              <a:pt x="1242" y="149"/>
                            </a:lnTo>
                            <a:lnTo>
                              <a:pt x="1237" y="156"/>
                            </a:lnTo>
                            <a:lnTo>
                              <a:pt x="1230" y="163"/>
                            </a:lnTo>
                            <a:lnTo>
                              <a:pt x="1223" y="170"/>
                            </a:lnTo>
                            <a:lnTo>
                              <a:pt x="1215" y="176"/>
                            </a:lnTo>
                            <a:lnTo>
                              <a:pt x="1206" y="181"/>
                            </a:lnTo>
                            <a:lnTo>
                              <a:pt x="1198" y="185"/>
                            </a:lnTo>
                            <a:lnTo>
                              <a:pt x="1189" y="189"/>
                            </a:lnTo>
                            <a:lnTo>
                              <a:pt x="1179" y="191"/>
                            </a:lnTo>
                            <a:lnTo>
                              <a:pt x="1169" y="194"/>
                            </a:lnTo>
                            <a:lnTo>
                              <a:pt x="1169" y="194"/>
                            </a:lnTo>
                            <a:lnTo>
                              <a:pt x="1102" y="200"/>
                            </a:lnTo>
                            <a:lnTo>
                              <a:pt x="1036" y="206"/>
                            </a:lnTo>
                            <a:lnTo>
                              <a:pt x="968" y="212"/>
                            </a:lnTo>
                            <a:lnTo>
                              <a:pt x="901" y="218"/>
                            </a:lnTo>
                            <a:lnTo>
                              <a:pt x="835" y="221"/>
                            </a:lnTo>
                            <a:lnTo>
                              <a:pt x="767" y="225"/>
                            </a:lnTo>
                            <a:lnTo>
                              <a:pt x="700" y="227"/>
                            </a:lnTo>
                            <a:lnTo>
                              <a:pt x="634" y="229"/>
                            </a:lnTo>
                            <a:lnTo>
                              <a:pt x="567" y="231"/>
                            </a:lnTo>
                            <a:lnTo>
                              <a:pt x="499" y="231"/>
                            </a:lnTo>
                            <a:lnTo>
                              <a:pt x="432" y="229"/>
                            </a:lnTo>
                            <a:lnTo>
                              <a:pt x="366" y="228"/>
                            </a:lnTo>
                            <a:lnTo>
                              <a:pt x="298" y="227"/>
                            </a:lnTo>
                            <a:lnTo>
                              <a:pt x="231" y="224"/>
                            </a:lnTo>
                            <a:lnTo>
                              <a:pt x="165" y="220"/>
                            </a:lnTo>
                            <a:lnTo>
                              <a:pt x="97" y="216"/>
                            </a:lnTo>
                            <a:lnTo>
                              <a:pt x="97" y="216"/>
                            </a:lnTo>
                            <a:lnTo>
                              <a:pt x="88" y="214"/>
                            </a:lnTo>
                            <a:lnTo>
                              <a:pt x="79" y="212"/>
                            </a:lnTo>
                            <a:lnTo>
                              <a:pt x="70" y="210"/>
                            </a:lnTo>
                            <a:lnTo>
                              <a:pt x="60" y="205"/>
                            </a:lnTo>
                            <a:lnTo>
                              <a:pt x="52" y="200"/>
                            </a:lnTo>
                            <a:lnTo>
                              <a:pt x="44" y="195"/>
                            </a:lnTo>
                            <a:lnTo>
                              <a:pt x="36" y="189"/>
                            </a:lnTo>
                            <a:lnTo>
                              <a:pt x="29" y="182"/>
                            </a:lnTo>
                            <a:lnTo>
                              <a:pt x="23" y="175"/>
                            </a:lnTo>
                            <a:lnTo>
                              <a:pt x="17" y="167"/>
                            </a:lnTo>
                            <a:lnTo>
                              <a:pt x="12" y="159"/>
                            </a:lnTo>
                            <a:lnTo>
                              <a:pt x="8" y="149"/>
                            </a:lnTo>
                            <a:lnTo>
                              <a:pt x="5" y="140"/>
                            </a:lnTo>
                            <a:lnTo>
                              <a:pt x="2" y="131"/>
                            </a:lnTo>
                            <a:lnTo>
                              <a:pt x="0" y="122"/>
                            </a:lnTo>
                            <a:lnTo>
                              <a:pt x="0" y="111"/>
                            </a:lnTo>
                            <a:lnTo>
                              <a:pt x="0" y="111"/>
                            </a:lnTo>
                            <a:lnTo>
                              <a:pt x="0" y="111"/>
                            </a:lnTo>
                            <a:lnTo>
                              <a:pt x="0" y="102"/>
                            </a:lnTo>
                            <a:lnTo>
                              <a:pt x="1" y="91"/>
                            </a:lnTo>
                            <a:lnTo>
                              <a:pt x="3" y="83"/>
                            </a:lnTo>
                            <a:lnTo>
                              <a:pt x="6" y="74"/>
                            </a:lnTo>
                            <a:lnTo>
                              <a:pt x="10" y="66"/>
                            </a:lnTo>
                            <a:lnTo>
                              <a:pt x="15" y="59"/>
                            </a:lnTo>
                            <a:lnTo>
                              <a:pt x="20" y="52"/>
                            </a:lnTo>
                            <a:lnTo>
                              <a:pt x="27" y="45"/>
                            </a:lnTo>
                            <a:lnTo>
                              <a:pt x="32" y="39"/>
                            </a:lnTo>
                            <a:lnTo>
                              <a:pt x="41" y="34"/>
                            </a:lnTo>
                            <a:lnTo>
                              <a:pt x="49" y="31"/>
                            </a:lnTo>
                            <a:lnTo>
                              <a:pt x="57" y="27"/>
                            </a:lnTo>
                            <a:lnTo>
                              <a:pt x="65" y="24"/>
                            </a:lnTo>
                            <a:lnTo>
                              <a:pt x="74" y="23"/>
                            </a:lnTo>
                            <a:lnTo>
                              <a:pt x="84" y="22"/>
                            </a:lnTo>
                            <a:lnTo>
                              <a:pt x="94" y="23"/>
                            </a:lnTo>
                            <a:lnTo>
                              <a:pt x="94" y="23"/>
                            </a:lnTo>
                            <a:lnTo>
                              <a:pt x="160" y="26"/>
                            </a:lnTo>
                            <a:lnTo>
                              <a:pt x="228" y="31"/>
                            </a:lnTo>
                            <a:lnTo>
                              <a:pt x="295" y="33"/>
                            </a:lnTo>
                            <a:lnTo>
                              <a:pt x="361" y="36"/>
                            </a:lnTo>
                            <a:lnTo>
                              <a:pt x="428" y="37"/>
                            </a:lnTo>
                            <a:lnTo>
                              <a:pt x="496" y="38"/>
                            </a:lnTo>
                            <a:lnTo>
                              <a:pt x="562" y="37"/>
                            </a:lnTo>
                            <a:lnTo>
                              <a:pt x="629" y="37"/>
                            </a:lnTo>
                            <a:lnTo>
                              <a:pt x="697" y="34"/>
                            </a:lnTo>
                            <a:lnTo>
                              <a:pt x="764" y="32"/>
                            </a:lnTo>
                            <a:lnTo>
                              <a:pt x="830" y="29"/>
                            </a:lnTo>
                            <a:lnTo>
                              <a:pt x="898" y="24"/>
                            </a:lnTo>
                            <a:lnTo>
                              <a:pt x="965" y="19"/>
                            </a:lnTo>
                            <a:lnTo>
                              <a:pt x="1031" y="14"/>
                            </a:lnTo>
                            <a:lnTo>
                              <a:pt x="1098" y="8"/>
                            </a:lnTo>
                            <a:lnTo>
                              <a:pt x="1165" y="1"/>
                            </a:lnTo>
                            <a:lnTo>
                              <a:pt x="1165" y="1"/>
                            </a:lnTo>
                            <a:lnTo>
                              <a:pt x="1175" y="0"/>
                            </a:lnTo>
                            <a:lnTo>
                              <a:pt x="1184" y="0"/>
                            </a:lnTo>
                            <a:lnTo>
                              <a:pt x="1194" y="1"/>
                            </a:lnTo>
                            <a:lnTo>
                              <a:pt x="1203" y="3"/>
                            </a:lnTo>
                            <a:lnTo>
                              <a:pt x="1211" y="7"/>
                            </a:lnTo>
                            <a:lnTo>
                              <a:pt x="1219" y="10"/>
                            </a:lnTo>
                            <a:lnTo>
                              <a:pt x="1227" y="15"/>
                            </a:lnTo>
                            <a:lnTo>
                              <a:pt x="1234" y="21"/>
                            </a:lnTo>
                            <a:lnTo>
                              <a:pt x="1240" y="26"/>
                            </a:lnTo>
                            <a:lnTo>
                              <a:pt x="1246" y="33"/>
                            </a:lnTo>
                            <a:lnTo>
                              <a:pt x="1251" y="40"/>
                            </a:lnTo>
                            <a:lnTo>
                              <a:pt x="1255" y="48"/>
                            </a:lnTo>
                            <a:lnTo>
                              <a:pt x="1259" y="57"/>
                            </a:lnTo>
                            <a:lnTo>
                              <a:pt x="1261" y="66"/>
                            </a:lnTo>
                            <a:lnTo>
                              <a:pt x="1263" y="75"/>
                            </a:lnTo>
                            <a:lnTo>
                              <a:pt x="1263" y="84"/>
                            </a:lnTo>
                            <a:lnTo>
                              <a:pt x="1263" y="84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chemeClr val="tx2">
                              <a:lumMod val="50000"/>
                            </a:schemeClr>
                          </a:gs>
                          <a:gs pos="100000">
                            <a:schemeClr val="tx2">
                              <a:lumMod val="40000"/>
                              <a:lumOff val="60000"/>
                              <a:alpha val="50000"/>
                            </a:schemeClr>
                          </a:gs>
                        </a:gsLst>
                        <a:lin ang="4980000" scaled="0"/>
                        <a:tileRect/>
                      </a:gra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0" name="Freeform 22">
                        <a:extLst>
                          <a:ext uri="{FF2B5EF4-FFF2-40B4-BE49-F238E27FC236}">
                            <a16:creationId xmlns:a16="http://schemas.microsoft.com/office/drawing/2014/main" xmlns="" id="{D24488AA-272D-D341-A3F8-2FF6B6D917BE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776538" y="6264274"/>
                        <a:ext cx="919163" cy="166687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59" y="78"/>
                          </a:cxn>
                          <a:cxn ang="0">
                            <a:pos x="1157" y="97"/>
                          </a:cxn>
                          <a:cxn ang="0">
                            <a:pos x="1153" y="113"/>
                          </a:cxn>
                          <a:cxn ang="0">
                            <a:pos x="1145" y="129"/>
                          </a:cxn>
                          <a:cxn ang="0">
                            <a:pos x="1134" y="144"/>
                          </a:cxn>
                          <a:cxn ang="0">
                            <a:pos x="1121" y="156"/>
                          </a:cxn>
                          <a:cxn ang="0">
                            <a:pos x="1106" y="166"/>
                          </a:cxn>
                          <a:cxn ang="0">
                            <a:pos x="1090" y="173"/>
                          </a:cxn>
                          <a:cxn ang="0">
                            <a:pos x="1071" y="177"/>
                          </a:cxn>
                          <a:cxn ang="0">
                            <a:pos x="1011" y="184"/>
                          </a:cxn>
                          <a:cxn ang="0">
                            <a:pos x="888" y="195"/>
                          </a:cxn>
                          <a:cxn ang="0">
                            <a:pos x="765" y="203"/>
                          </a:cxn>
                          <a:cxn ang="0">
                            <a:pos x="643" y="209"/>
                          </a:cxn>
                          <a:cxn ang="0">
                            <a:pos x="520" y="211"/>
                          </a:cxn>
                          <a:cxn ang="0">
                            <a:pos x="397" y="211"/>
                          </a:cxn>
                          <a:cxn ang="0">
                            <a:pos x="274" y="208"/>
                          </a:cxn>
                          <a:cxn ang="0">
                            <a:pos x="152" y="202"/>
                          </a:cxn>
                          <a:cxn ang="0">
                            <a:pos x="90" y="198"/>
                          </a:cxn>
                          <a:cxn ang="0">
                            <a:pos x="73" y="195"/>
                          </a:cxn>
                          <a:cxn ang="0">
                            <a:pos x="55" y="188"/>
                          </a:cxn>
                          <a:cxn ang="0">
                            <a:pos x="40" y="179"/>
                          </a:cxn>
                          <a:cxn ang="0">
                            <a:pos x="28" y="167"/>
                          </a:cxn>
                          <a:cxn ang="0">
                            <a:pos x="16" y="153"/>
                          </a:cxn>
                          <a:cxn ang="0">
                            <a:pos x="8" y="137"/>
                          </a:cxn>
                          <a:cxn ang="0">
                            <a:pos x="2" y="120"/>
                          </a:cxn>
                          <a:cxn ang="0">
                            <a:pos x="0" y="102"/>
                          </a:cxn>
                          <a:cxn ang="0">
                            <a:pos x="0" y="102"/>
                          </a:cxn>
                          <a:cxn ang="0">
                            <a:pos x="2" y="85"/>
                          </a:cxn>
                          <a:cxn ang="0">
                            <a:pos x="7" y="69"/>
                          </a:cxn>
                          <a:cxn ang="0">
                            <a:pos x="15" y="54"/>
                          </a:cxn>
                          <a:cxn ang="0">
                            <a:pos x="25" y="42"/>
                          </a:cxn>
                          <a:cxn ang="0">
                            <a:pos x="38" y="32"/>
                          </a:cxn>
                          <a:cxn ang="0">
                            <a:pos x="52" y="25"/>
                          </a:cxn>
                          <a:cxn ang="0">
                            <a:pos x="69" y="21"/>
                          </a:cxn>
                          <a:cxn ang="0">
                            <a:pos x="87" y="21"/>
                          </a:cxn>
                          <a:cxn ang="0">
                            <a:pos x="148" y="25"/>
                          </a:cxn>
                          <a:cxn ang="0">
                            <a:pos x="270" y="30"/>
                          </a:cxn>
                          <a:cxn ang="0">
                            <a:pos x="393" y="34"/>
                          </a:cxn>
                          <a:cxn ang="0">
                            <a:pos x="516" y="34"/>
                          </a:cxn>
                          <a:cxn ang="0">
                            <a:pos x="639" y="32"/>
                          </a:cxn>
                          <a:cxn ang="0">
                            <a:pos x="761" y="27"/>
                          </a:cxn>
                          <a:cxn ang="0">
                            <a:pos x="884" y="19"/>
                          </a:cxn>
                          <a:cxn ang="0">
                            <a:pos x="1008" y="7"/>
                          </a:cxn>
                          <a:cxn ang="0">
                            <a:pos x="1068" y="0"/>
                          </a:cxn>
                          <a:cxn ang="0">
                            <a:pos x="1087" y="0"/>
                          </a:cxn>
                          <a:cxn ang="0">
                            <a:pos x="1103" y="4"/>
                          </a:cxn>
                          <a:cxn ang="0">
                            <a:pos x="1118" y="9"/>
                          </a:cxn>
                          <a:cxn ang="0">
                            <a:pos x="1132" y="19"/>
                          </a:cxn>
                          <a:cxn ang="0">
                            <a:pos x="1142" y="30"/>
                          </a:cxn>
                          <a:cxn ang="0">
                            <a:pos x="1150" y="44"/>
                          </a:cxn>
                          <a:cxn ang="0">
                            <a:pos x="1156" y="61"/>
                          </a:cxn>
                          <a:cxn ang="0">
                            <a:pos x="1159" y="78"/>
                          </a:cxn>
                        </a:cxnLst>
                        <a:rect l="0" t="0" r="r" b="b"/>
                        <a:pathLst>
                          <a:path w="1159" h="211">
                            <a:moveTo>
                              <a:pt x="1159" y="78"/>
                            </a:moveTo>
                            <a:lnTo>
                              <a:pt x="1159" y="78"/>
                            </a:lnTo>
                            <a:lnTo>
                              <a:pt x="1159" y="87"/>
                            </a:lnTo>
                            <a:lnTo>
                              <a:pt x="1157" y="97"/>
                            </a:lnTo>
                            <a:lnTo>
                              <a:pt x="1155" y="105"/>
                            </a:lnTo>
                            <a:lnTo>
                              <a:pt x="1153" y="113"/>
                            </a:lnTo>
                            <a:lnTo>
                              <a:pt x="1149" y="121"/>
                            </a:lnTo>
                            <a:lnTo>
                              <a:pt x="1145" y="129"/>
                            </a:lnTo>
                            <a:lnTo>
                              <a:pt x="1140" y="137"/>
                            </a:lnTo>
                            <a:lnTo>
                              <a:pt x="1134" y="144"/>
                            </a:lnTo>
                            <a:lnTo>
                              <a:pt x="1127" y="150"/>
                            </a:lnTo>
                            <a:lnTo>
                              <a:pt x="1121" y="156"/>
                            </a:lnTo>
                            <a:lnTo>
                              <a:pt x="1114" y="162"/>
                            </a:lnTo>
                            <a:lnTo>
                              <a:pt x="1106" y="166"/>
                            </a:lnTo>
                            <a:lnTo>
                              <a:pt x="1098" y="170"/>
                            </a:lnTo>
                            <a:lnTo>
                              <a:pt x="1090" y="173"/>
                            </a:lnTo>
                            <a:lnTo>
                              <a:pt x="1081" y="175"/>
                            </a:lnTo>
                            <a:lnTo>
                              <a:pt x="1071" y="177"/>
                            </a:lnTo>
                            <a:lnTo>
                              <a:pt x="1071" y="177"/>
                            </a:lnTo>
                            <a:lnTo>
                              <a:pt x="1011" y="184"/>
                            </a:lnTo>
                            <a:lnTo>
                              <a:pt x="950" y="189"/>
                            </a:lnTo>
                            <a:lnTo>
                              <a:pt x="888" y="195"/>
                            </a:lnTo>
                            <a:lnTo>
                              <a:pt x="826" y="200"/>
                            </a:lnTo>
                            <a:lnTo>
                              <a:pt x="765" y="203"/>
                            </a:lnTo>
                            <a:lnTo>
                              <a:pt x="704" y="207"/>
                            </a:lnTo>
                            <a:lnTo>
                              <a:pt x="643" y="209"/>
                            </a:lnTo>
                            <a:lnTo>
                              <a:pt x="581" y="210"/>
                            </a:lnTo>
                            <a:lnTo>
                              <a:pt x="520" y="211"/>
                            </a:lnTo>
                            <a:lnTo>
                              <a:pt x="458" y="211"/>
                            </a:lnTo>
                            <a:lnTo>
                              <a:pt x="397" y="211"/>
                            </a:lnTo>
                            <a:lnTo>
                              <a:pt x="335" y="210"/>
                            </a:lnTo>
                            <a:lnTo>
                              <a:pt x="274" y="208"/>
                            </a:lnTo>
                            <a:lnTo>
                              <a:pt x="213" y="206"/>
                            </a:lnTo>
                            <a:lnTo>
                              <a:pt x="152" y="202"/>
                            </a:lnTo>
                            <a:lnTo>
                              <a:pt x="90" y="198"/>
                            </a:lnTo>
                            <a:lnTo>
                              <a:pt x="90" y="198"/>
                            </a:lnTo>
                            <a:lnTo>
                              <a:pt x="81" y="196"/>
                            </a:lnTo>
                            <a:lnTo>
                              <a:pt x="73" y="195"/>
                            </a:lnTo>
                            <a:lnTo>
                              <a:pt x="64" y="192"/>
                            </a:lnTo>
                            <a:lnTo>
                              <a:pt x="55" y="188"/>
                            </a:lnTo>
                            <a:lnTo>
                              <a:pt x="48" y="184"/>
                            </a:lnTo>
                            <a:lnTo>
                              <a:pt x="40" y="179"/>
                            </a:lnTo>
                            <a:lnTo>
                              <a:pt x="33" y="173"/>
                            </a:lnTo>
                            <a:lnTo>
                              <a:pt x="28" y="167"/>
                            </a:lnTo>
                            <a:lnTo>
                              <a:pt x="22" y="160"/>
                            </a:lnTo>
                            <a:lnTo>
                              <a:pt x="16" y="153"/>
                            </a:lnTo>
                            <a:lnTo>
                              <a:pt x="11" y="145"/>
                            </a:lnTo>
                            <a:lnTo>
                              <a:pt x="8" y="137"/>
                            </a:lnTo>
                            <a:lnTo>
                              <a:pt x="4" y="129"/>
                            </a:lnTo>
                            <a:lnTo>
                              <a:pt x="2" y="120"/>
                            </a:lnTo>
                            <a:lnTo>
                              <a:pt x="1" y="112"/>
                            </a:lnTo>
                            <a:lnTo>
                              <a:pt x="0" y="102"/>
                            </a:lnTo>
                            <a:lnTo>
                              <a:pt x="0" y="102"/>
                            </a:lnTo>
                            <a:lnTo>
                              <a:pt x="0" y="102"/>
                            </a:lnTo>
                            <a:lnTo>
                              <a:pt x="1" y="93"/>
                            </a:lnTo>
                            <a:lnTo>
                              <a:pt x="2" y="85"/>
                            </a:lnTo>
                            <a:lnTo>
                              <a:pt x="3" y="76"/>
                            </a:lnTo>
                            <a:lnTo>
                              <a:pt x="7" y="69"/>
                            </a:lnTo>
                            <a:lnTo>
                              <a:pt x="10" y="61"/>
                            </a:lnTo>
                            <a:lnTo>
                              <a:pt x="15" y="54"/>
                            </a:lnTo>
                            <a:lnTo>
                              <a:pt x="19" y="48"/>
                            </a:lnTo>
                            <a:lnTo>
                              <a:pt x="25" y="42"/>
                            </a:lnTo>
                            <a:lnTo>
                              <a:pt x="31" y="36"/>
                            </a:lnTo>
                            <a:lnTo>
                              <a:pt x="38" y="32"/>
                            </a:lnTo>
                            <a:lnTo>
                              <a:pt x="45" y="28"/>
                            </a:lnTo>
                            <a:lnTo>
                              <a:pt x="52" y="25"/>
                            </a:lnTo>
                            <a:lnTo>
                              <a:pt x="60" y="22"/>
                            </a:lnTo>
                            <a:lnTo>
                              <a:pt x="69" y="21"/>
                            </a:lnTo>
                            <a:lnTo>
                              <a:pt x="77" y="20"/>
                            </a:lnTo>
                            <a:lnTo>
                              <a:pt x="87" y="21"/>
                            </a:lnTo>
                            <a:lnTo>
                              <a:pt x="87" y="21"/>
                            </a:lnTo>
                            <a:lnTo>
                              <a:pt x="148" y="25"/>
                            </a:lnTo>
                            <a:lnTo>
                              <a:pt x="209" y="28"/>
                            </a:lnTo>
                            <a:lnTo>
                              <a:pt x="270" y="30"/>
                            </a:lnTo>
                            <a:lnTo>
                              <a:pt x="332" y="33"/>
                            </a:lnTo>
                            <a:lnTo>
                              <a:pt x="393" y="34"/>
                            </a:lnTo>
                            <a:lnTo>
                              <a:pt x="455" y="35"/>
                            </a:lnTo>
                            <a:lnTo>
                              <a:pt x="516" y="34"/>
                            </a:lnTo>
                            <a:lnTo>
                              <a:pt x="578" y="34"/>
                            </a:lnTo>
                            <a:lnTo>
                              <a:pt x="639" y="32"/>
                            </a:lnTo>
                            <a:lnTo>
                              <a:pt x="700" y="29"/>
                            </a:lnTo>
                            <a:lnTo>
                              <a:pt x="761" y="27"/>
                            </a:lnTo>
                            <a:lnTo>
                              <a:pt x="823" y="22"/>
                            </a:lnTo>
                            <a:lnTo>
                              <a:pt x="884" y="19"/>
                            </a:lnTo>
                            <a:lnTo>
                              <a:pt x="946" y="13"/>
                            </a:lnTo>
                            <a:lnTo>
                              <a:pt x="1008" y="7"/>
                            </a:lnTo>
                            <a:lnTo>
                              <a:pt x="1068" y="0"/>
                            </a:lnTo>
                            <a:lnTo>
                              <a:pt x="1068" y="0"/>
                            </a:lnTo>
                            <a:lnTo>
                              <a:pt x="1077" y="0"/>
                            </a:lnTo>
                            <a:lnTo>
                              <a:pt x="1087" y="0"/>
                            </a:lnTo>
                            <a:lnTo>
                              <a:pt x="1095" y="1"/>
                            </a:lnTo>
                            <a:lnTo>
                              <a:pt x="1103" y="4"/>
                            </a:lnTo>
                            <a:lnTo>
                              <a:pt x="1111" y="6"/>
                            </a:lnTo>
                            <a:lnTo>
                              <a:pt x="1118" y="9"/>
                            </a:lnTo>
                            <a:lnTo>
                              <a:pt x="1125" y="14"/>
                            </a:lnTo>
                            <a:lnTo>
                              <a:pt x="1132" y="19"/>
                            </a:lnTo>
                            <a:lnTo>
                              <a:pt x="1138" y="25"/>
                            </a:lnTo>
                            <a:lnTo>
                              <a:pt x="1142" y="30"/>
                            </a:lnTo>
                            <a:lnTo>
                              <a:pt x="1147" y="37"/>
                            </a:lnTo>
                            <a:lnTo>
                              <a:pt x="1150" y="44"/>
                            </a:lnTo>
                            <a:lnTo>
                              <a:pt x="1154" y="52"/>
                            </a:lnTo>
                            <a:lnTo>
                              <a:pt x="1156" y="61"/>
                            </a:lnTo>
                            <a:lnTo>
                              <a:pt x="1157" y="69"/>
                            </a:lnTo>
                            <a:lnTo>
                              <a:pt x="1159" y="78"/>
                            </a:lnTo>
                            <a:lnTo>
                              <a:pt x="1159" y="78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chemeClr val="tx2">
                              <a:lumMod val="50000"/>
                            </a:schemeClr>
                          </a:gs>
                          <a:gs pos="100000">
                            <a:schemeClr val="tx2">
                              <a:lumMod val="40000"/>
                              <a:lumOff val="60000"/>
                              <a:alpha val="50000"/>
                            </a:schemeClr>
                          </a:gs>
                        </a:gsLst>
                        <a:lin ang="4980000" scaled="0"/>
                        <a:tileRect/>
                      </a:gra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1" name="Freeform 23">
                        <a:extLst>
                          <a:ext uri="{FF2B5EF4-FFF2-40B4-BE49-F238E27FC236}">
                            <a16:creationId xmlns:a16="http://schemas.microsoft.com/office/drawing/2014/main" xmlns="" id="{41DD22A3-BF23-454F-93F8-E4CCF3CADE77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827338" y="6067081"/>
                        <a:ext cx="863600" cy="1587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088" y="73"/>
                          </a:cxn>
                          <a:cxn ang="0">
                            <a:pos x="1087" y="91"/>
                          </a:cxn>
                          <a:cxn ang="0">
                            <a:pos x="1082" y="107"/>
                          </a:cxn>
                          <a:cxn ang="0">
                            <a:pos x="1074" y="122"/>
                          </a:cxn>
                          <a:cxn ang="0">
                            <a:pos x="1064" y="136"/>
                          </a:cxn>
                          <a:cxn ang="0">
                            <a:pos x="1052" y="147"/>
                          </a:cxn>
                          <a:cxn ang="0">
                            <a:pos x="1038" y="157"/>
                          </a:cxn>
                          <a:cxn ang="0">
                            <a:pos x="1023" y="163"/>
                          </a:cxn>
                          <a:cxn ang="0">
                            <a:pos x="1006" y="167"/>
                          </a:cxn>
                          <a:cxn ang="0">
                            <a:pos x="891" y="179"/>
                          </a:cxn>
                          <a:cxn ang="0">
                            <a:pos x="660" y="194"/>
                          </a:cxn>
                          <a:cxn ang="0">
                            <a:pos x="429" y="199"/>
                          </a:cxn>
                          <a:cxn ang="0">
                            <a:pos x="199" y="193"/>
                          </a:cxn>
                          <a:cxn ang="0">
                            <a:pos x="83" y="186"/>
                          </a:cxn>
                          <a:cxn ang="0">
                            <a:pos x="67" y="183"/>
                          </a:cxn>
                          <a:cxn ang="0">
                            <a:pos x="52" y="178"/>
                          </a:cxn>
                          <a:cxn ang="0">
                            <a:pos x="37" y="168"/>
                          </a:cxn>
                          <a:cxn ang="0">
                            <a:pos x="25" y="157"/>
                          </a:cxn>
                          <a:cxn ang="0">
                            <a:pos x="15" y="144"/>
                          </a:cxn>
                          <a:cxn ang="0">
                            <a:pos x="7" y="129"/>
                          </a:cxn>
                          <a:cxn ang="0">
                            <a:pos x="1" y="113"/>
                          </a:cxn>
                          <a:cxn ang="0">
                            <a:pos x="0" y="96"/>
                          </a:cxn>
                          <a:cxn ang="0">
                            <a:pos x="0" y="96"/>
                          </a:cxn>
                          <a:cxn ang="0">
                            <a:pos x="1" y="80"/>
                          </a:cxn>
                          <a:cxn ang="0">
                            <a:pos x="5" y="64"/>
                          </a:cxn>
                          <a:cxn ang="0">
                            <a:pos x="12" y="51"/>
                          </a:cxn>
                          <a:cxn ang="0">
                            <a:pos x="22" y="39"/>
                          </a:cxn>
                          <a:cxn ang="0">
                            <a:pos x="35" y="30"/>
                          </a:cxn>
                          <a:cxn ang="0">
                            <a:pos x="48" y="23"/>
                          </a:cxn>
                          <a:cxn ang="0">
                            <a:pos x="64" y="20"/>
                          </a:cxn>
                          <a:cxn ang="0">
                            <a:pos x="80" y="20"/>
                          </a:cxn>
                          <a:cxn ang="0">
                            <a:pos x="196" y="27"/>
                          </a:cxn>
                          <a:cxn ang="0">
                            <a:pos x="426" y="32"/>
                          </a:cxn>
                          <a:cxn ang="0">
                            <a:pos x="657" y="28"/>
                          </a:cxn>
                          <a:cxn ang="0">
                            <a:pos x="888" y="13"/>
                          </a:cxn>
                          <a:cxn ang="0">
                            <a:pos x="1003" y="1"/>
                          </a:cxn>
                          <a:cxn ang="0">
                            <a:pos x="1019" y="0"/>
                          </a:cxn>
                          <a:cxn ang="0">
                            <a:pos x="1035" y="3"/>
                          </a:cxn>
                          <a:cxn ang="0">
                            <a:pos x="1049" y="9"/>
                          </a:cxn>
                          <a:cxn ang="0">
                            <a:pos x="1062" y="19"/>
                          </a:cxn>
                          <a:cxn ang="0">
                            <a:pos x="1073" y="29"/>
                          </a:cxn>
                          <a:cxn ang="0">
                            <a:pos x="1081" y="42"/>
                          </a:cxn>
                          <a:cxn ang="0">
                            <a:pos x="1085" y="57"/>
                          </a:cxn>
                          <a:cxn ang="0">
                            <a:pos x="1088" y="73"/>
                          </a:cxn>
                        </a:cxnLst>
                        <a:rect l="0" t="0" r="r" b="b"/>
                        <a:pathLst>
                          <a:path w="1088" h="199">
                            <a:moveTo>
                              <a:pt x="1088" y="73"/>
                            </a:moveTo>
                            <a:lnTo>
                              <a:pt x="1088" y="73"/>
                            </a:lnTo>
                            <a:lnTo>
                              <a:pt x="1087" y="82"/>
                            </a:lnTo>
                            <a:lnTo>
                              <a:pt x="1087" y="91"/>
                            </a:lnTo>
                            <a:lnTo>
                              <a:pt x="1084" y="99"/>
                            </a:lnTo>
                            <a:lnTo>
                              <a:pt x="1082" y="107"/>
                            </a:lnTo>
                            <a:lnTo>
                              <a:pt x="1078" y="115"/>
                            </a:lnTo>
                            <a:lnTo>
                              <a:pt x="1074" y="122"/>
                            </a:lnTo>
                            <a:lnTo>
                              <a:pt x="1069" y="129"/>
                            </a:lnTo>
                            <a:lnTo>
                              <a:pt x="1064" y="136"/>
                            </a:lnTo>
                            <a:lnTo>
                              <a:pt x="1059" y="142"/>
                            </a:lnTo>
                            <a:lnTo>
                              <a:pt x="1052" y="147"/>
                            </a:lnTo>
                            <a:lnTo>
                              <a:pt x="1046" y="152"/>
                            </a:lnTo>
                            <a:lnTo>
                              <a:pt x="1038" y="157"/>
                            </a:lnTo>
                            <a:lnTo>
                              <a:pt x="1031" y="160"/>
                            </a:lnTo>
                            <a:lnTo>
                              <a:pt x="1023" y="163"/>
                            </a:lnTo>
                            <a:lnTo>
                              <a:pt x="1015" y="165"/>
                            </a:lnTo>
                            <a:lnTo>
                              <a:pt x="1006" y="167"/>
                            </a:lnTo>
                            <a:lnTo>
                              <a:pt x="1006" y="167"/>
                            </a:lnTo>
                            <a:lnTo>
                              <a:pt x="891" y="179"/>
                            </a:lnTo>
                            <a:lnTo>
                              <a:pt x="775" y="188"/>
                            </a:lnTo>
                            <a:lnTo>
                              <a:pt x="660" y="194"/>
                            </a:lnTo>
                            <a:lnTo>
                              <a:pt x="545" y="197"/>
                            </a:lnTo>
                            <a:lnTo>
                              <a:pt x="429" y="199"/>
                            </a:lnTo>
                            <a:lnTo>
                              <a:pt x="314" y="197"/>
                            </a:lnTo>
                            <a:lnTo>
                              <a:pt x="199" y="193"/>
                            </a:lnTo>
                            <a:lnTo>
                              <a:pt x="83" y="186"/>
                            </a:lnTo>
                            <a:lnTo>
                              <a:pt x="83" y="186"/>
                            </a:lnTo>
                            <a:lnTo>
                              <a:pt x="75" y="185"/>
                            </a:lnTo>
                            <a:lnTo>
                              <a:pt x="67" y="183"/>
                            </a:lnTo>
                            <a:lnTo>
                              <a:pt x="59" y="181"/>
                            </a:lnTo>
                            <a:lnTo>
                              <a:pt x="52" y="178"/>
                            </a:lnTo>
                            <a:lnTo>
                              <a:pt x="44" y="173"/>
                            </a:lnTo>
                            <a:lnTo>
                              <a:pt x="37" y="168"/>
                            </a:lnTo>
                            <a:lnTo>
                              <a:pt x="31" y="163"/>
                            </a:lnTo>
                            <a:lnTo>
                              <a:pt x="25" y="157"/>
                            </a:lnTo>
                            <a:lnTo>
                              <a:pt x="19" y="151"/>
                            </a:lnTo>
                            <a:lnTo>
                              <a:pt x="15" y="144"/>
                            </a:lnTo>
                            <a:lnTo>
                              <a:pt x="10" y="137"/>
                            </a:lnTo>
                            <a:lnTo>
                              <a:pt x="7" y="129"/>
                            </a:lnTo>
                            <a:lnTo>
                              <a:pt x="3" y="121"/>
                            </a:lnTo>
                            <a:lnTo>
                              <a:pt x="1" y="113"/>
                            </a:lnTo>
                            <a:lnTo>
                              <a:pt x="0" y="104"/>
                            </a:lnTo>
                            <a:lnTo>
                              <a:pt x="0" y="96"/>
                            </a:lnTo>
                            <a:lnTo>
                              <a:pt x="0" y="96"/>
                            </a:lnTo>
                            <a:lnTo>
                              <a:pt x="0" y="96"/>
                            </a:lnTo>
                            <a:lnTo>
                              <a:pt x="0" y="88"/>
                            </a:lnTo>
                            <a:lnTo>
                              <a:pt x="1" y="80"/>
                            </a:lnTo>
                            <a:lnTo>
                              <a:pt x="2" y="72"/>
                            </a:lnTo>
                            <a:lnTo>
                              <a:pt x="5" y="64"/>
                            </a:lnTo>
                            <a:lnTo>
                              <a:pt x="8" y="57"/>
                            </a:lnTo>
                            <a:lnTo>
                              <a:pt x="12" y="51"/>
                            </a:lnTo>
                            <a:lnTo>
                              <a:pt x="17" y="45"/>
                            </a:lnTo>
                            <a:lnTo>
                              <a:pt x="22" y="39"/>
                            </a:lnTo>
                            <a:lnTo>
                              <a:pt x="28" y="35"/>
                            </a:lnTo>
                            <a:lnTo>
                              <a:pt x="35" y="30"/>
                            </a:lnTo>
                            <a:lnTo>
                              <a:pt x="41" y="27"/>
                            </a:lnTo>
                            <a:lnTo>
                              <a:pt x="48" y="23"/>
                            </a:lnTo>
                            <a:lnTo>
                              <a:pt x="55" y="22"/>
                            </a:lnTo>
                            <a:lnTo>
                              <a:pt x="64" y="20"/>
                            </a:lnTo>
                            <a:lnTo>
                              <a:pt x="72" y="20"/>
                            </a:lnTo>
                            <a:lnTo>
                              <a:pt x="80" y="20"/>
                            </a:lnTo>
                            <a:lnTo>
                              <a:pt x="80" y="20"/>
                            </a:lnTo>
                            <a:lnTo>
                              <a:pt x="196" y="27"/>
                            </a:lnTo>
                            <a:lnTo>
                              <a:pt x="311" y="31"/>
                            </a:lnTo>
                            <a:lnTo>
                              <a:pt x="426" y="32"/>
                            </a:lnTo>
                            <a:lnTo>
                              <a:pt x="542" y="31"/>
                            </a:lnTo>
                            <a:lnTo>
                              <a:pt x="657" y="28"/>
                            </a:lnTo>
                            <a:lnTo>
                              <a:pt x="772" y="22"/>
                            </a:lnTo>
                            <a:lnTo>
                              <a:pt x="888" y="13"/>
                            </a:lnTo>
                            <a:lnTo>
                              <a:pt x="1003" y="1"/>
                            </a:lnTo>
                            <a:lnTo>
                              <a:pt x="1003" y="1"/>
                            </a:lnTo>
                            <a:lnTo>
                              <a:pt x="1011" y="0"/>
                            </a:lnTo>
                            <a:lnTo>
                              <a:pt x="1019" y="0"/>
                            </a:lnTo>
                            <a:lnTo>
                              <a:pt x="1027" y="1"/>
                            </a:lnTo>
                            <a:lnTo>
                              <a:pt x="1035" y="3"/>
                            </a:lnTo>
                            <a:lnTo>
                              <a:pt x="1042" y="6"/>
                            </a:lnTo>
                            <a:lnTo>
                              <a:pt x="1049" y="9"/>
                            </a:lnTo>
                            <a:lnTo>
                              <a:pt x="1056" y="14"/>
                            </a:lnTo>
                            <a:lnTo>
                              <a:pt x="1062" y="19"/>
                            </a:lnTo>
                            <a:lnTo>
                              <a:pt x="1067" y="23"/>
                            </a:lnTo>
                            <a:lnTo>
                              <a:pt x="1073" y="29"/>
                            </a:lnTo>
                            <a:lnTo>
                              <a:pt x="1076" y="35"/>
                            </a:lnTo>
                            <a:lnTo>
                              <a:pt x="1081" y="42"/>
                            </a:lnTo>
                            <a:lnTo>
                              <a:pt x="1083" y="50"/>
                            </a:lnTo>
                            <a:lnTo>
                              <a:pt x="1085" y="57"/>
                            </a:lnTo>
                            <a:lnTo>
                              <a:pt x="1087" y="65"/>
                            </a:lnTo>
                            <a:lnTo>
                              <a:pt x="1088" y="73"/>
                            </a:lnTo>
                            <a:lnTo>
                              <a:pt x="1088" y="73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chemeClr val="tx2">
                              <a:lumMod val="50000"/>
                            </a:schemeClr>
                          </a:gs>
                          <a:gs pos="100000">
                            <a:schemeClr val="tx2">
                              <a:lumMod val="40000"/>
                              <a:lumOff val="60000"/>
                              <a:alpha val="50000"/>
                            </a:schemeClr>
                          </a:gs>
                        </a:gsLst>
                        <a:lin ang="4980000" scaled="0"/>
                        <a:tileRect/>
                      </a:gra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2" name="Freeform 24">
                        <a:extLst>
                          <a:ext uri="{FF2B5EF4-FFF2-40B4-BE49-F238E27FC236}">
                            <a16:creationId xmlns:a16="http://schemas.microsoft.com/office/drawing/2014/main" xmlns="" id="{29F30F8E-9D59-3440-8F49-E966FE0526C3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876551" y="5884518"/>
                        <a:ext cx="784225" cy="147637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988" y="68"/>
                          </a:cxn>
                          <a:cxn ang="0">
                            <a:pos x="987" y="84"/>
                          </a:cxn>
                          <a:cxn ang="0">
                            <a:pos x="983" y="99"/>
                          </a:cxn>
                          <a:cxn ang="0">
                            <a:pos x="968" y="125"/>
                          </a:cxn>
                          <a:cxn ang="0">
                            <a:pos x="950" y="142"/>
                          </a:cxn>
                          <a:cxn ang="0">
                            <a:pos x="936" y="149"/>
                          </a:cxn>
                          <a:cxn ang="0">
                            <a:pos x="922" y="154"/>
                          </a:cxn>
                          <a:cxn ang="0">
                            <a:pos x="914" y="156"/>
                          </a:cxn>
                          <a:cxn ang="0">
                            <a:pos x="705" y="175"/>
                          </a:cxn>
                          <a:cxn ang="0">
                            <a:pos x="496" y="185"/>
                          </a:cxn>
                          <a:cxn ang="0">
                            <a:pos x="286" y="183"/>
                          </a:cxn>
                          <a:cxn ang="0">
                            <a:pos x="77" y="173"/>
                          </a:cxn>
                          <a:cxn ang="0">
                            <a:pos x="70" y="173"/>
                          </a:cxn>
                          <a:cxn ang="0">
                            <a:pos x="55" y="168"/>
                          </a:cxn>
                          <a:cxn ang="0">
                            <a:pos x="41" y="161"/>
                          </a:cxn>
                          <a:cxn ang="0">
                            <a:pos x="23" y="146"/>
                          </a:cxn>
                          <a:cxn ang="0">
                            <a:pos x="7" y="120"/>
                          </a:cxn>
                          <a:cxn ang="0">
                            <a:pos x="3" y="106"/>
                          </a:cxn>
                          <a:cxn ang="0">
                            <a:pos x="0" y="89"/>
                          </a:cxn>
                          <a:cxn ang="0">
                            <a:pos x="0" y="89"/>
                          </a:cxn>
                          <a:cxn ang="0">
                            <a:pos x="1" y="74"/>
                          </a:cxn>
                          <a:cxn ang="0">
                            <a:pos x="6" y="59"/>
                          </a:cxn>
                          <a:cxn ang="0">
                            <a:pos x="12" y="46"/>
                          </a:cxn>
                          <a:cxn ang="0">
                            <a:pos x="21" y="36"/>
                          </a:cxn>
                          <a:cxn ang="0">
                            <a:pos x="33" y="28"/>
                          </a:cxn>
                          <a:cxn ang="0">
                            <a:pos x="44" y="22"/>
                          </a:cxn>
                          <a:cxn ang="0">
                            <a:pos x="59" y="19"/>
                          </a:cxn>
                          <a:cxn ang="0">
                            <a:pos x="75" y="17"/>
                          </a:cxn>
                          <a:cxn ang="0">
                            <a:pos x="179" y="24"/>
                          </a:cxn>
                          <a:cxn ang="0">
                            <a:pos x="388" y="30"/>
                          </a:cxn>
                          <a:cxn ang="0">
                            <a:pos x="597" y="25"/>
                          </a:cxn>
                          <a:cxn ang="0">
                            <a:pos x="806" y="10"/>
                          </a:cxn>
                          <a:cxn ang="0">
                            <a:pos x="911" y="0"/>
                          </a:cxn>
                          <a:cxn ang="0">
                            <a:pos x="927" y="0"/>
                          </a:cxn>
                          <a:cxn ang="0">
                            <a:pos x="941" y="2"/>
                          </a:cxn>
                          <a:cxn ang="0">
                            <a:pos x="954" y="8"/>
                          </a:cxn>
                          <a:cxn ang="0">
                            <a:pos x="965" y="16"/>
                          </a:cxn>
                          <a:cxn ang="0">
                            <a:pos x="974" y="27"/>
                          </a:cxn>
                          <a:cxn ang="0">
                            <a:pos x="981" y="38"/>
                          </a:cxn>
                          <a:cxn ang="0">
                            <a:pos x="986" y="52"/>
                          </a:cxn>
                          <a:cxn ang="0">
                            <a:pos x="988" y="68"/>
                          </a:cxn>
                        </a:cxnLst>
                        <a:rect l="0" t="0" r="r" b="b"/>
                        <a:pathLst>
                          <a:path w="988" h="186">
                            <a:moveTo>
                              <a:pt x="988" y="68"/>
                            </a:moveTo>
                            <a:lnTo>
                              <a:pt x="988" y="68"/>
                            </a:lnTo>
                            <a:lnTo>
                              <a:pt x="987" y="77"/>
                            </a:lnTo>
                            <a:lnTo>
                              <a:pt x="987" y="84"/>
                            </a:lnTo>
                            <a:lnTo>
                              <a:pt x="985" y="92"/>
                            </a:lnTo>
                            <a:lnTo>
                              <a:pt x="983" y="99"/>
                            </a:lnTo>
                            <a:lnTo>
                              <a:pt x="976" y="114"/>
                            </a:lnTo>
                            <a:lnTo>
                              <a:pt x="968" y="125"/>
                            </a:lnTo>
                            <a:lnTo>
                              <a:pt x="956" y="137"/>
                            </a:lnTo>
                            <a:lnTo>
                              <a:pt x="950" y="142"/>
                            </a:lnTo>
                            <a:lnTo>
                              <a:pt x="943" y="145"/>
                            </a:lnTo>
                            <a:lnTo>
                              <a:pt x="936" y="149"/>
                            </a:lnTo>
                            <a:lnTo>
                              <a:pt x="929" y="152"/>
                            </a:lnTo>
                            <a:lnTo>
                              <a:pt x="922" y="154"/>
                            </a:lnTo>
                            <a:lnTo>
                              <a:pt x="914" y="156"/>
                            </a:lnTo>
                            <a:lnTo>
                              <a:pt x="914" y="156"/>
                            </a:lnTo>
                            <a:lnTo>
                              <a:pt x="810" y="166"/>
                            </a:lnTo>
                            <a:lnTo>
                              <a:pt x="705" y="175"/>
                            </a:lnTo>
                            <a:lnTo>
                              <a:pt x="601" y="181"/>
                            </a:lnTo>
                            <a:lnTo>
                              <a:pt x="496" y="185"/>
                            </a:lnTo>
                            <a:lnTo>
                              <a:pt x="392" y="186"/>
                            </a:lnTo>
                            <a:lnTo>
                              <a:pt x="286" y="183"/>
                            </a:lnTo>
                            <a:lnTo>
                              <a:pt x="181" y="180"/>
                            </a:lnTo>
                            <a:lnTo>
                              <a:pt x="77" y="173"/>
                            </a:lnTo>
                            <a:lnTo>
                              <a:pt x="77" y="173"/>
                            </a:lnTo>
                            <a:lnTo>
                              <a:pt x="70" y="173"/>
                            </a:lnTo>
                            <a:lnTo>
                              <a:pt x="62" y="171"/>
                            </a:lnTo>
                            <a:lnTo>
                              <a:pt x="55" y="168"/>
                            </a:lnTo>
                            <a:lnTo>
                              <a:pt x="48" y="165"/>
                            </a:lnTo>
                            <a:lnTo>
                              <a:pt x="41" y="161"/>
                            </a:lnTo>
                            <a:lnTo>
                              <a:pt x="35" y="157"/>
                            </a:lnTo>
                            <a:lnTo>
                              <a:pt x="23" y="146"/>
                            </a:lnTo>
                            <a:lnTo>
                              <a:pt x="14" y="133"/>
                            </a:lnTo>
                            <a:lnTo>
                              <a:pt x="7" y="120"/>
                            </a:lnTo>
                            <a:lnTo>
                              <a:pt x="4" y="113"/>
                            </a:lnTo>
                            <a:lnTo>
                              <a:pt x="3" y="106"/>
                            </a:lnTo>
                            <a:lnTo>
                              <a:pt x="1" y="97"/>
                            </a:lnTo>
                            <a:lnTo>
                              <a:pt x="0" y="89"/>
                            </a:lnTo>
                            <a:lnTo>
                              <a:pt x="0" y="89"/>
                            </a:lnTo>
                            <a:lnTo>
                              <a:pt x="0" y="89"/>
                            </a:lnTo>
                            <a:lnTo>
                              <a:pt x="0" y="81"/>
                            </a:lnTo>
                            <a:lnTo>
                              <a:pt x="1" y="74"/>
                            </a:lnTo>
                            <a:lnTo>
                              <a:pt x="4" y="66"/>
                            </a:lnTo>
                            <a:lnTo>
                              <a:pt x="6" y="59"/>
                            </a:lnTo>
                            <a:lnTo>
                              <a:pt x="8" y="53"/>
                            </a:lnTo>
                            <a:lnTo>
                              <a:pt x="12" y="46"/>
                            </a:lnTo>
                            <a:lnTo>
                              <a:pt x="16" y="42"/>
                            </a:lnTo>
                            <a:lnTo>
                              <a:pt x="21" y="36"/>
                            </a:lnTo>
                            <a:lnTo>
                              <a:pt x="27" y="31"/>
                            </a:lnTo>
                            <a:lnTo>
                              <a:pt x="33" y="28"/>
                            </a:lnTo>
                            <a:lnTo>
                              <a:pt x="39" y="24"/>
                            </a:lnTo>
                            <a:lnTo>
                              <a:pt x="44" y="22"/>
                            </a:lnTo>
                            <a:lnTo>
                              <a:pt x="51" y="20"/>
                            </a:lnTo>
                            <a:lnTo>
                              <a:pt x="59" y="19"/>
                            </a:lnTo>
                            <a:lnTo>
                              <a:pt x="66" y="17"/>
                            </a:lnTo>
                            <a:lnTo>
                              <a:pt x="75" y="17"/>
                            </a:lnTo>
                            <a:lnTo>
                              <a:pt x="75" y="17"/>
                            </a:lnTo>
                            <a:lnTo>
                              <a:pt x="179" y="24"/>
                            </a:lnTo>
                            <a:lnTo>
                              <a:pt x="284" y="28"/>
                            </a:lnTo>
                            <a:lnTo>
                              <a:pt x="388" y="30"/>
                            </a:lnTo>
                            <a:lnTo>
                              <a:pt x="493" y="29"/>
                            </a:lnTo>
                            <a:lnTo>
                              <a:pt x="597" y="25"/>
                            </a:lnTo>
                            <a:lnTo>
                              <a:pt x="702" y="20"/>
                            </a:lnTo>
                            <a:lnTo>
                              <a:pt x="806" y="10"/>
                            </a:lnTo>
                            <a:lnTo>
                              <a:pt x="911" y="0"/>
                            </a:lnTo>
                            <a:lnTo>
                              <a:pt x="911" y="0"/>
                            </a:lnTo>
                            <a:lnTo>
                              <a:pt x="919" y="0"/>
                            </a:lnTo>
                            <a:lnTo>
                              <a:pt x="927" y="0"/>
                            </a:lnTo>
                            <a:lnTo>
                              <a:pt x="934" y="1"/>
                            </a:lnTo>
                            <a:lnTo>
                              <a:pt x="941" y="2"/>
                            </a:lnTo>
                            <a:lnTo>
                              <a:pt x="948" y="5"/>
                            </a:lnTo>
                            <a:lnTo>
                              <a:pt x="954" y="8"/>
                            </a:lnTo>
                            <a:lnTo>
                              <a:pt x="959" y="12"/>
                            </a:lnTo>
                            <a:lnTo>
                              <a:pt x="965" y="16"/>
                            </a:lnTo>
                            <a:lnTo>
                              <a:pt x="970" y="21"/>
                            </a:lnTo>
                            <a:lnTo>
                              <a:pt x="974" y="27"/>
                            </a:lnTo>
                            <a:lnTo>
                              <a:pt x="978" y="32"/>
                            </a:lnTo>
                            <a:lnTo>
                              <a:pt x="981" y="38"/>
                            </a:lnTo>
                            <a:lnTo>
                              <a:pt x="984" y="45"/>
                            </a:lnTo>
                            <a:lnTo>
                              <a:pt x="986" y="52"/>
                            </a:lnTo>
                            <a:lnTo>
                              <a:pt x="987" y="60"/>
                            </a:lnTo>
                            <a:lnTo>
                              <a:pt x="988" y="68"/>
                            </a:lnTo>
                            <a:lnTo>
                              <a:pt x="988" y="68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chemeClr val="tx2">
                              <a:lumMod val="50000"/>
                            </a:schemeClr>
                          </a:gs>
                          <a:gs pos="100000">
                            <a:schemeClr val="tx2">
                              <a:lumMod val="40000"/>
                              <a:lumOff val="60000"/>
                              <a:alpha val="50000"/>
                            </a:schemeClr>
                          </a:gs>
                        </a:gsLst>
                        <a:lin ang="4980000" scaled="0"/>
                        <a:tileRect/>
                      </a:gra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3" name="Freeform 25">
                        <a:extLst>
                          <a:ext uri="{FF2B5EF4-FFF2-40B4-BE49-F238E27FC236}">
                            <a16:creationId xmlns:a16="http://schemas.microsoft.com/office/drawing/2014/main" xmlns="" id="{D8DD20AF-776E-D349-BADA-C046D28BF94D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933700" y="5711825"/>
                        <a:ext cx="715963" cy="13652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901" y="64"/>
                          </a:cxn>
                          <a:cxn ang="0">
                            <a:pos x="900" y="79"/>
                          </a:cxn>
                          <a:cxn ang="0">
                            <a:pos x="891" y="105"/>
                          </a:cxn>
                          <a:cxn ang="0">
                            <a:pos x="872" y="127"/>
                          </a:cxn>
                          <a:cxn ang="0">
                            <a:pos x="855" y="139"/>
                          </a:cxn>
                          <a:cxn ang="0">
                            <a:pos x="841" y="144"/>
                          </a:cxn>
                          <a:cxn ang="0">
                            <a:pos x="834" y="145"/>
                          </a:cxn>
                          <a:cxn ang="0">
                            <a:pos x="644" y="163"/>
                          </a:cxn>
                          <a:cxn ang="0">
                            <a:pos x="453" y="172"/>
                          </a:cxn>
                          <a:cxn ang="0">
                            <a:pos x="261" y="172"/>
                          </a:cxn>
                          <a:cxn ang="0">
                            <a:pos x="71" y="162"/>
                          </a:cxn>
                          <a:cxn ang="0">
                            <a:pos x="64" y="161"/>
                          </a:cxn>
                          <a:cxn ang="0">
                            <a:pos x="50" y="156"/>
                          </a:cxn>
                          <a:cxn ang="0">
                            <a:pos x="33" y="146"/>
                          </a:cxn>
                          <a:cxn ang="0">
                            <a:pos x="13" y="125"/>
                          </a:cxn>
                          <a:cxn ang="0">
                            <a:pos x="3" y="98"/>
                          </a:cxn>
                          <a:cxn ang="0">
                            <a:pos x="0" y="83"/>
                          </a:cxn>
                          <a:cxn ang="0">
                            <a:pos x="0" y="83"/>
                          </a:cxn>
                          <a:cxn ang="0">
                            <a:pos x="1" y="69"/>
                          </a:cxn>
                          <a:cxn ang="0">
                            <a:pos x="6" y="55"/>
                          </a:cxn>
                          <a:cxn ang="0">
                            <a:pos x="20" y="33"/>
                          </a:cxn>
                          <a:cxn ang="0">
                            <a:pos x="35" y="23"/>
                          </a:cxn>
                          <a:cxn ang="0">
                            <a:pos x="48" y="18"/>
                          </a:cxn>
                          <a:cxn ang="0">
                            <a:pos x="61" y="16"/>
                          </a:cxn>
                          <a:cxn ang="0">
                            <a:pos x="68" y="17"/>
                          </a:cxn>
                          <a:cxn ang="0">
                            <a:pos x="259" y="26"/>
                          </a:cxn>
                          <a:cxn ang="0">
                            <a:pos x="450" y="28"/>
                          </a:cxn>
                          <a:cxn ang="0">
                            <a:pos x="641" y="18"/>
                          </a:cxn>
                          <a:cxn ang="0">
                            <a:pos x="832" y="0"/>
                          </a:cxn>
                          <a:cxn ang="0">
                            <a:pos x="839" y="0"/>
                          </a:cxn>
                          <a:cxn ang="0">
                            <a:pos x="851" y="1"/>
                          </a:cxn>
                          <a:cxn ang="0">
                            <a:pos x="864" y="4"/>
                          </a:cxn>
                          <a:cxn ang="0">
                            <a:pos x="880" y="15"/>
                          </a:cxn>
                          <a:cxn ang="0">
                            <a:pos x="896" y="36"/>
                          </a:cxn>
                          <a:cxn ang="0">
                            <a:pos x="900" y="50"/>
                          </a:cxn>
                          <a:cxn ang="0">
                            <a:pos x="901" y="64"/>
                          </a:cxn>
                        </a:cxnLst>
                        <a:rect l="0" t="0" r="r" b="b"/>
                        <a:pathLst>
                          <a:path w="901" h="173">
                            <a:moveTo>
                              <a:pt x="901" y="64"/>
                            </a:moveTo>
                            <a:lnTo>
                              <a:pt x="901" y="64"/>
                            </a:lnTo>
                            <a:lnTo>
                              <a:pt x="901" y="71"/>
                            </a:lnTo>
                            <a:lnTo>
                              <a:pt x="900" y="79"/>
                            </a:lnTo>
                            <a:lnTo>
                              <a:pt x="897" y="93"/>
                            </a:lnTo>
                            <a:lnTo>
                              <a:pt x="891" y="105"/>
                            </a:lnTo>
                            <a:lnTo>
                              <a:pt x="883" y="117"/>
                            </a:lnTo>
                            <a:lnTo>
                              <a:pt x="872" y="127"/>
                            </a:lnTo>
                            <a:lnTo>
                              <a:pt x="861" y="136"/>
                            </a:lnTo>
                            <a:lnTo>
                              <a:pt x="855" y="139"/>
                            </a:lnTo>
                            <a:lnTo>
                              <a:pt x="848" y="141"/>
                            </a:lnTo>
                            <a:lnTo>
                              <a:pt x="841" y="144"/>
                            </a:lnTo>
                            <a:lnTo>
                              <a:pt x="834" y="145"/>
                            </a:lnTo>
                            <a:lnTo>
                              <a:pt x="834" y="145"/>
                            </a:lnTo>
                            <a:lnTo>
                              <a:pt x="739" y="155"/>
                            </a:lnTo>
                            <a:lnTo>
                              <a:pt x="644" y="163"/>
                            </a:lnTo>
                            <a:lnTo>
                              <a:pt x="548" y="169"/>
                            </a:lnTo>
                            <a:lnTo>
                              <a:pt x="453" y="172"/>
                            </a:lnTo>
                            <a:lnTo>
                              <a:pt x="357" y="173"/>
                            </a:lnTo>
                            <a:lnTo>
                              <a:pt x="261" y="172"/>
                            </a:lnTo>
                            <a:lnTo>
                              <a:pt x="166" y="168"/>
                            </a:lnTo>
                            <a:lnTo>
                              <a:pt x="71" y="162"/>
                            </a:lnTo>
                            <a:lnTo>
                              <a:pt x="71" y="162"/>
                            </a:lnTo>
                            <a:lnTo>
                              <a:pt x="64" y="161"/>
                            </a:lnTo>
                            <a:lnTo>
                              <a:pt x="57" y="159"/>
                            </a:lnTo>
                            <a:lnTo>
                              <a:pt x="50" y="156"/>
                            </a:lnTo>
                            <a:lnTo>
                              <a:pt x="44" y="154"/>
                            </a:lnTo>
                            <a:lnTo>
                              <a:pt x="33" y="146"/>
                            </a:lnTo>
                            <a:lnTo>
                              <a:pt x="22" y="137"/>
                            </a:lnTo>
                            <a:lnTo>
                              <a:pt x="13" y="125"/>
                            </a:lnTo>
                            <a:lnTo>
                              <a:pt x="7" y="112"/>
                            </a:lnTo>
                            <a:lnTo>
                              <a:pt x="3" y="98"/>
                            </a:lnTo>
                            <a:lnTo>
                              <a:pt x="1" y="90"/>
                            </a:lnTo>
                            <a:lnTo>
                              <a:pt x="0" y="83"/>
                            </a:lnTo>
                            <a:lnTo>
                              <a:pt x="0" y="83"/>
                            </a:lnTo>
                            <a:lnTo>
                              <a:pt x="0" y="83"/>
                            </a:lnTo>
                            <a:lnTo>
                              <a:pt x="1" y="76"/>
                            </a:lnTo>
                            <a:lnTo>
                              <a:pt x="1" y="69"/>
                            </a:lnTo>
                            <a:lnTo>
                              <a:pt x="4" y="62"/>
                            </a:lnTo>
                            <a:lnTo>
                              <a:pt x="6" y="55"/>
                            </a:lnTo>
                            <a:lnTo>
                              <a:pt x="12" y="44"/>
                            </a:lnTo>
                            <a:lnTo>
                              <a:pt x="20" y="33"/>
                            </a:lnTo>
                            <a:lnTo>
                              <a:pt x="30" y="26"/>
                            </a:lnTo>
                            <a:lnTo>
                              <a:pt x="35" y="23"/>
                            </a:lnTo>
                            <a:lnTo>
                              <a:pt x="41" y="21"/>
                            </a:lnTo>
                            <a:lnTo>
                              <a:pt x="48" y="18"/>
                            </a:lnTo>
                            <a:lnTo>
                              <a:pt x="54" y="17"/>
                            </a:lnTo>
                            <a:lnTo>
                              <a:pt x="61" y="16"/>
                            </a:lnTo>
                            <a:lnTo>
                              <a:pt x="68" y="17"/>
                            </a:lnTo>
                            <a:lnTo>
                              <a:pt x="68" y="17"/>
                            </a:lnTo>
                            <a:lnTo>
                              <a:pt x="163" y="23"/>
                            </a:lnTo>
                            <a:lnTo>
                              <a:pt x="259" y="26"/>
                            </a:lnTo>
                            <a:lnTo>
                              <a:pt x="354" y="28"/>
                            </a:lnTo>
                            <a:lnTo>
                              <a:pt x="450" y="28"/>
                            </a:lnTo>
                            <a:lnTo>
                              <a:pt x="545" y="24"/>
                            </a:lnTo>
                            <a:lnTo>
                              <a:pt x="641" y="18"/>
                            </a:lnTo>
                            <a:lnTo>
                              <a:pt x="736" y="10"/>
                            </a:lnTo>
                            <a:lnTo>
                              <a:pt x="832" y="0"/>
                            </a:lnTo>
                            <a:lnTo>
                              <a:pt x="832" y="0"/>
                            </a:lnTo>
                            <a:lnTo>
                              <a:pt x="839" y="0"/>
                            </a:lnTo>
                            <a:lnTo>
                              <a:pt x="846" y="0"/>
                            </a:lnTo>
                            <a:lnTo>
                              <a:pt x="851" y="1"/>
                            </a:lnTo>
                            <a:lnTo>
                              <a:pt x="858" y="2"/>
                            </a:lnTo>
                            <a:lnTo>
                              <a:pt x="864" y="4"/>
                            </a:lnTo>
                            <a:lnTo>
                              <a:pt x="870" y="8"/>
                            </a:lnTo>
                            <a:lnTo>
                              <a:pt x="880" y="15"/>
                            </a:lnTo>
                            <a:lnTo>
                              <a:pt x="889" y="25"/>
                            </a:lnTo>
                            <a:lnTo>
                              <a:pt x="896" y="36"/>
                            </a:lnTo>
                            <a:lnTo>
                              <a:pt x="898" y="43"/>
                            </a:lnTo>
                            <a:lnTo>
                              <a:pt x="900" y="50"/>
                            </a:lnTo>
                            <a:lnTo>
                              <a:pt x="901" y="57"/>
                            </a:lnTo>
                            <a:lnTo>
                              <a:pt x="901" y="64"/>
                            </a:lnTo>
                            <a:lnTo>
                              <a:pt x="901" y="64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chemeClr val="tx2">
                              <a:lumMod val="50000"/>
                            </a:schemeClr>
                          </a:gs>
                          <a:gs pos="100000">
                            <a:schemeClr val="tx2">
                              <a:lumMod val="40000"/>
                              <a:lumOff val="60000"/>
                              <a:alpha val="50000"/>
                            </a:schemeClr>
                          </a:gs>
                        </a:gsLst>
                        <a:lin ang="4980000" scaled="0"/>
                        <a:tileRect/>
                      </a:gra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4" name="Freeform 26">
                        <a:extLst>
                          <a:ext uri="{FF2B5EF4-FFF2-40B4-BE49-F238E27FC236}">
                            <a16:creationId xmlns:a16="http://schemas.microsoft.com/office/drawing/2014/main" xmlns="" id="{91BBF5DB-57B1-3C47-A333-8CC0369742F9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982913" y="5543212"/>
                        <a:ext cx="661988" cy="1270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834" y="58"/>
                          </a:cxn>
                          <a:cxn ang="0">
                            <a:pos x="834" y="58"/>
                          </a:cxn>
                          <a:cxn ang="0">
                            <a:pos x="832" y="72"/>
                          </a:cxn>
                          <a:cxn ang="0">
                            <a:pos x="829" y="84"/>
                          </a:cxn>
                          <a:cxn ang="0">
                            <a:pos x="824" y="97"/>
                          </a:cxn>
                          <a:cxn ang="0">
                            <a:pos x="816" y="108"/>
                          </a:cxn>
                          <a:cxn ang="0">
                            <a:pos x="807" y="117"/>
                          </a:cxn>
                          <a:cxn ang="0">
                            <a:pos x="796" y="125"/>
                          </a:cxn>
                          <a:cxn ang="0">
                            <a:pos x="785" y="131"/>
                          </a:cxn>
                          <a:cxn ang="0">
                            <a:pos x="778" y="132"/>
                          </a:cxn>
                          <a:cxn ang="0">
                            <a:pos x="772" y="133"/>
                          </a:cxn>
                          <a:cxn ang="0">
                            <a:pos x="772" y="133"/>
                          </a:cxn>
                          <a:cxn ang="0">
                            <a:pos x="684" y="143"/>
                          </a:cxn>
                          <a:cxn ang="0">
                            <a:pos x="595" y="151"/>
                          </a:cxn>
                          <a:cxn ang="0">
                            <a:pos x="506" y="155"/>
                          </a:cxn>
                          <a:cxn ang="0">
                            <a:pos x="418" y="159"/>
                          </a:cxn>
                          <a:cxn ang="0">
                            <a:pos x="330" y="160"/>
                          </a:cxn>
                          <a:cxn ang="0">
                            <a:pos x="241" y="158"/>
                          </a:cxn>
                          <a:cxn ang="0">
                            <a:pos x="153" y="154"/>
                          </a:cxn>
                          <a:cxn ang="0">
                            <a:pos x="65" y="149"/>
                          </a:cxn>
                          <a:cxn ang="0">
                            <a:pos x="65" y="149"/>
                          </a:cxn>
                          <a:cxn ang="0">
                            <a:pos x="58" y="148"/>
                          </a:cxn>
                          <a:cxn ang="0">
                            <a:pos x="52" y="147"/>
                          </a:cxn>
                          <a:cxn ang="0">
                            <a:pos x="39" y="141"/>
                          </a:cxn>
                          <a:cxn ang="0">
                            <a:pos x="29" y="134"/>
                          </a:cxn>
                          <a:cxn ang="0">
                            <a:pos x="19" y="125"/>
                          </a:cxn>
                          <a:cxn ang="0">
                            <a:pos x="11" y="115"/>
                          </a:cxn>
                          <a:cxn ang="0">
                            <a:pos x="6" y="103"/>
                          </a:cxn>
                          <a:cxn ang="0">
                            <a:pos x="1" y="90"/>
                          </a:cxn>
                          <a:cxn ang="0">
                            <a:pos x="0" y="76"/>
                          </a:cxn>
                          <a:cxn ang="0">
                            <a:pos x="0" y="76"/>
                          </a:cxn>
                          <a:cxn ang="0">
                            <a:pos x="0" y="76"/>
                          </a:cxn>
                          <a:cxn ang="0">
                            <a:pos x="1" y="64"/>
                          </a:cxn>
                          <a:cxn ang="0">
                            <a:pos x="4" y="51"/>
                          </a:cxn>
                          <a:cxn ang="0">
                            <a:pos x="10" y="40"/>
                          </a:cxn>
                          <a:cxn ang="0">
                            <a:pos x="17" y="31"/>
                          </a:cxn>
                          <a:cxn ang="0">
                            <a:pos x="26" y="23"/>
                          </a:cxn>
                          <a:cxn ang="0">
                            <a:pos x="37" y="18"/>
                          </a:cxn>
                          <a:cxn ang="0">
                            <a:pos x="49" y="15"/>
                          </a:cxn>
                          <a:cxn ang="0">
                            <a:pos x="61" y="15"/>
                          </a:cxn>
                          <a:cxn ang="0">
                            <a:pos x="61" y="15"/>
                          </a:cxn>
                          <a:cxn ang="0">
                            <a:pos x="150" y="21"/>
                          </a:cxn>
                          <a:cxn ang="0">
                            <a:pos x="239" y="24"/>
                          </a:cxn>
                          <a:cxn ang="0">
                            <a:pos x="327" y="25"/>
                          </a:cxn>
                          <a:cxn ang="0">
                            <a:pos x="415" y="24"/>
                          </a:cxn>
                          <a:cxn ang="0">
                            <a:pos x="504" y="22"/>
                          </a:cxn>
                          <a:cxn ang="0">
                            <a:pos x="592" y="16"/>
                          </a:cxn>
                          <a:cxn ang="0">
                            <a:pos x="680" y="9"/>
                          </a:cxn>
                          <a:cxn ang="0">
                            <a:pos x="768" y="0"/>
                          </a:cxn>
                          <a:cxn ang="0">
                            <a:pos x="768" y="0"/>
                          </a:cxn>
                          <a:cxn ang="0">
                            <a:pos x="781" y="0"/>
                          </a:cxn>
                          <a:cxn ang="0">
                            <a:pos x="794" y="2"/>
                          </a:cxn>
                          <a:cxn ang="0">
                            <a:pos x="804" y="7"/>
                          </a:cxn>
                          <a:cxn ang="0">
                            <a:pos x="814" y="14"/>
                          </a:cxn>
                          <a:cxn ang="0">
                            <a:pos x="822" y="22"/>
                          </a:cxn>
                          <a:cxn ang="0">
                            <a:pos x="828" y="32"/>
                          </a:cxn>
                          <a:cxn ang="0">
                            <a:pos x="832" y="45"/>
                          </a:cxn>
                          <a:cxn ang="0">
                            <a:pos x="834" y="58"/>
                          </a:cxn>
                          <a:cxn ang="0">
                            <a:pos x="834" y="58"/>
                          </a:cxn>
                        </a:cxnLst>
                        <a:rect l="0" t="0" r="r" b="b"/>
                        <a:pathLst>
                          <a:path w="834" h="160">
                            <a:moveTo>
                              <a:pt x="834" y="58"/>
                            </a:moveTo>
                            <a:lnTo>
                              <a:pt x="834" y="58"/>
                            </a:lnTo>
                            <a:lnTo>
                              <a:pt x="832" y="72"/>
                            </a:lnTo>
                            <a:lnTo>
                              <a:pt x="829" y="84"/>
                            </a:lnTo>
                            <a:lnTo>
                              <a:pt x="824" y="97"/>
                            </a:lnTo>
                            <a:lnTo>
                              <a:pt x="816" y="108"/>
                            </a:lnTo>
                            <a:lnTo>
                              <a:pt x="807" y="117"/>
                            </a:lnTo>
                            <a:lnTo>
                              <a:pt x="796" y="125"/>
                            </a:lnTo>
                            <a:lnTo>
                              <a:pt x="785" y="131"/>
                            </a:lnTo>
                            <a:lnTo>
                              <a:pt x="778" y="132"/>
                            </a:lnTo>
                            <a:lnTo>
                              <a:pt x="772" y="133"/>
                            </a:lnTo>
                            <a:lnTo>
                              <a:pt x="772" y="133"/>
                            </a:lnTo>
                            <a:lnTo>
                              <a:pt x="684" y="143"/>
                            </a:lnTo>
                            <a:lnTo>
                              <a:pt x="595" y="151"/>
                            </a:lnTo>
                            <a:lnTo>
                              <a:pt x="506" y="155"/>
                            </a:lnTo>
                            <a:lnTo>
                              <a:pt x="418" y="159"/>
                            </a:lnTo>
                            <a:lnTo>
                              <a:pt x="330" y="160"/>
                            </a:lnTo>
                            <a:lnTo>
                              <a:pt x="241" y="158"/>
                            </a:lnTo>
                            <a:lnTo>
                              <a:pt x="153" y="154"/>
                            </a:lnTo>
                            <a:lnTo>
                              <a:pt x="65" y="149"/>
                            </a:lnTo>
                            <a:lnTo>
                              <a:pt x="65" y="149"/>
                            </a:lnTo>
                            <a:lnTo>
                              <a:pt x="58" y="148"/>
                            </a:lnTo>
                            <a:lnTo>
                              <a:pt x="52" y="147"/>
                            </a:lnTo>
                            <a:lnTo>
                              <a:pt x="39" y="141"/>
                            </a:lnTo>
                            <a:lnTo>
                              <a:pt x="29" y="134"/>
                            </a:lnTo>
                            <a:lnTo>
                              <a:pt x="19" y="125"/>
                            </a:lnTo>
                            <a:lnTo>
                              <a:pt x="11" y="115"/>
                            </a:lnTo>
                            <a:lnTo>
                              <a:pt x="6" y="103"/>
                            </a:lnTo>
                            <a:lnTo>
                              <a:pt x="1" y="90"/>
                            </a:lnTo>
                            <a:lnTo>
                              <a:pt x="0" y="76"/>
                            </a:lnTo>
                            <a:lnTo>
                              <a:pt x="0" y="76"/>
                            </a:lnTo>
                            <a:lnTo>
                              <a:pt x="0" y="76"/>
                            </a:lnTo>
                            <a:lnTo>
                              <a:pt x="1" y="64"/>
                            </a:lnTo>
                            <a:lnTo>
                              <a:pt x="4" y="51"/>
                            </a:lnTo>
                            <a:lnTo>
                              <a:pt x="10" y="40"/>
                            </a:lnTo>
                            <a:lnTo>
                              <a:pt x="17" y="31"/>
                            </a:lnTo>
                            <a:lnTo>
                              <a:pt x="26" y="23"/>
                            </a:lnTo>
                            <a:lnTo>
                              <a:pt x="37" y="18"/>
                            </a:lnTo>
                            <a:lnTo>
                              <a:pt x="49" y="15"/>
                            </a:lnTo>
                            <a:lnTo>
                              <a:pt x="61" y="15"/>
                            </a:lnTo>
                            <a:lnTo>
                              <a:pt x="61" y="15"/>
                            </a:lnTo>
                            <a:lnTo>
                              <a:pt x="150" y="21"/>
                            </a:lnTo>
                            <a:lnTo>
                              <a:pt x="239" y="24"/>
                            </a:lnTo>
                            <a:lnTo>
                              <a:pt x="327" y="25"/>
                            </a:lnTo>
                            <a:lnTo>
                              <a:pt x="415" y="24"/>
                            </a:lnTo>
                            <a:lnTo>
                              <a:pt x="504" y="22"/>
                            </a:lnTo>
                            <a:lnTo>
                              <a:pt x="592" y="16"/>
                            </a:lnTo>
                            <a:lnTo>
                              <a:pt x="680" y="9"/>
                            </a:lnTo>
                            <a:lnTo>
                              <a:pt x="768" y="0"/>
                            </a:lnTo>
                            <a:lnTo>
                              <a:pt x="768" y="0"/>
                            </a:lnTo>
                            <a:lnTo>
                              <a:pt x="781" y="0"/>
                            </a:lnTo>
                            <a:lnTo>
                              <a:pt x="794" y="2"/>
                            </a:lnTo>
                            <a:lnTo>
                              <a:pt x="804" y="7"/>
                            </a:lnTo>
                            <a:lnTo>
                              <a:pt x="814" y="14"/>
                            </a:lnTo>
                            <a:lnTo>
                              <a:pt x="822" y="22"/>
                            </a:lnTo>
                            <a:lnTo>
                              <a:pt x="828" y="32"/>
                            </a:lnTo>
                            <a:lnTo>
                              <a:pt x="832" y="45"/>
                            </a:lnTo>
                            <a:lnTo>
                              <a:pt x="834" y="58"/>
                            </a:lnTo>
                            <a:lnTo>
                              <a:pt x="834" y="58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chemeClr val="tx2">
                              <a:lumMod val="50000"/>
                            </a:schemeClr>
                          </a:gs>
                          <a:gs pos="100000">
                            <a:schemeClr val="tx2">
                              <a:lumMod val="40000"/>
                              <a:lumOff val="60000"/>
                              <a:alpha val="50000"/>
                            </a:schemeClr>
                          </a:gs>
                        </a:gsLst>
                        <a:lin ang="4980000" scaled="0"/>
                        <a:tileRect/>
                      </a:gra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5" name="Freeform 27">
                        <a:extLst>
                          <a:ext uri="{FF2B5EF4-FFF2-40B4-BE49-F238E27FC236}">
                            <a16:creationId xmlns:a16="http://schemas.microsoft.com/office/drawing/2014/main" xmlns="" id="{02F94DF1-9838-4747-8D1E-9A3A9DC78C03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30538" y="5378112"/>
                        <a:ext cx="641350" cy="11747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808" y="54"/>
                          </a:cxn>
                          <a:cxn ang="0">
                            <a:pos x="808" y="54"/>
                          </a:cxn>
                          <a:cxn ang="0">
                            <a:pos x="807" y="66"/>
                          </a:cxn>
                          <a:cxn ang="0">
                            <a:pos x="804" y="78"/>
                          </a:cxn>
                          <a:cxn ang="0">
                            <a:pos x="798" y="89"/>
                          </a:cxn>
                          <a:cxn ang="0">
                            <a:pos x="791" y="99"/>
                          </a:cxn>
                          <a:cxn ang="0">
                            <a:pos x="782" y="109"/>
                          </a:cxn>
                          <a:cxn ang="0">
                            <a:pos x="771" y="116"/>
                          </a:cxn>
                          <a:cxn ang="0">
                            <a:pos x="761" y="120"/>
                          </a:cxn>
                          <a:cxn ang="0">
                            <a:pos x="748" y="123"/>
                          </a:cxn>
                          <a:cxn ang="0">
                            <a:pos x="748" y="123"/>
                          </a:cxn>
                          <a:cxn ang="0">
                            <a:pos x="662" y="132"/>
                          </a:cxn>
                          <a:cxn ang="0">
                            <a:pos x="577" y="139"/>
                          </a:cxn>
                          <a:cxn ang="0">
                            <a:pos x="491" y="143"/>
                          </a:cxn>
                          <a:cxn ang="0">
                            <a:pos x="405" y="146"/>
                          </a:cxn>
                          <a:cxn ang="0">
                            <a:pos x="319" y="147"/>
                          </a:cxn>
                          <a:cxn ang="0">
                            <a:pos x="234" y="146"/>
                          </a:cxn>
                          <a:cxn ang="0">
                            <a:pos x="149" y="142"/>
                          </a:cxn>
                          <a:cxn ang="0">
                            <a:pos x="63" y="138"/>
                          </a:cxn>
                          <a:cxn ang="0">
                            <a:pos x="63" y="138"/>
                          </a:cxn>
                          <a:cxn ang="0">
                            <a:pos x="50" y="135"/>
                          </a:cxn>
                          <a:cxn ang="0">
                            <a:pos x="38" y="131"/>
                          </a:cxn>
                          <a:cxn ang="0">
                            <a:pos x="28" y="124"/>
                          </a:cxn>
                          <a:cxn ang="0">
                            <a:pos x="19" y="116"/>
                          </a:cxn>
                          <a:cxn ang="0">
                            <a:pos x="12" y="106"/>
                          </a:cxn>
                          <a:cxn ang="0">
                            <a:pos x="6" y="95"/>
                          </a:cxn>
                          <a:cxn ang="0">
                            <a:pos x="1" y="83"/>
                          </a:cxn>
                          <a:cxn ang="0">
                            <a:pos x="0" y="70"/>
                          </a:cxn>
                          <a:cxn ang="0">
                            <a:pos x="0" y="70"/>
                          </a:cxn>
                          <a:cxn ang="0">
                            <a:pos x="0" y="70"/>
                          </a:cxn>
                          <a:cxn ang="0">
                            <a:pos x="1" y="59"/>
                          </a:cxn>
                          <a:cxn ang="0">
                            <a:pos x="5" y="47"/>
                          </a:cxn>
                          <a:cxn ang="0">
                            <a:pos x="9" y="37"/>
                          </a:cxn>
                          <a:cxn ang="0">
                            <a:pos x="18" y="29"/>
                          </a:cxn>
                          <a:cxn ang="0">
                            <a:pos x="26" y="22"/>
                          </a:cxn>
                          <a:cxn ang="0">
                            <a:pos x="36" y="17"/>
                          </a:cxn>
                          <a:cxn ang="0">
                            <a:pos x="48" y="13"/>
                          </a:cxn>
                          <a:cxn ang="0">
                            <a:pos x="61" y="13"/>
                          </a:cxn>
                          <a:cxn ang="0">
                            <a:pos x="61" y="13"/>
                          </a:cxn>
                          <a:cxn ang="0">
                            <a:pos x="146" y="19"/>
                          </a:cxn>
                          <a:cxn ang="0">
                            <a:pos x="231" y="22"/>
                          </a:cxn>
                          <a:cxn ang="0">
                            <a:pos x="317" y="24"/>
                          </a:cxn>
                          <a:cxn ang="0">
                            <a:pos x="403" y="23"/>
                          </a:cxn>
                          <a:cxn ang="0">
                            <a:pos x="489" y="20"/>
                          </a:cxn>
                          <a:cxn ang="0">
                            <a:pos x="574" y="15"/>
                          </a:cxn>
                          <a:cxn ang="0">
                            <a:pos x="660" y="9"/>
                          </a:cxn>
                          <a:cxn ang="0">
                            <a:pos x="746" y="0"/>
                          </a:cxn>
                          <a:cxn ang="0">
                            <a:pos x="746" y="0"/>
                          </a:cxn>
                          <a:cxn ang="0">
                            <a:pos x="757" y="0"/>
                          </a:cxn>
                          <a:cxn ang="0">
                            <a:pos x="769" y="2"/>
                          </a:cxn>
                          <a:cxn ang="0">
                            <a:pos x="780" y="6"/>
                          </a:cxn>
                          <a:cxn ang="0">
                            <a:pos x="790" y="12"/>
                          </a:cxn>
                          <a:cxn ang="0">
                            <a:pos x="797" y="20"/>
                          </a:cxn>
                          <a:cxn ang="0">
                            <a:pos x="803" y="31"/>
                          </a:cxn>
                          <a:cxn ang="0">
                            <a:pos x="807" y="41"/>
                          </a:cxn>
                          <a:cxn ang="0">
                            <a:pos x="808" y="54"/>
                          </a:cxn>
                          <a:cxn ang="0">
                            <a:pos x="808" y="54"/>
                          </a:cxn>
                        </a:cxnLst>
                        <a:rect l="0" t="0" r="r" b="b"/>
                        <a:pathLst>
                          <a:path w="808" h="147">
                            <a:moveTo>
                              <a:pt x="808" y="54"/>
                            </a:moveTo>
                            <a:lnTo>
                              <a:pt x="808" y="54"/>
                            </a:lnTo>
                            <a:lnTo>
                              <a:pt x="807" y="66"/>
                            </a:lnTo>
                            <a:lnTo>
                              <a:pt x="804" y="78"/>
                            </a:lnTo>
                            <a:lnTo>
                              <a:pt x="798" y="89"/>
                            </a:lnTo>
                            <a:lnTo>
                              <a:pt x="791" y="99"/>
                            </a:lnTo>
                            <a:lnTo>
                              <a:pt x="782" y="109"/>
                            </a:lnTo>
                            <a:lnTo>
                              <a:pt x="771" y="116"/>
                            </a:lnTo>
                            <a:lnTo>
                              <a:pt x="761" y="120"/>
                            </a:lnTo>
                            <a:lnTo>
                              <a:pt x="748" y="123"/>
                            </a:lnTo>
                            <a:lnTo>
                              <a:pt x="748" y="123"/>
                            </a:lnTo>
                            <a:lnTo>
                              <a:pt x="662" y="132"/>
                            </a:lnTo>
                            <a:lnTo>
                              <a:pt x="577" y="139"/>
                            </a:lnTo>
                            <a:lnTo>
                              <a:pt x="491" y="143"/>
                            </a:lnTo>
                            <a:lnTo>
                              <a:pt x="405" y="146"/>
                            </a:lnTo>
                            <a:lnTo>
                              <a:pt x="319" y="147"/>
                            </a:lnTo>
                            <a:lnTo>
                              <a:pt x="234" y="146"/>
                            </a:lnTo>
                            <a:lnTo>
                              <a:pt x="149" y="142"/>
                            </a:lnTo>
                            <a:lnTo>
                              <a:pt x="63" y="138"/>
                            </a:lnTo>
                            <a:lnTo>
                              <a:pt x="63" y="138"/>
                            </a:lnTo>
                            <a:lnTo>
                              <a:pt x="50" y="135"/>
                            </a:lnTo>
                            <a:lnTo>
                              <a:pt x="38" y="131"/>
                            </a:lnTo>
                            <a:lnTo>
                              <a:pt x="28" y="124"/>
                            </a:lnTo>
                            <a:lnTo>
                              <a:pt x="19" y="116"/>
                            </a:lnTo>
                            <a:lnTo>
                              <a:pt x="12" y="106"/>
                            </a:lnTo>
                            <a:lnTo>
                              <a:pt x="6" y="95"/>
                            </a:lnTo>
                            <a:lnTo>
                              <a:pt x="1" y="83"/>
                            </a:lnTo>
                            <a:lnTo>
                              <a:pt x="0" y="70"/>
                            </a:lnTo>
                            <a:lnTo>
                              <a:pt x="0" y="70"/>
                            </a:lnTo>
                            <a:lnTo>
                              <a:pt x="0" y="70"/>
                            </a:lnTo>
                            <a:lnTo>
                              <a:pt x="1" y="59"/>
                            </a:lnTo>
                            <a:lnTo>
                              <a:pt x="5" y="47"/>
                            </a:lnTo>
                            <a:lnTo>
                              <a:pt x="9" y="37"/>
                            </a:lnTo>
                            <a:lnTo>
                              <a:pt x="18" y="29"/>
                            </a:lnTo>
                            <a:lnTo>
                              <a:pt x="26" y="22"/>
                            </a:lnTo>
                            <a:lnTo>
                              <a:pt x="36" y="17"/>
                            </a:lnTo>
                            <a:lnTo>
                              <a:pt x="48" y="13"/>
                            </a:lnTo>
                            <a:lnTo>
                              <a:pt x="61" y="13"/>
                            </a:lnTo>
                            <a:lnTo>
                              <a:pt x="61" y="13"/>
                            </a:lnTo>
                            <a:lnTo>
                              <a:pt x="146" y="19"/>
                            </a:lnTo>
                            <a:lnTo>
                              <a:pt x="231" y="22"/>
                            </a:lnTo>
                            <a:lnTo>
                              <a:pt x="317" y="24"/>
                            </a:lnTo>
                            <a:lnTo>
                              <a:pt x="403" y="23"/>
                            </a:lnTo>
                            <a:lnTo>
                              <a:pt x="489" y="20"/>
                            </a:lnTo>
                            <a:lnTo>
                              <a:pt x="574" y="15"/>
                            </a:lnTo>
                            <a:lnTo>
                              <a:pt x="660" y="9"/>
                            </a:lnTo>
                            <a:lnTo>
                              <a:pt x="746" y="0"/>
                            </a:lnTo>
                            <a:lnTo>
                              <a:pt x="746" y="0"/>
                            </a:lnTo>
                            <a:lnTo>
                              <a:pt x="757" y="0"/>
                            </a:lnTo>
                            <a:lnTo>
                              <a:pt x="769" y="2"/>
                            </a:lnTo>
                            <a:lnTo>
                              <a:pt x="780" y="6"/>
                            </a:lnTo>
                            <a:lnTo>
                              <a:pt x="790" y="12"/>
                            </a:lnTo>
                            <a:lnTo>
                              <a:pt x="797" y="20"/>
                            </a:lnTo>
                            <a:lnTo>
                              <a:pt x="803" y="31"/>
                            </a:lnTo>
                            <a:lnTo>
                              <a:pt x="807" y="41"/>
                            </a:lnTo>
                            <a:lnTo>
                              <a:pt x="808" y="54"/>
                            </a:lnTo>
                            <a:lnTo>
                              <a:pt x="808" y="54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chemeClr val="tx2">
                              <a:lumMod val="50000"/>
                            </a:schemeClr>
                          </a:gs>
                          <a:gs pos="100000">
                            <a:schemeClr val="tx2">
                              <a:lumMod val="40000"/>
                              <a:lumOff val="60000"/>
                              <a:alpha val="50000"/>
                            </a:schemeClr>
                          </a:gs>
                        </a:gsLst>
                        <a:lin ang="4980000" scaled="0"/>
                        <a:tileRect/>
                      </a:gra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</p:grpSp>
            <p:sp>
              <p:nvSpPr>
                <p:cNvPr id="11" name="Freeform 7">
                  <a:extLst>
                    <a:ext uri="{FF2B5EF4-FFF2-40B4-BE49-F238E27FC236}">
                      <a16:creationId xmlns:a16="http://schemas.microsoft.com/office/drawing/2014/main" xmlns="" id="{E097554C-226A-604D-972E-6C3DDDE67D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5412" y="2151380"/>
                  <a:ext cx="250190" cy="1807210"/>
                </a:xfrm>
                <a:custGeom>
                  <a:avLst/>
                  <a:gdLst/>
                  <a:ahLst/>
                  <a:cxnLst>
                    <a:cxn ang="0">
                      <a:pos x="395" y="2847"/>
                    </a:cxn>
                    <a:cxn ang="0">
                      <a:pos x="383" y="2844"/>
                    </a:cxn>
                    <a:cxn ang="0">
                      <a:pos x="373" y="2839"/>
                    </a:cxn>
                    <a:cxn ang="0">
                      <a:pos x="361" y="2830"/>
                    </a:cxn>
                    <a:cxn ang="0">
                      <a:pos x="340" y="2801"/>
                    </a:cxn>
                    <a:cxn ang="0">
                      <a:pos x="319" y="2760"/>
                    </a:cxn>
                    <a:cxn ang="0">
                      <a:pos x="300" y="2706"/>
                    </a:cxn>
                    <a:cxn ang="0">
                      <a:pos x="281" y="2640"/>
                    </a:cxn>
                    <a:cxn ang="0">
                      <a:pos x="264" y="2563"/>
                    </a:cxn>
                    <a:cxn ang="0">
                      <a:pos x="247" y="2476"/>
                    </a:cxn>
                    <a:cxn ang="0">
                      <a:pos x="225" y="2329"/>
                    </a:cxn>
                    <a:cxn ang="0">
                      <a:pos x="201" y="2101"/>
                    </a:cxn>
                    <a:cxn ang="0">
                      <a:pos x="185" y="1846"/>
                    </a:cxn>
                    <a:cxn ang="0">
                      <a:pos x="175" y="1569"/>
                    </a:cxn>
                    <a:cxn ang="0">
                      <a:pos x="175" y="1423"/>
                    </a:cxn>
                    <a:cxn ang="0">
                      <a:pos x="179" y="1137"/>
                    </a:cxn>
                    <a:cxn ang="0">
                      <a:pos x="192" y="870"/>
                    </a:cxn>
                    <a:cxn ang="0">
                      <a:pos x="213" y="628"/>
                    </a:cxn>
                    <a:cxn ang="0">
                      <a:pos x="239" y="417"/>
                    </a:cxn>
                    <a:cxn ang="0">
                      <a:pos x="254" y="325"/>
                    </a:cxn>
                    <a:cxn ang="0">
                      <a:pos x="272" y="244"/>
                    </a:cxn>
                    <a:cxn ang="0">
                      <a:pos x="290" y="172"/>
                    </a:cxn>
                    <a:cxn ang="0">
                      <a:pos x="309" y="113"/>
                    </a:cxn>
                    <a:cxn ang="0">
                      <a:pos x="330" y="64"/>
                    </a:cxn>
                    <a:cxn ang="0">
                      <a:pos x="351" y="29"/>
                    </a:cxn>
                    <a:cxn ang="0">
                      <a:pos x="367" y="12"/>
                    </a:cxn>
                    <a:cxn ang="0">
                      <a:pos x="377" y="5"/>
                    </a:cxn>
                    <a:cxn ang="0">
                      <a:pos x="389" y="1"/>
                    </a:cxn>
                    <a:cxn ang="0">
                      <a:pos x="219" y="0"/>
                    </a:cxn>
                    <a:cxn ang="0">
                      <a:pos x="214" y="1"/>
                    </a:cxn>
                    <a:cxn ang="0">
                      <a:pos x="202" y="5"/>
                    </a:cxn>
                    <a:cxn ang="0">
                      <a:pos x="192" y="12"/>
                    </a:cxn>
                    <a:cxn ang="0">
                      <a:pos x="175" y="29"/>
                    </a:cxn>
                    <a:cxn ang="0">
                      <a:pos x="154" y="64"/>
                    </a:cxn>
                    <a:cxn ang="0">
                      <a:pos x="134" y="113"/>
                    </a:cxn>
                    <a:cxn ang="0">
                      <a:pos x="115" y="172"/>
                    </a:cxn>
                    <a:cxn ang="0">
                      <a:pos x="96" y="244"/>
                    </a:cxn>
                    <a:cxn ang="0">
                      <a:pos x="79" y="325"/>
                    </a:cxn>
                    <a:cxn ang="0">
                      <a:pos x="64" y="417"/>
                    </a:cxn>
                    <a:cxn ang="0">
                      <a:pos x="37" y="628"/>
                    </a:cxn>
                    <a:cxn ang="0">
                      <a:pos x="16" y="870"/>
                    </a:cxn>
                    <a:cxn ang="0">
                      <a:pos x="3" y="1137"/>
                    </a:cxn>
                    <a:cxn ang="0">
                      <a:pos x="0" y="1423"/>
                    </a:cxn>
                    <a:cxn ang="0">
                      <a:pos x="0" y="1569"/>
                    </a:cxn>
                    <a:cxn ang="0">
                      <a:pos x="9" y="1846"/>
                    </a:cxn>
                    <a:cxn ang="0">
                      <a:pos x="26" y="2101"/>
                    </a:cxn>
                    <a:cxn ang="0">
                      <a:pos x="50" y="2329"/>
                    </a:cxn>
                    <a:cxn ang="0">
                      <a:pos x="72" y="2476"/>
                    </a:cxn>
                    <a:cxn ang="0">
                      <a:pos x="88" y="2563"/>
                    </a:cxn>
                    <a:cxn ang="0">
                      <a:pos x="106" y="2640"/>
                    </a:cxn>
                    <a:cxn ang="0">
                      <a:pos x="124" y="2706"/>
                    </a:cxn>
                    <a:cxn ang="0">
                      <a:pos x="144" y="2760"/>
                    </a:cxn>
                    <a:cxn ang="0">
                      <a:pos x="165" y="2801"/>
                    </a:cxn>
                    <a:cxn ang="0">
                      <a:pos x="186" y="2830"/>
                    </a:cxn>
                    <a:cxn ang="0">
                      <a:pos x="197" y="2839"/>
                    </a:cxn>
                    <a:cxn ang="0">
                      <a:pos x="208" y="2844"/>
                    </a:cxn>
                    <a:cxn ang="0">
                      <a:pos x="219" y="2847"/>
                    </a:cxn>
                  </a:cxnLst>
                  <a:rect l="0" t="0" r="r" b="b"/>
                  <a:pathLst>
                    <a:path w="395" h="2847">
                      <a:moveTo>
                        <a:pt x="395" y="2847"/>
                      </a:moveTo>
                      <a:lnTo>
                        <a:pt x="395" y="2847"/>
                      </a:lnTo>
                      <a:lnTo>
                        <a:pt x="389" y="2846"/>
                      </a:lnTo>
                      <a:lnTo>
                        <a:pt x="383" y="2844"/>
                      </a:lnTo>
                      <a:lnTo>
                        <a:pt x="377" y="2842"/>
                      </a:lnTo>
                      <a:lnTo>
                        <a:pt x="373" y="2839"/>
                      </a:lnTo>
                      <a:lnTo>
                        <a:pt x="367" y="2835"/>
                      </a:lnTo>
                      <a:lnTo>
                        <a:pt x="361" y="2830"/>
                      </a:lnTo>
                      <a:lnTo>
                        <a:pt x="351" y="2818"/>
                      </a:lnTo>
                      <a:lnTo>
                        <a:pt x="340" y="2801"/>
                      </a:lnTo>
                      <a:lnTo>
                        <a:pt x="330" y="2783"/>
                      </a:lnTo>
                      <a:lnTo>
                        <a:pt x="319" y="2760"/>
                      </a:lnTo>
                      <a:lnTo>
                        <a:pt x="309" y="2734"/>
                      </a:lnTo>
                      <a:lnTo>
                        <a:pt x="300" y="2706"/>
                      </a:lnTo>
                      <a:lnTo>
                        <a:pt x="290" y="2675"/>
                      </a:lnTo>
                      <a:lnTo>
                        <a:pt x="281" y="2640"/>
                      </a:lnTo>
                      <a:lnTo>
                        <a:pt x="272" y="2603"/>
                      </a:lnTo>
                      <a:lnTo>
                        <a:pt x="264" y="2563"/>
                      </a:lnTo>
                      <a:lnTo>
                        <a:pt x="254" y="2522"/>
                      </a:lnTo>
                      <a:lnTo>
                        <a:pt x="247" y="2476"/>
                      </a:lnTo>
                      <a:lnTo>
                        <a:pt x="239" y="2430"/>
                      </a:lnTo>
                      <a:lnTo>
                        <a:pt x="225" y="2329"/>
                      </a:lnTo>
                      <a:lnTo>
                        <a:pt x="213" y="2219"/>
                      </a:lnTo>
                      <a:lnTo>
                        <a:pt x="201" y="2101"/>
                      </a:lnTo>
                      <a:lnTo>
                        <a:pt x="192" y="1977"/>
                      </a:lnTo>
                      <a:lnTo>
                        <a:pt x="185" y="1846"/>
                      </a:lnTo>
                      <a:lnTo>
                        <a:pt x="179" y="1710"/>
                      </a:lnTo>
                      <a:lnTo>
                        <a:pt x="175" y="1569"/>
                      </a:lnTo>
                      <a:lnTo>
                        <a:pt x="175" y="1423"/>
                      </a:lnTo>
                      <a:lnTo>
                        <a:pt x="175" y="1423"/>
                      </a:lnTo>
                      <a:lnTo>
                        <a:pt x="175" y="1278"/>
                      </a:lnTo>
                      <a:lnTo>
                        <a:pt x="179" y="1137"/>
                      </a:lnTo>
                      <a:lnTo>
                        <a:pt x="185" y="1001"/>
                      </a:lnTo>
                      <a:lnTo>
                        <a:pt x="192" y="870"/>
                      </a:lnTo>
                      <a:lnTo>
                        <a:pt x="201" y="745"/>
                      </a:lnTo>
                      <a:lnTo>
                        <a:pt x="213" y="628"/>
                      </a:lnTo>
                      <a:lnTo>
                        <a:pt x="225" y="518"/>
                      </a:lnTo>
                      <a:lnTo>
                        <a:pt x="239" y="417"/>
                      </a:lnTo>
                      <a:lnTo>
                        <a:pt x="247" y="370"/>
                      </a:lnTo>
                      <a:lnTo>
                        <a:pt x="254" y="325"/>
                      </a:lnTo>
                      <a:lnTo>
                        <a:pt x="264" y="283"/>
                      </a:lnTo>
                      <a:lnTo>
                        <a:pt x="272" y="244"/>
                      </a:lnTo>
                      <a:lnTo>
                        <a:pt x="281" y="207"/>
                      </a:lnTo>
                      <a:lnTo>
                        <a:pt x="290" y="172"/>
                      </a:lnTo>
                      <a:lnTo>
                        <a:pt x="300" y="141"/>
                      </a:lnTo>
                      <a:lnTo>
                        <a:pt x="309" y="113"/>
                      </a:lnTo>
                      <a:lnTo>
                        <a:pt x="319" y="87"/>
                      </a:lnTo>
                      <a:lnTo>
                        <a:pt x="330" y="64"/>
                      </a:lnTo>
                      <a:lnTo>
                        <a:pt x="340" y="45"/>
                      </a:lnTo>
                      <a:lnTo>
                        <a:pt x="351" y="29"/>
                      </a:lnTo>
                      <a:lnTo>
                        <a:pt x="361" y="16"/>
                      </a:lnTo>
                      <a:lnTo>
                        <a:pt x="367" y="12"/>
                      </a:lnTo>
                      <a:lnTo>
                        <a:pt x="373" y="8"/>
                      </a:lnTo>
                      <a:lnTo>
                        <a:pt x="377" y="5"/>
                      </a:lnTo>
                      <a:lnTo>
                        <a:pt x="383" y="2"/>
                      </a:lnTo>
                      <a:lnTo>
                        <a:pt x="389" y="1"/>
                      </a:lnTo>
                      <a:lnTo>
                        <a:pt x="395" y="0"/>
                      </a:lnTo>
                      <a:lnTo>
                        <a:pt x="219" y="0"/>
                      </a:lnTo>
                      <a:lnTo>
                        <a:pt x="219" y="0"/>
                      </a:lnTo>
                      <a:lnTo>
                        <a:pt x="214" y="1"/>
                      </a:lnTo>
                      <a:lnTo>
                        <a:pt x="208" y="2"/>
                      </a:lnTo>
                      <a:lnTo>
                        <a:pt x="202" y="5"/>
                      </a:lnTo>
                      <a:lnTo>
                        <a:pt x="197" y="8"/>
                      </a:lnTo>
                      <a:lnTo>
                        <a:pt x="192" y="12"/>
                      </a:lnTo>
                      <a:lnTo>
                        <a:pt x="186" y="16"/>
                      </a:lnTo>
                      <a:lnTo>
                        <a:pt x="175" y="29"/>
                      </a:lnTo>
                      <a:lnTo>
                        <a:pt x="165" y="45"/>
                      </a:lnTo>
                      <a:lnTo>
                        <a:pt x="154" y="64"/>
                      </a:lnTo>
                      <a:lnTo>
                        <a:pt x="144" y="87"/>
                      </a:lnTo>
                      <a:lnTo>
                        <a:pt x="134" y="113"/>
                      </a:lnTo>
                      <a:lnTo>
                        <a:pt x="124" y="141"/>
                      </a:lnTo>
                      <a:lnTo>
                        <a:pt x="115" y="172"/>
                      </a:lnTo>
                      <a:lnTo>
                        <a:pt x="106" y="207"/>
                      </a:lnTo>
                      <a:lnTo>
                        <a:pt x="96" y="244"/>
                      </a:lnTo>
                      <a:lnTo>
                        <a:pt x="88" y="283"/>
                      </a:lnTo>
                      <a:lnTo>
                        <a:pt x="79" y="325"/>
                      </a:lnTo>
                      <a:lnTo>
                        <a:pt x="72" y="370"/>
                      </a:lnTo>
                      <a:lnTo>
                        <a:pt x="64" y="417"/>
                      </a:lnTo>
                      <a:lnTo>
                        <a:pt x="50" y="518"/>
                      </a:lnTo>
                      <a:lnTo>
                        <a:pt x="37" y="628"/>
                      </a:lnTo>
                      <a:lnTo>
                        <a:pt x="26" y="745"/>
                      </a:lnTo>
                      <a:lnTo>
                        <a:pt x="16" y="870"/>
                      </a:lnTo>
                      <a:lnTo>
                        <a:pt x="9" y="1001"/>
                      </a:lnTo>
                      <a:lnTo>
                        <a:pt x="3" y="1137"/>
                      </a:lnTo>
                      <a:lnTo>
                        <a:pt x="0" y="1278"/>
                      </a:lnTo>
                      <a:lnTo>
                        <a:pt x="0" y="1423"/>
                      </a:lnTo>
                      <a:lnTo>
                        <a:pt x="0" y="1423"/>
                      </a:lnTo>
                      <a:lnTo>
                        <a:pt x="0" y="1569"/>
                      </a:lnTo>
                      <a:lnTo>
                        <a:pt x="3" y="1710"/>
                      </a:lnTo>
                      <a:lnTo>
                        <a:pt x="9" y="1846"/>
                      </a:lnTo>
                      <a:lnTo>
                        <a:pt x="16" y="1977"/>
                      </a:lnTo>
                      <a:lnTo>
                        <a:pt x="26" y="2101"/>
                      </a:lnTo>
                      <a:lnTo>
                        <a:pt x="37" y="2219"/>
                      </a:lnTo>
                      <a:lnTo>
                        <a:pt x="50" y="2329"/>
                      </a:lnTo>
                      <a:lnTo>
                        <a:pt x="64" y="2430"/>
                      </a:lnTo>
                      <a:lnTo>
                        <a:pt x="72" y="2476"/>
                      </a:lnTo>
                      <a:lnTo>
                        <a:pt x="79" y="2522"/>
                      </a:lnTo>
                      <a:lnTo>
                        <a:pt x="88" y="2563"/>
                      </a:lnTo>
                      <a:lnTo>
                        <a:pt x="96" y="2603"/>
                      </a:lnTo>
                      <a:lnTo>
                        <a:pt x="106" y="2640"/>
                      </a:lnTo>
                      <a:lnTo>
                        <a:pt x="115" y="2675"/>
                      </a:lnTo>
                      <a:lnTo>
                        <a:pt x="124" y="2706"/>
                      </a:lnTo>
                      <a:lnTo>
                        <a:pt x="134" y="2734"/>
                      </a:lnTo>
                      <a:lnTo>
                        <a:pt x="144" y="2760"/>
                      </a:lnTo>
                      <a:lnTo>
                        <a:pt x="154" y="2783"/>
                      </a:lnTo>
                      <a:lnTo>
                        <a:pt x="165" y="2801"/>
                      </a:lnTo>
                      <a:lnTo>
                        <a:pt x="175" y="2818"/>
                      </a:lnTo>
                      <a:lnTo>
                        <a:pt x="186" y="2830"/>
                      </a:lnTo>
                      <a:lnTo>
                        <a:pt x="192" y="2835"/>
                      </a:lnTo>
                      <a:lnTo>
                        <a:pt x="197" y="2839"/>
                      </a:lnTo>
                      <a:lnTo>
                        <a:pt x="202" y="2842"/>
                      </a:lnTo>
                      <a:lnTo>
                        <a:pt x="208" y="2844"/>
                      </a:lnTo>
                      <a:lnTo>
                        <a:pt x="214" y="2846"/>
                      </a:lnTo>
                      <a:lnTo>
                        <a:pt x="219" y="2847"/>
                      </a:lnTo>
                      <a:lnTo>
                        <a:pt x="395" y="2847"/>
                      </a:lnTo>
                      <a:close/>
                    </a:path>
                  </a:pathLst>
                </a:custGeom>
                <a:gradFill flip="none" rotWithShape="1">
                  <a:gsLst>
                    <a:gs pos="41000">
                      <a:schemeClr val="tx2">
                        <a:lumMod val="60000"/>
                        <a:lumOff val="40000"/>
                      </a:schemeClr>
                    </a:gs>
                    <a:gs pos="100000">
                      <a:schemeClr val="tx2">
                        <a:lumMod val="50000"/>
                      </a:schemeClr>
                    </a:gs>
                    <a:gs pos="0">
                      <a:schemeClr val="tx2">
                        <a:lumMod val="50000"/>
                      </a:schemeClr>
                    </a:gs>
                  </a:gsLst>
                  <a:lin ang="5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" name="Freeform 10">
                  <a:extLst>
                    <a:ext uri="{FF2B5EF4-FFF2-40B4-BE49-F238E27FC236}">
                      <a16:creationId xmlns:a16="http://schemas.microsoft.com/office/drawing/2014/main" xmlns="" id="{2F2AE1D3-04EF-4249-B1B1-C73E3F3457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5743" y="815701"/>
                  <a:ext cx="5331463" cy="4491991"/>
                </a:xfrm>
                <a:custGeom>
                  <a:avLst/>
                  <a:gdLst/>
                  <a:ahLst/>
                  <a:cxnLst>
                    <a:cxn ang="0">
                      <a:pos x="8270" y="93"/>
                    </a:cxn>
                    <a:cxn ang="0">
                      <a:pos x="7907" y="347"/>
                    </a:cxn>
                    <a:cxn ang="0">
                      <a:pos x="7414" y="662"/>
                    </a:cxn>
                    <a:cxn ang="0">
                      <a:pos x="6814" y="1007"/>
                    </a:cxn>
                    <a:cxn ang="0">
                      <a:pos x="6478" y="1180"/>
                    </a:cxn>
                    <a:cxn ang="0">
                      <a:pos x="6124" y="1348"/>
                    </a:cxn>
                    <a:cxn ang="0">
                      <a:pos x="5753" y="1506"/>
                    </a:cxn>
                    <a:cxn ang="0">
                      <a:pos x="5367" y="1652"/>
                    </a:cxn>
                    <a:cxn ang="0">
                      <a:pos x="4971" y="1780"/>
                    </a:cxn>
                    <a:cxn ang="0">
                      <a:pos x="4565" y="1887"/>
                    </a:cxn>
                    <a:cxn ang="0">
                      <a:pos x="4152" y="1968"/>
                    </a:cxn>
                    <a:cxn ang="0">
                      <a:pos x="3736" y="2020"/>
                    </a:cxn>
                    <a:cxn ang="0">
                      <a:pos x="3319" y="2039"/>
                    </a:cxn>
                    <a:cxn ang="0">
                      <a:pos x="219" y="2040"/>
                    </a:cxn>
                    <a:cxn ang="0">
                      <a:pos x="196" y="2056"/>
                    </a:cxn>
                    <a:cxn ang="0">
                      <a:pos x="152" y="2129"/>
                    </a:cxn>
                    <a:cxn ang="0">
                      <a:pos x="111" y="2256"/>
                    </a:cxn>
                    <a:cxn ang="0">
                      <a:pos x="75" y="2428"/>
                    </a:cxn>
                    <a:cxn ang="0">
                      <a:pos x="39" y="2699"/>
                    </a:cxn>
                    <a:cxn ang="0">
                      <a:pos x="5" y="3235"/>
                    </a:cxn>
                    <a:cxn ang="0">
                      <a:pos x="1" y="3690"/>
                    </a:cxn>
                    <a:cxn ang="0">
                      <a:pos x="28" y="4250"/>
                    </a:cxn>
                    <a:cxn ang="0">
                      <a:pos x="67" y="4595"/>
                    </a:cxn>
                    <a:cxn ang="0">
                      <a:pos x="102" y="4779"/>
                    </a:cxn>
                    <a:cxn ang="0">
                      <a:pos x="142" y="4917"/>
                    </a:cxn>
                    <a:cxn ang="0">
                      <a:pos x="185" y="5004"/>
                    </a:cxn>
                    <a:cxn ang="0">
                      <a:pos x="214" y="5029"/>
                    </a:cxn>
                    <a:cxn ang="0">
                      <a:pos x="3319" y="5034"/>
                    </a:cxn>
                    <a:cxn ang="0">
                      <a:pos x="3631" y="5044"/>
                    </a:cxn>
                    <a:cxn ang="0">
                      <a:pos x="4047" y="5089"/>
                    </a:cxn>
                    <a:cxn ang="0">
                      <a:pos x="4459" y="5163"/>
                    </a:cxn>
                    <a:cxn ang="0">
                      <a:pos x="4867" y="5264"/>
                    </a:cxn>
                    <a:cxn ang="0">
                      <a:pos x="5266" y="5388"/>
                    </a:cxn>
                    <a:cxn ang="0">
                      <a:pos x="5655" y="5530"/>
                    </a:cxn>
                    <a:cxn ang="0">
                      <a:pos x="6030" y="5685"/>
                    </a:cxn>
                    <a:cxn ang="0">
                      <a:pos x="6389" y="5851"/>
                    </a:cxn>
                    <a:cxn ang="0">
                      <a:pos x="6729" y="6024"/>
                    </a:cxn>
                    <a:cxn ang="0">
                      <a:pos x="7273" y="6327"/>
                    </a:cxn>
                    <a:cxn ang="0">
                      <a:pos x="7795" y="6654"/>
                    </a:cxn>
                    <a:cxn ang="0">
                      <a:pos x="8192" y="6925"/>
                    </a:cxn>
                    <a:cxn ang="0">
                      <a:pos x="8397" y="7075"/>
                    </a:cxn>
                    <a:cxn ang="0">
                      <a:pos x="8350" y="6990"/>
                    </a:cxn>
                    <a:cxn ang="0">
                      <a:pos x="8264" y="6751"/>
                    </a:cxn>
                    <a:cxn ang="0">
                      <a:pos x="8188" y="6428"/>
                    </a:cxn>
                    <a:cxn ang="0">
                      <a:pos x="8119" y="6029"/>
                    </a:cxn>
                    <a:cxn ang="0">
                      <a:pos x="8061" y="5562"/>
                    </a:cxn>
                    <a:cxn ang="0">
                      <a:pos x="8016" y="5039"/>
                    </a:cxn>
                    <a:cxn ang="0">
                      <a:pos x="7984" y="4466"/>
                    </a:cxn>
                    <a:cxn ang="0">
                      <a:pos x="7968" y="3854"/>
                    </a:cxn>
                    <a:cxn ang="0">
                      <a:pos x="7967" y="3377"/>
                    </a:cxn>
                    <a:cxn ang="0">
                      <a:pos x="7979" y="2757"/>
                    </a:cxn>
                    <a:cxn ang="0">
                      <a:pos x="8006" y="2175"/>
                    </a:cxn>
                    <a:cxn ang="0">
                      <a:pos x="8048" y="1638"/>
                    </a:cxn>
                    <a:cxn ang="0">
                      <a:pos x="8103" y="1156"/>
                    </a:cxn>
                    <a:cxn ang="0">
                      <a:pos x="8169" y="740"/>
                    </a:cxn>
                    <a:cxn ang="0">
                      <a:pos x="8245" y="396"/>
                    </a:cxn>
                    <a:cxn ang="0">
                      <a:pos x="8328" y="136"/>
                    </a:cxn>
                    <a:cxn ang="0">
                      <a:pos x="8384" y="19"/>
                    </a:cxn>
                  </a:cxnLst>
                  <a:rect l="0" t="0" r="r" b="b"/>
                  <a:pathLst>
                    <a:path w="8397" h="7075">
                      <a:moveTo>
                        <a:pt x="8395" y="0"/>
                      </a:moveTo>
                      <a:lnTo>
                        <a:pt x="8395" y="0"/>
                      </a:lnTo>
                      <a:lnTo>
                        <a:pt x="8337" y="43"/>
                      </a:lnTo>
                      <a:lnTo>
                        <a:pt x="8270" y="93"/>
                      </a:lnTo>
                      <a:lnTo>
                        <a:pt x="8192" y="149"/>
                      </a:lnTo>
                      <a:lnTo>
                        <a:pt x="8106" y="210"/>
                      </a:lnTo>
                      <a:lnTo>
                        <a:pt x="8011" y="276"/>
                      </a:lnTo>
                      <a:lnTo>
                        <a:pt x="7907" y="347"/>
                      </a:lnTo>
                      <a:lnTo>
                        <a:pt x="7795" y="421"/>
                      </a:lnTo>
                      <a:lnTo>
                        <a:pt x="7676" y="498"/>
                      </a:lnTo>
                      <a:lnTo>
                        <a:pt x="7549" y="579"/>
                      </a:lnTo>
                      <a:lnTo>
                        <a:pt x="7414" y="662"/>
                      </a:lnTo>
                      <a:lnTo>
                        <a:pt x="7274" y="747"/>
                      </a:lnTo>
                      <a:lnTo>
                        <a:pt x="7126" y="832"/>
                      </a:lnTo>
                      <a:lnTo>
                        <a:pt x="6973" y="920"/>
                      </a:lnTo>
                      <a:lnTo>
                        <a:pt x="6814" y="1007"/>
                      </a:lnTo>
                      <a:lnTo>
                        <a:pt x="6731" y="1050"/>
                      </a:lnTo>
                      <a:lnTo>
                        <a:pt x="6649" y="1094"/>
                      </a:lnTo>
                      <a:lnTo>
                        <a:pt x="6564" y="1137"/>
                      </a:lnTo>
                      <a:lnTo>
                        <a:pt x="6478" y="1180"/>
                      </a:lnTo>
                      <a:lnTo>
                        <a:pt x="6391" y="1223"/>
                      </a:lnTo>
                      <a:lnTo>
                        <a:pt x="6304" y="1264"/>
                      </a:lnTo>
                      <a:lnTo>
                        <a:pt x="6215" y="1306"/>
                      </a:lnTo>
                      <a:lnTo>
                        <a:pt x="6124" y="1348"/>
                      </a:lnTo>
                      <a:lnTo>
                        <a:pt x="6032" y="1389"/>
                      </a:lnTo>
                      <a:lnTo>
                        <a:pt x="5941" y="1428"/>
                      </a:lnTo>
                      <a:lnTo>
                        <a:pt x="5848" y="1468"/>
                      </a:lnTo>
                      <a:lnTo>
                        <a:pt x="5753" y="1506"/>
                      </a:lnTo>
                      <a:lnTo>
                        <a:pt x="5657" y="1544"/>
                      </a:lnTo>
                      <a:lnTo>
                        <a:pt x="5562" y="1581"/>
                      </a:lnTo>
                      <a:lnTo>
                        <a:pt x="5465" y="1617"/>
                      </a:lnTo>
                      <a:lnTo>
                        <a:pt x="5367" y="1652"/>
                      </a:lnTo>
                      <a:lnTo>
                        <a:pt x="5269" y="1686"/>
                      </a:lnTo>
                      <a:lnTo>
                        <a:pt x="5171" y="1718"/>
                      </a:lnTo>
                      <a:lnTo>
                        <a:pt x="5071" y="1750"/>
                      </a:lnTo>
                      <a:lnTo>
                        <a:pt x="4971" y="1780"/>
                      </a:lnTo>
                      <a:lnTo>
                        <a:pt x="4870" y="1809"/>
                      </a:lnTo>
                      <a:lnTo>
                        <a:pt x="4769" y="1837"/>
                      </a:lnTo>
                      <a:lnTo>
                        <a:pt x="4667" y="1862"/>
                      </a:lnTo>
                      <a:lnTo>
                        <a:pt x="4565" y="1887"/>
                      </a:lnTo>
                      <a:lnTo>
                        <a:pt x="4462" y="1910"/>
                      </a:lnTo>
                      <a:lnTo>
                        <a:pt x="4359" y="1931"/>
                      </a:lnTo>
                      <a:lnTo>
                        <a:pt x="4256" y="1950"/>
                      </a:lnTo>
                      <a:lnTo>
                        <a:pt x="4152" y="1968"/>
                      </a:lnTo>
                      <a:lnTo>
                        <a:pt x="4048" y="1984"/>
                      </a:lnTo>
                      <a:lnTo>
                        <a:pt x="3945" y="1998"/>
                      </a:lnTo>
                      <a:lnTo>
                        <a:pt x="3840" y="2011"/>
                      </a:lnTo>
                      <a:lnTo>
                        <a:pt x="3736" y="2020"/>
                      </a:lnTo>
                      <a:lnTo>
                        <a:pt x="3631" y="2028"/>
                      </a:lnTo>
                      <a:lnTo>
                        <a:pt x="3528" y="2034"/>
                      </a:lnTo>
                      <a:lnTo>
                        <a:pt x="3423" y="2038"/>
                      </a:lnTo>
                      <a:lnTo>
                        <a:pt x="3319" y="2039"/>
                      </a:lnTo>
                      <a:lnTo>
                        <a:pt x="232" y="2039"/>
                      </a:lnTo>
                      <a:lnTo>
                        <a:pt x="232" y="2039"/>
                      </a:lnTo>
                      <a:lnTo>
                        <a:pt x="225" y="2039"/>
                      </a:lnTo>
                      <a:lnTo>
                        <a:pt x="219" y="2040"/>
                      </a:lnTo>
                      <a:lnTo>
                        <a:pt x="214" y="2043"/>
                      </a:lnTo>
                      <a:lnTo>
                        <a:pt x="208" y="2046"/>
                      </a:lnTo>
                      <a:lnTo>
                        <a:pt x="202" y="2050"/>
                      </a:lnTo>
                      <a:lnTo>
                        <a:pt x="196" y="2056"/>
                      </a:lnTo>
                      <a:lnTo>
                        <a:pt x="185" y="2069"/>
                      </a:lnTo>
                      <a:lnTo>
                        <a:pt x="174" y="2085"/>
                      </a:lnTo>
                      <a:lnTo>
                        <a:pt x="162" y="2106"/>
                      </a:lnTo>
                      <a:lnTo>
                        <a:pt x="152" y="2129"/>
                      </a:lnTo>
                      <a:lnTo>
                        <a:pt x="142" y="2156"/>
                      </a:lnTo>
                      <a:lnTo>
                        <a:pt x="131" y="2186"/>
                      </a:lnTo>
                      <a:lnTo>
                        <a:pt x="121" y="2219"/>
                      </a:lnTo>
                      <a:lnTo>
                        <a:pt x="111" y="2256"/>
                      </a:lnTo>
                      <a:lnTo>
                        <a:pt x="102" y="2294"/>
                      </a:lnTo>
                      <a:lnTo>
                        <a:pt x="93" y="2336"/>
                      </a:lnTo>
                      <a:lnTo>
                        <a:pt x="85" y="2380"/>
                      </a:lnTo>
                      <a:lnTo>
                        <a:pt x="75" y="2428"/>
                      </a:lnTo>
                      <a:lnTo>
                        <a:pt x="67" y="2478"/>
                      </a:lnTo>
                      <a:lnTo>
                        <a:pt x="60" y="2529"/>
                      </a:lnTo>
                      <a:lnTo>
                        <a:pt x="53" y="2583"/>
                      </a:lnTo>
                      <a:lnTo>
                        <a:pt x="39" y="2699"/>
                      </a:lnTo>
                      <a:lnTo>
                        <a:pt x="28" y="2822"/>
                      </a:lnTo>
                      <a:lnTo>
                        <a:pt x="19" y="2954"/>
                      </a:lnTo>
                      <a:lnTo>
                        <a:pt x="10" y="3091"/>
                      </a:lnTo>
                      <a:lnTo>
                        <a:pt x="5" y="3235"/>
                      </a:lnTo>
                      <a:lnTo>
                        <a:pt x="1" y="3383"/>
                      </a:lnTo>
                      <a:lnTo>
                        <a:pt x="0" y="3536"/>
                      </a:lnTo>
                      <a:lnTo>
                        <a:pt x="0" y="3536"/>
                      </a:lnTo>
                      <a:lnTo>
                        <a:pt x="1" y="3690"/>
                      </a:lnTo>
                      <a:lnTo>
                        <a:pt x="5" y="3838"/>
                      </a:lnTo>
                      <a:lnTo>
                        <a:pt x="10" y="3982"/>
                      </a:lnTo>
                      <a:lnTo>
                        <a:pt x="19" y="4119"/>
                      </a:lnTo>
                      <a:lnTo>
                        <a:pt x="28" y="4250"/>
                      </a:lnTo>
                      <a:lnTo>
                        <a:pt x="39" y="4373"/>
                      </a:lnTo>
                      <a:lnTo>
                        <a:pt x="53" y="4490"/>
                      </a:lnTo>
                      <a:lnTo>
                        <a:pt x="60" y="4543"/>
                      </a:lnTo>
                      <a:lnTo>
                        <a:pt x="67" y="4595"/>
                      </a:lnTo>
                      <a:lnTo>
                        <a:pt x="75" y="4645"/>
                      </a:lnTo>
                      <a:lnTo>
                        <a:pt x="85" y="4693"/>
                      </a:lnTo>
                      <a:lnTo>
                        <a:pt x="93" y="4737"/>
                      </a:lnTo>
                      <a:lnTo>
                        <a:pt x="102" y="4779"/>
                      </a:lnTo>
                      <a:lnTo>
                        <a:pt x="111" y="4817"/>
                      </a:lnTo>
                      <a:lnTo>
                        <a:pt x="121" y="4853"/>
                      </a:lnTo>
                      <a:lnTo>
                        <a:pt x="131" y="4887"/>
                      </a:lnTo>
                      <a:lnTo>
                        <a:pt x="142" y="4917"/>
                      </a:lnTo>
                      <a:lnTo>
                        <a:pt x="152" y="4943"/>
                      </a:lnTo>
                      <a:lnTo>
                        <a:pt x="162" y="4967"/>
                      </a:lnTo>
                      <a:lnTo>
                        <a:pt x="174" y="4988"/>
                      </a:lnTo>
                      <a:lnTo>
                        <a:pt x="185" y="5004"/>
                      </a:lnTo>
                      <a:lnTo>
                        <a:pt x="196" y="5017"/>
                      </a:lnTo>
                      <a:lnTo>
                        <a:pt x="202" y="5022"/>
                      </a:lnTo>
                      <a:lnTo>
                        <a:pt x="208" y="5027"/>
                      </a:lnTo>
                      <a:lnTo>
                        <a:pt x="214" y="5029"/>
                      </a:lnTo>
                      <a:lnTo>
                        <a:pt x="219" y="5033"/>
                      </a:lnTo>
                      <a:lnTo>
                        <a:pt x="225" y="5034"/>
                      </a:lnTo>
                      <a:lnTo>
                        <a:pt x="232" y="5034"/>
                      </a:lnTo>
                      <a:lnTo>
                        <a:pt x="3319" y="5034"/>
                      </a:lnTo>
                      <a:lnTo>
                        <a:pt x="3319" y="5034"/>
                      </a:lnTo>
                      <a:lnTo>
                        <a:pt x="3422" y="5035"/>
                      </a:lnTo>
                      <a:lnTo>
                        <a:pt x="3527" y="5039"/>
                      </a:lnTo>
                      <a:lnTo>
                        <a:pt x="3631" y="5044"/>
                      </a:lnTo>
                      <a:lnTo>
                        <a:pt x="3734" y="5053"/>
                      </a:lnTo>
                      <a:lnTo>
                        <a:pt x="3839" y="5062"/>
                      </a:lnTo>
                      <a:lnTo>
                        <a:pt x="3942" y="5075"/>
                      </a:lnTo>
                      <a:lnTo>
                        <a:pt x="4047" y="5089"/>
                      </a:lnTo>
                      <a:lnTo>
                        <a:pt x="4150" y="5105"/>
                      </a:lnTo>
                      <a:lnTo>
                        <a:pt x="4253" y="5122"/>
                      </a:lnTo>
                      <a:lnTo>
                        <a:pt x="4357" y="5142"/>
                      </a:lnTo>
                      <a:lnTo>
                        <a:pt x="4459" y="5163"/>
                      </a:lnTo>
                      <a:lnTo>
                        <a:pt x="4561" y="5186"/>
                      </a:lnTo>
                      <a:lnTo>
                        <a:pt x="4663" y="5211"/>
                      </a:lnTo>
                      <a:lnTo>
                        <a:pt x="4766" y="5236"/>
                      </a:lnTo>
                      <a:lnTo>
                        <a:pt x="4867" y="5264"/>
                      </a:lnTo>
                      <a:lnTo>
                        <a:pt x="4968" y="5293"/>
                      </a:lnTo>
                      <a:lnTo>
                        <a:pt x="5067" y="5323"/>
                      </a:lnTo>
                      <a:lnTo>
                        <a:pt x="5167" y="5354"/>
                      </a:lnTo>
                      <a:lnTo>
                        <a:pt x="5266" y="5388"/>
                      </a:lnTo>
                      <a:lnTo>
                        <a:pt x="5365" y="5422"/>
                      </a:lnTo>
                      <a:lnTo>
                        <a:pt x="5461" y="5457"/>
                      </a:lnTo>
                      <a:lnTo>
                        <a:pt x="5559" y="5493"/>
                      </a:lnTo>
                      <a:lnTo>
                        <a:pt x="5655" y="5530"/>
                      </a:lnTo>
                      <a:lnTo>
                        <a:pt x="5749" y="5567"/>
                      </a:lnTo>
                      <a:lnTo>
                        <a:pt x="5844" y="5606"/>
                      </a:lnTo>
                      <a:lnTo>
                        <a:pt x="5937" y="5646"/>
                      </a:lnTo>
                      <a:lnTo>
                        <a:pt x="6030" y="5685"/>
                      </a:lnTo>
                      <a:lnTo>
                        <a:pt x="6121" y="5726"/>
                      </a:lnTo>
                      <a:lnTo>
                        <a:pt x="6211" y="5768"/>
                      </a:lnTo>
                      <a:lnTo>
                        <a:pt x="6301" y="5810"/>
                      </a:lnTo>
                      <a:lnTo>
                        <a:pt x="6389" y="5851"/>
                      </a:lnTo>
                      <a:lnTo>
                        <a:pt x="6476" y="5894"/>
                      </a:lnTo>
                      <a:lnTo>
                        <a:pt x="6562" y="5937"/>
                      </a:lnTo>
                      <a:lnTo>
                        <a:pt x="6646" y="5980"/>
                      </a:lnTo>
                      <a:lnTo>
                        <a:pt x="6729" y="6024"/>
                      </a:lnTo>
                      <a:lnTo>
                        <a:pt x="6812" y="6067"/>
                      </a:lnTo>
                      <a:lnTo>
                        <a:pt x="6971" y="6154"/>
                      </a:lnTo>
                      <a:lnTo>
                        <a:pt x="7124" y="6241"/>
                      </a:lnTo>
                      <a:lnTo>
                        <a:pt x="7273" y="6327"/>
                      </a:lnTo>
                      <a:lnTo>
                        <a:pt x="7413" y="6412"/>
                      </a:lnTo>
                      <a:lnTo>
                        <a:pt x="7548" y="6496"/>
                      </a:lnTo>
                      <a:lnTo>
                        <a:pt x="7674" y="6576"/>
                      </a:lnTo>
                      <a:lnTo>
                        <a:pt x="7795" y="6654"/>
                      </a:lnTo>
                      <a:lnTo>
                        <a:pt x="7907" y="6728"/>
                      </a:lnTo>
                      <a:lnTo>
                        <a:pt x="8010" y="6799"/>
                      </a:lnTo>
                      <a:lnTo>
                        <a:pt x="8106" y="6865"/>
                      </a:lnTo>
                      <a:lnTo>
                        <a:pt x="8192" y="6925"/>
                      </a:lnTo>
                      <a:lnTo>
                        <a:pt x="8270" y="6982"/>
                      </a:lnTo>
                      <a:lnTo>
                        <a:pt x="8337" y="7031"/>
                      </a:lnTo>
                      <a:lnTo>
                        <a:pt x="8397" y="7075"/>
                      </a:lnTo>
                      <a:lnTo>
                        <a:pt x="8397" y="7075"/>
                      </a:lnTo>
                      <a:lnTo>
                        <a:pt x="8385" y="7056"/>
                      </a:lnTo>
                      <a:lnTo>
                        <a:pt x="8373" y="7036"/>
                      </a:lnTo>
                      <a:lnTo>
                        <a:pt x="8362" y="7014"/>
                      </a:lnTo>
                      <a:lnTo>
                        <a:pt x="8350" y="6990"/>
                      </a:lnTo>
                      <a:lnTo>
                        <a:pt x="8328" y="6939"/>
                      </a:lnTo>
                      <a:lnTo>
                        <a:pt x="8307" y="6882"/>
                      </a:lnTo>
                      <a:lnTo>
                        <a:pt x="8285" y="6820"/>
                      </a:lnTo>
                      <a:lnTo>
                        <a:pt x="8264" y="6751"/>
                      </a:lnTo>
                      <a:lnTo>
                        <a:pt x="8245" y="6678"/>
                      </a:lnTo>
                      <a:lnTo>
                        <a:pt x="8225" y="6600"/>
                      </a:lnTo>
                      <a:lnTo>
                        <a:pt x="8206" y="6517"/>
                      </a:lnTo>
                      <a:lnTo>
                        <a:pt x="8188" y="6428"/>
                      </a:lnTo>
                      <a:lnTo>
                        <a:pt x="8169" y="6336"/>
                      </a:lnTo>
                      <a:lnTo>
                        <a:pt x="8152" y="6238"/>
                      </a:lnTo>
                      <a:lnTo>
                        <a:pt x="8135" y="6136"/>
                      </a:lnTo>
                      <a:lnTo>
                        <a:pt x="8119" y="6029"/>
                      </a:lnTo>
                      <a:lnTo>
                        <a:pt x="8103" y="5919"/>
                      </a:lnTo>
                      <a:lnTo>
                        <a:pt x="8089" y="5804"/>
                      </a:lnTo>
                      <a:lnTo>
                        <a:pt x="8075" y="5685"/>
                      </a:lnTo>
                      <a:lnTo>
                        <a:pt x="8061" y="5562"/>
                      </a:lnTo>
                      <a:lnTo>
                        <a:pt x="8049" y="5437"/>
                      </a:lnTo>
                      <a:lnTo>
                        <a:pt x="8037" y="5308"/>
                      </a:lnTo>
                      <a:lnTo>
                        <a:pt x="8026" y="5175"/>
                      </a:lnTo>
                      <a:lnTo>
                        <a:pt x="8016" y="5039"/>
                      </a:lnTo>
                      <a:lnTo>
                        <a:pt x="8006" y="4901"/>
                      </a:lnTo>
                      <a:lnTo>
                        <a:pt x="7998" y="4759"/>
                      </a:lnTo>
                      <a:lnTo>
                        <a:pt x="7991" y="4614"/>
                      </a:lnTo>
                      <a:lnTo>
                        <a:pt x="7984" y="4466"/>
                      </a:lnTo>
                      <a:lnTo>
                        <a:pt x="7979" y="4318"/>
                      </a:lnTo>
                      <a:lnTo>
                        <a:pt x="7974" y="4166"/>
                      </a:lnTo>
                      <a:lnTo>
                        <a:pt x="7970" y="4011"/>
                      </a:lnTo>
                      <a:lnTo>
                        <a:pt x="7968" y="3854"/>
                      </a:lnTo>
                      <a:lnTo>
                        <a:pt x="7967" y="3697"/>
                      </a:lnTo>
                      <a:lnTo>
                        <a:pt x="7966" y="3538"/>
                      </a:lnTo>
                      <a:lnTo>
                        <a:pt x="7966" y="3538"/>
                      </a:lnTo>
                      <a:lnTo>
                        <a:pt x="7967" y="3377"/>
                      </a:lnTo>
                      <a:lnTo>
                        <a:pt x="7968" y="3219"/>
                      </a:lnTo>
                      <a:lnTo>
                        <a:pt x="7970" y="3063"/>
                      </a:lnTo>
                      <a:lnTo>
                        <a:pt x="7974" y="2909"/>
                      </a:lnTo>
                      <a:lnTo>
                        <a:pt x="7979" y="2757"/>
                      </a:lnTo>
                      <a:lnTo>
                        <a:pt x="7984" y="2608"/>
                      </a:lnTo>
                      <a:lnTo>
                        <a:pt x="7991" y="2460"/>
                      </a:lnTo>
                      <a:lnTo>
                        <a:pt x="7998" y="2316"/>
                      </a:lnTo>
                      <a:lnTo>
                        <a:pt x="8006" y="2175"/>
                      </a:lnTo>
                      <a:lnTo>
                        <a:pt x="8016" y="2035"/>
                      </a:lnTo>
                      <a:lnTo>
                        <a:pt x="8026" y="1899"/>
                      </a:lnTo>
                      <a:lnTo>
                        <a:pt x="8037" y="1767"/>
                      </a:lnTo>
                      <a:lnTo>
                        <a:pt x="8048" y="1638"/>
                      </a:lnTo>
                      <a:lnTo>
                        <a:pt x="8061" y="1512"/>
                      </a:lnTo>
                      <a:lnTo>
                        <a:pt x="8075" y="1390"/>
                      </a:lnTo>
                      <a:lnTo>
                        <a:pt x="8089" y="1271"/>
                      </a:lnTo>
                      <a:lnTo>
                        <a:pt x="8103" y="1156"/>
                      </a:lnTo>
                      <a:lnTo>
                        <a:pt x="8119" y="1046"/>
                      </a:lnTo>
                      <a:lnTo>
                        <a:pt x="8134" y="939"/>
                      </a:lnTo>
                      <a:lnTo>
                        <a:pt x="8152" y="837"/>
                      </a:lnTo>
                      <a:lnTo>
                        <a:pt x="8169" y="740"/>
                      </a:lnTo>
                      <a:lnTo>
                        <a:pt x="8186" y="647"/>
                      </a:lnTo>
                      <a:lnTo>
                        <a:pt x="8205" y="558"/>
                      </a:lnTo>
                      <a:lnTo>
                        <a:pt x="8225" y="475"/>
                      </a:lnTo>
                      <a:lnTo>
                        <a:pt x="8245" y="396"/>
                      </a:lnTo>
                      <a:lnTo>
                        <a:pt x="8264" y="323"/>
                      </a:lnTo>
                      <a:lnTo>
                        <a:pt x="8285" y="255"/>
                      </a:lnTo>
                      <a:lnTo>
                        <a:pt x="8306" y="193"/>
                      </a:lnTo>
                      <a:lnTo>
                        <a:pt x="8328" y="136"/>
                      </a:lnTo>
                      <a:lnTo>
                        <a:pt x="8350" y="85"/>
                      </a:lnTo>
                      <a:lnTo>
                        <a:pt x="8362" y="60"/>
                      </a:lnTo>
                      <a:lnTo>
                        <a:pt x="8372" y="40"/>
                      </a:lnTo>
                      <a:lnTo>
                        <a:pt x="8384" y="19"/>
                      </a:lnTo>
                      <a:lnTo>
                        <a:pt x="8395" y="0"/>
                      </a:lnTo>
                      <a:lnTo>
                        <a:pt x="839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23000">
                      <a:schemeClr val="bg1"/>
                    </a:gs>
                    <a:gs pos="61000">
                      <a:schemeClr val="bg2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9525">
                  <a:noFill/>
                  <a:round/>
                  <a:headEnd/>
                  <a:tailEnd/>
                </a:ln>
                <a:effectLst>
                  <a:innerShdw blurRad="758825" dist="215900" dir="5400000">
                    <a:srgbClr val="000000">
                      <a:alpha val="20000"/>
                    </a:srgb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" name="Freeform 11">
                  <a:extLst>
                    <a:ext uri="{FF2B5EF4-FFF2-40B4-BE49-F238E27FC236}">
                      <a16:creationId xmlns:a16="http://schemas.microsoft.com/office/drawing/2014/main" xmlns="" id="{BA5E1E36-BBE8-6D41-972D-4EDC2AFB97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79708" y="744220"/>
                  <a:ext cx="715011" cy="4622801"/>
                </a:xfrm>
                <a:custGeom>
                  <a:avLst/>
                  <a:gdLst/>
                  <a:ahLst/>
                  <a:cxnLst>
                    <a:cxn ang="0">
                      <a:pos x="1125" y="3827"/>
                    </a:cxn>
                    <a:cxn ang="0">
                      <a:pos x="1115" y="4374"/>
                    </a:cxn>
                    <a:cxn ang="0">
                      <a:pos x="1092" y="4892"/>
                    </a:cxn>
                    <a:cxn ang="0">
                      <a:pos x="1058" y="5375"/>
                    </a:cxn>
                    <a:cxn ang="0">
                      <a:pos x="1014" y="5819"/>
                    </a:cxn>
                    <a:cxn ang="0">
                      <a:pos x="960" y="6214"/>
                    </a:cxn>
                    <a:cxn ang="0">
                      <a:pos x="900" y="6557"/>
                    </a:cxn>
                    <a:cxn ang="0">
                      <a:pos x="832" y="6841"/>
                    </a:cxn>
                    <a:cxn ang="0">
                      <a:pos x="794" y="6959"/>
                    </a:cxn>
                    <a:cxn ang="0">
                      <a:pos x="756" y="7060"/>
                    </a:cxn>
                    <a:cxn ang="0">
                      <a:pos x="717" y="7142"/>
                    </a:cxn>
                    <a:cxn ang="0">
                      <a:pos x="676" y="7207"/>
                    </a:cxn>
                    <a:cxn ang="0">
                      <a:pos x="634" y="7251"/>
                    </a:cxn>
                    <a:cxn ang="0">
                      <a:pos x="592" y="7276"/>
                    </a:cxn>
                    <a:cxn ang="0">
                      <a:pos x="563" y="7280"/>
                    </a:cxn>
                    <a:cxn ang="0">
                      <a:pos x="519" y="7270"/>
                    </a:cxn>
                    <a:cxn ang="0">
                      <a:pos x="477" y="7238"/>
                    </a:cxn>
                    <a:cxn ang="0">
                      <a:pos x="436" y="7187"/>
                    </a:cxn>
                    <a:cxn ang="0">
                      <a:pos x="395" y="7117"/>
                    </a:cxn>
                    <a:cxn ang="0">
                      <a:pos x="357" y="7028"/>
                    </a:cxn>
                    <a:cxn ang="0">
                      <a:pos x="318" y="6921"/>
                    </a:cxn>
                    <a:cxn ang="0">
                      <a:pos x="271" y="6753"/>
                    </a:cxn>
                    <a:cxn ang="0">
                      <a:pos x="205" y="6449"/>
                    </a:cxn>
                    <a:cxn ang="0">
                      <a:pos x="146" y="6088"/>
                    </a:cxn>
                    <a:cxn ang="0">
                      <a:pos x="95" y="5676"/>
                    </a:cxn>
                    <a:cxn ang="0">
                      <a:pos x="55" y="5218"/>
                    </a:cxn>
                    <a:cxn ang="0">
                      <a:pos x="25" y="4723"/>
                    </a:cxn>
                    <a:cxn ang="0">
                      <a:pos x="6" y="4194"/>
                    </a:cxn>
                    <a:cxn ang="0">
                      <a:pos x="0" y="3641"/>
                    </a:cxn>
                    <a:cxn ang="0">
                      <a:pos x="2" y="3268"/>
                    </a:cxn>
                    <a:cxn ang="0">
                      <a:pos x="18" y="2730"/>
                    </a:cxn>
                    <a:cxn ang="0">
                      <a:pos x="44" y="2223"/>
                    </a:cxn>
                    <a:cxn ang="0">
                      <a:pos x="81" y="1752"/>
                    </a:cxn>
                    <a:cxn ang="0">
                      <a:pos x="128" y="1324"/>
                    </a:cxn>
                    <a:cxn ang="0">
                      <a:pos x="185" y="945"/>
                    </a:cxn>
                    <a:cxn ang="0">
                      <a:pos x="247" y="621"/>
                    </a:cxn>
                    <a:cxn ang="0">
                      <a:pos x="307" y="398"/>
                    </a:cxn>
                    <a:cxn ang="0">
                      <a:pos x="344" y="285"/>
                    </a:cxn>
                    <a:cxn ang="0">
                      <a:pos x="382" y="190"/>
                    </a:cxn>
                    <a:cxn ang="0">
                      <a:pos x="422" y="113"/>
                    </a:cxn>
                    <a:cxn ang="0">
                      <a:pos x="463" y="57"/>
                    </a:cxn>
                    <a:cxn ang="0">
                      <a:pos x="505" y="18"/>
                    </a:cxn>
                    <a:cxn ang="0">
                      <a:pos x="548" y="1"/>
                    </a:cxn>
                    <a:cxn ang="0">
                      <a:pos x="577" y="1"/>
                    </a:cxn>
                    <a:cxn ang="0">
                      <a:pos x="620" y="18"/>
                    </a:cxn>
                    <a:cxn ang="0">
                      <a:pos x="662" y="57"/>
                    </a:cxn>
                    <a:cxn ang="0">
                      <a:pos x="704" y="113"/>
                    </a:cxn>
                    <a:cxn ang="0">
                      <a:pos x="743" y="190"/>
                    </a:cxn>
                    <a:cxn ang="0">
                      <a:pos x="782" y="285"/>
                    </a:cxn>
                    <a:cxn ang="0">
                      <a:pos x="819" y="398"/>
                    </a:cxn>
                    <a:cxn ang="0">
                      <a:pos x="878" y="621"/>
                    </a:cxn>
                    <a:cxn ang="0">
                      <a:pos x="942" y="945"/>
                    </a:cxn>
                    <a:cxn ang="0">
                      <a:pos x="998" y="1324"/>
                    </a:cxn>
                    <a:cxn ang="0">
                      <a:pos x="1044" y="1752"/>
                    </a:cxn>
                    <a:cxn ang="0">
                      <a:pos x="1081" y="2223"/>
                    </a:cxn>
                    <a:cxn ang="0">
                      <a:pos x="1108" y="2730"/>
                    </a:cxn>
                    <a:cxn ang="0">
                      <a:pos x="1123" y="3268"/>
                    </a:cxn>
                    <a:cxn ang="0">
                      <a:pos x="1125" y="3641"/>
                    </a:cxn>
                  </a:cxnLst>
                  <a:rect l="0" t="0" r="r" b="b"/>
                  <a:pathLst>
                    <a:path w="1125" h="7280">
                      <a:moveTo>
                        <a:pt x="1125" y="3641"/>
                      </a:moveTo>
                      <a:lnTo>
                        <a:pt x="1125" y="3641"/>
                      </a:lnTo>
                      <a:lnTo>
                        <a:pt x="1125" y="3827"/>
                      </a:lnTo>
                      <a:lnTo>
                        <a:pt x="1123" y="4012"/>
                      </a:lnTo>
                      <a:lnTo>
                        <a:pt x="1120" y="4194"/>
                      </a:lnTo>
                      <a:lnTo>
                        <a:pt x="1115" y="4374"/>
                      </a:lnTo>
                      <a:lnTo>
                        <a:pt x="1108" y="4550"/>
                      </a:lnTo>
                      <a:lnTo>
                        <a:pt x="1101" y="4723"/>
                      </a:lnTo>
                      <a:lnTo>
                        <a:pt x="1092" y="4892"/>
                      </a:lnTo>
                      <a:lnTo>
                        <a:pt x="1081" y="5057"/>
                      </a:lnTo>
                      <a:lnTo>
                        <a:pt x="1071" y="5218"/>
                      </a:lnTo>
                      <a:lnTo>
                        <a:pt x="1058" y="5375"/>
                      </a:lnTo>
                      <a:lnTo>
                        <a:pt x="1044" y="5528"/>
                      </a:lnTo>
                      <a:lnTo>
                        <a:pt x="1030" y="5676"/>
                      </a:lnTo>
                      <a:lnTo>
                        <a:pt x="1014" y="5819"/>
                      </a:lnTo>
                      <a:lnTo>
                        <a:pt x="998" y="5956"/>
                      </a:lnTo>
                      <a:lnTo>
                        <a:pt x="979" y="6088"/>
                      </a:lnTo>
                      <a:lnTo>
                        <a:pt x="960" y="6214"/>
                      </a:lnTo>
                      <a:lnTo>
                        <a:pt x="942" y="6335"/>
                      </a:lnTo>
                      <a:lnTo>
                        <a:pt x="921" y="6449"/>
                      </a:lnTo>
                      <a:lnTo>
                        <a:pt x="900" y="6557"/>
                      </a:lnTo>
                      <a:lnTo>
                        <a:pt x="878" y="6659"/>
                      </a:lnTo>
                      <a:lnTo>
                        <a:pt x="855" y="6753"/>
                      </a:lnTo>
                      <a:lnTo>
                        <a:pt x="832" y="6841"/>
                      </a:lnTo>
                      <a:lnTo>
                        <a:pt x="819" y="6882"/>
                      </a:lnTo>
                      <a:lnTo>
                        <a:pt x="807" y="6921"/>
                      </a:lnTo>
                      <a:lnTo>
                        <a:pt x="794" y="6959"/>
                      </a:lnTo>
                      <a:lnTo>
                        <a:pt x="782" y="6995"/>
                      </a:lnTo>
                      <a:lnTo>
                        <a:pt x="769" y="7028"/>
                      </a:lnTo>
                      <a:lnTo>
                        <a:pt x="756" y="7060"/>
                      </a:lnTo>
                      <a:lnTo>
                        <a:pt x="743" y="7090"/>
                      </a:lnTo>
                      <a:lnTo>
                        <a:pt x="731" y="7117"/>
                      </a:lnTo>
                      <a:lnTo>
                        <a:pt x="717" y="7142"/>
                      </a:lnTo>
                      <a:lnTo>
                        <a:pt x="704" y="7166"/>
                      </a:lnTo>
                      <a:lnTo>
                        <a:pt x="690" y="7187"/>
                      </a:lnTo>
                      <a:lnTo>
                        <a:pt x="676" y="7207"/>
                      </a:lnTo>
                      <a:lnTo>
                        <a:pt x="662" y="7223"/>
                      </a:lnTo>
                      <a:lnTo>
                        <a:pt x="648" y="7238"/>
                      </a:lnTo>
                      <a:lnTo>
                        <a:pt x="634" y="7251"/>
                      </a:lnTo>
                      <a:lnTo>
                        <a:pt x="620" y="7262"/>
                      </a:lnTo>
                      <a:lnTo>
                        <a:pt x="606" y="7270"/>
                      </a:lnTo>
                      <a:lnTo>
                        <a:pt x="592" y="7276"/>
                      </a:lnTo>
                      <a:lnTo>
                        <a:pt x="577" y="7279"/>
                      </a:lnTo>
                      <a:lnTo>
                        <a:pt x="563" y="7280"/>
                      </a:lnTo>
                      <a:lnTo>
                        <a:pt x="563" y="7280"/>
                      </a:lnTo>
                      <a:lnTo>
                        <a:pt x="548" y="7279"/>
                      </a:lnTo>
                      <a:lnTo>
                        <a:pt x="534" y="7276"/>
                      </a:lnTo>
                      <a:lnTo>
                        <a:pt x="519" y="7270"/>
                      </a:lnTo>
                      <a:lnTo>
                        <a:pt x="505" y="7262"/>
                      </a:lnTo>
                      <a:lnTo>
                        <a:pt x="491" y="7251"/>
                      </a:lnTo>
                      <a:lnTo>
                        <a:pt x="477" y="7238"/>
                      </a:lnTo>
                      <a:lnTo>
                        <a:pt x="463" y="7223"/>
                      </a:lnTo>
                      <a:lnTo>
                        <a:pt x="450" y="7207"/>
                      </a:lnTo>
                      <a:lnTo>
                        <a:pt x="436" y="7187"/>
                      </a:lnTo>
                      <a:lnTo>
                        <a:pt x="422" y="7166"/>
                      </a:lnTo>
                      <a:lnTo>
                        <a:pt x="409" y="7142"/>
                      </a:lnTo>
                      <a:lnTo>
                        <a:pt x="395" y="7117"/>
                      </a:lnTo>
                      <a:lnTo>
                        <a:pt x="382" y="7090"/>
                      </a:lnTo>
                      <a:lnTo>
                        <a:pt x="369" y="7060"/>
                      </a:lnTo>
                      <a:lnTo>
                        <a:pt x="357" y="7028"/>
                      </a:lnTo>
                      <a:lnTo>
                        <a:pt x="344" y="6995"/>
                      </a:lnTo>
                      <a:lnTo>
                        <a:pt x="331" y="6959"/>
                      </a:lnTo>
                      <a:lnTo>
                        <a:pt x="318" y="6921"/>
                      </a:lnTo>
                      <a:lnTo>
                        <a:pt x="307" y="6882"/>
                      </a:lnTo>
                      <a:lnTo>
                        <a:pt x="294" y="6841"/>
                      </a:lnTo>
                      <a:lnTo>
                        <a:pt x="271" y="6753"/>
                      </a:lnTo>
                      <a:lnTo>
                        <a:pt x="247" y="6659"/>
                      </a:lnTo>
                      <a:lnTo>
                        <a:pt x="225" y="6557"/>
                      </a:lnTo>
                      <a:lnTo>
                        <a:pt x="205" y="6449"/>
                      </a:lnTo>
                      <a:lnTo>
                        <a:pt x="185" y="6335"/>
                      </a:lnTo>
                      <a:lnTo>
                        <a:pt x="165" y="6214"/>
                      </a:lnTo>
                      <a:lnTo>
                        <a:pt x="146" y="6088"/>
                      </a:lnTo>
                      <a:lnTo>
                        <a:pt x="128" y="5956"/>
                      </a:lnTo>
                      <a:lnTo>
                        <a:pt x="112" y="5819"/>
                      </a:lnTo>
                      <a:lnTo>
                        <a:pt x="95" y="5676"/>
                      </a:lnTo>
                      <a:lnTo>
                        <a:pt x="81" y="5528"/>
                      </a:lnTo>
                      <a:lnTo>
                        <a:pt x="68" y="5375"/>
                      </a:lnTo>
                      <a:lnTo>
                        <a:pt x="55" y="5218"/>
                      </a:lnTo>
                      <a:lnTo>
                        <a:pt x="44" y="5057"/>
                      </a:lnTo>
                      <a:lnTo>
                        <a:pt x="34" y="4892"/>
                      </a:lnTo>
                      <a:lnTo>
                        <a:pt x="25" y="4723"/>
                      </a:lnTo>
                      <a:lnTo>
                        <a:pt x="18" y="4550"/>
                      </a:lnTo>
                      <a:lnTo>
                        <a:pt x="11" y="4374"/>
                      </a:lnTo>
                      <a:lnTo>
                        <a:pt x="6" y="4194"/>
                      </a:lnTo>
                      <a:lnTo>
                        <a:pt x="2" y="4012"/>
                      </a:lnTo>
                      <a:lnTo>
                        <a:pt x="0" y="3827"/>
                      </a:lnTo>
                      <a:lnTo>
                        <a:pt x="0" y="3641"/>
                      </a:lnTo>
                      <a:lnTo>
                        <a:pt x="0" y="3641"/>
                      </a:lnTo>
                      <a:lnTo>
                        <a:pt x="0" y="3452"/>
                      </a:lnTo>
                      <a:lnTo>
                        <a:pt x="2" y="3268"/>
                      </a:lnTo>
                      <a:lnTo>
                        <a:pt x="6" y="3086"/>
                      </a:lnTo>
                      <a:lnTo>
                        <a:pt x="11" y="2907"/>
                      </a:lnTo>
                      <a:lnTo>
                        <a:pt x="18" y="2730"/>
                      </a:lnTo>
                      <a:lnTo>
                        <a:pt x="25" y="2557"/>
                      </a:lnTo>
                      <a:lnTo>
                        <a:pt x="34" y="2388"/>
                      </a:lnTo>
                      <a:lnTo>
                        <a:pt x="44" y="2223"/>
                      </a:lnTo>
                      <a:lnTo>
                        <a:pt x="55" y="2062"/>
                      </a:lnTo>
                      <a:lnTo>
                        <a:pt x="68" y="1905"/>
                      </a:lnTo>
                      <a:lnTo>
                        <a:pt x="81" y="1752"/>
                      </a:lnTo>
                      <a:lnTo>
                        <a:pt x="95" y="1604"/>
                      </a:lnTo>
                      <a:lnTo>
                        <a:pt x="112" y="1461"/>
                      </a:lnTo>
                      <a:lnTo>
                        <a:pt x="128" y="1324"/>
                      </a:lnTo>
                      <a:lnTo>
                        <a:pt x="146" y="1192"/>
                      </a:lnTo>
                      <a:lnTo>
                        <a:pt x="165" y="1065"/>
                      </a:lnTo>
                      <a:lnTo>
                        <a:pt x="185" y="945"/>
                      </a:lnTo>
                      <a:lnTo>
                        <a:pt x="205" y="831"/>
                      </a:lnTo>
                      <a:lnTo>
                        <a:pt x="225" y="723"/>
                      </a:lnTo>
                      <a:lnTo>
                        <a:pt x="247" y="621"/>
                      </a:lnTo>
                      <a:lnTo>
                        <a:pt x="271" y="527"/>
                      </a:lnTo>
                      <a:lnTo>
                        <a:pt x="294" y="439"/>
                      </a:lnTo>
                      <a:lnTo>
                        <a:pt x="307" y="398"/>
                      </a:lnTo>
                      <a:lnTo>
                        <a:pt x="318" y="358"/>
                      </a:lnTo>
                      <a:lnTo>
                        <a:pt x="331" y="321"/>
                      </a:lnTo>
                      <a:lnTo>
                        <a:pt x="344" y="285"/>
                      </a:lnTo>
                      <a:lnTo>
                        <a:pt x="357" y="252"/>
                      </a:lnTo>
                      <a:lnTo>
                        <a:pt x="369" y="220"/>
                      </a:lnTo>
                      <a:lnTo>
                        <a:pt x="382" y="190"/>
                      </a:lnTo>
                      <a:lnTo>
                        <a:pt x="395" y="163"/>
                      </a:lnTo>
                      <a:lnTo>
                        <a:pt x="409" y="138"/>
                      </a:lnTo>
                      <a:lnTo>
                        <a:pt x="422" y="113"/>
                      </a:lnTo>
                      <a:lnTo>
                        <a:pt x="436" y="93"/>
                      </a:lnTo>
                      <a:lnTo>
                        <a:pt x="450" y="73"/>
                      </a:lnTo>
                      <a:lnTo>
                        <a:pt x="463" y="57"/>
                      </a:lnTo>
                      <a:lnTo>
                        <a:pt x="477" y="42"/>
                      </a:lnTo>
                      <a:lnTo>
                        <a:pt x="491" y="29"/>
                      </a:lnTo>
                      <a:lnTo>
                        <a:pt x="505" y="18"/>
                      </a:lnTo>
                      <a:lnTo>
                        <a:pt x="519" y="10"/>
                      </a:lnTo>
                      <a:lnTo>
                        <a:pt x="534" y="4"/>
                      </a:lnTo>
                      <a:lnTo>
                        <a:pt x="548" y="1"/>
                      </a:lnTo>
                      <a:lnTo>
                        <a:pt x="563" y="0"/>
                      </a:lnTo>
                      <a:lnTo>
                        <a:pt x="563" y="0"/>
                      </a:lnTo>
                      <a:lnTo>
                        <a:pt x="577" y="1"/>
                      </a:lnTo>
                      <a:lnTo>
                        <a:pt x="592" y="4"/>
                      </a:lnTo>
                      <a:lnTo>
                        <a:pt x="606" y="10"/>
                      </a:lnTo>
                      <a:lnTo>
                        <a:pt x="620" y="18"/>
                      </a:lnTo>
                      <a:lnTo>
                        <a:pt x="634" y="29"/>
                      </a:lnTo>
                      <a:lnTo>
                        <a:pt x="648" y="42"/>
                      </a:lnTo>
                      <a:lnTo>
                        <a:pt x="662" y="57"/>
                      </a:lnTo>
                      <a:lnTo>
                        <a:pt x="676" y="73"/>
                      </a:lnTo>
                      <a:lnTo>
                        <a:pt x="690" y="93"/>
                      </a:lnTo>
                      <a:lnTo>
                        <a:pt x="704" y="113"/>
                      </a:lnTo>
                      <a:lnTo>
                        <a:pt x="717" y="138"/>
                      </a:lnTo>
                      <a:lnTo>
                        <a:pt x="731" y="163"/>
                      </a:lnTo>
                      <a:lnTo>
                        <a:pt x="743" y="190"/>
                      </a:lnTo>
                      <a:lnTo>
                        <a:pt x="756" y="220"/>
                      </a:lnTo>
                      <a:lnTo>
                        <a:pt x="769" y="252"/>
                      </a:lnTo>
                      <a:lnTo>
                        <a:pt x="782" y="285"/>
                      </a:lnTo>
                      <a:lnTo>
                        <a:pt x="794" y="321"/>
                      </a:lnTo>
                      <a:lnTo>
                        <a:pt x="807" y="358"/>
                      </a:lnTo>
                      <a:lnTo>
                        <a:pt x="819" y="398"/>
                      </a:lnTo>
                      <a:lnTo>
                        <a:pt x="832" y="439"/>
                      </a:lnTo>
                      <a:lnTo>
                        <a:pt x="855" y="527"/>
                      </a:lnTo>
                      <a:lnTo>
                        <a:pt x="878" y="621"/>
                      </a:lnTo>
                      <a:lnTo>
                        <a:pt x="900" y="723"/>
                      </a:lnTo>
                      <a:lnTo>
                        <a:pt x="921" y="831"/>
                      </a:lnTo>
                      <a:lnTo>
                        <a:pt x="942" y="945"/>
                      </a:lnTo>
                      <a:lnTo>
                        <a:pt x="960" y="1065"/>
                      </a:lnTo>
                      <a:lnTo>
                        <a:pt x="979" y="1192"/>
                      </a:lnTo>
                      <a:lnTo>
                        <a:pt x="998" y="1324"/>
                      </a:lnTo>
                      <a:lnTo>
                        <a:pt x="1014" y="1461"/>
                      </a:lnTo>
                      <a:lnTo>
                        <a:pt x="1030" y="1604"/>
                      </a:lnTo>
                      <a:lnTo>
                        <a:pt x="1044" y="1752"/>
                      </a:lnTo>
                      <a:lnTo>
                        <a:pt x="1058" y="1905"/>
                      </a:lnTo>
                      <a:lnTo>
                        <a:pt x="1071" y="2062"/>
                      </a:lnTo>
                      <a:lnTo>
                        <a:pt x="1081" y="2223"/>
                      </a:lnTo>
                      <a:lnTo>
                        <a:pt x="1092" y="2388"/>
                      </a:lnTo>
                      <a:lnTo>
                        <a:pt x="1101" y="2557"/>
                      </a:lnTo>
                      <a:lnTo>
                        <a:pt x="1108" y="2730"/>
                      </a:lnTo>
                      <a:lnTo>
                        <a:pt x="1115" y="2907"/>
                      </a:lnTo>
                      <a:lnTo>
                        <a:pt x="1120" y="3086"/>
                      </a:lnTo>
                      <a:lnTo>
                        <a:pt x="1123" y="3268"/>
                      </a:lnTo>
                      <a:lnTo>
                        <a:pt x="1125" y="3452"/>
                      </a:lnTo>
                      <a:lnTo>
                        <a:pt x="1125" y="3641"/>
                      </a:lnTo>
                      <a:lnTo>
                        <a:pt x="1125" y="3641"/>
                      </a:lnTo>
                      <a:close/>
                    </a:path>
                  </a:pathLst>
                </a:custGeom>
                <a:gradFill flip="none" rotWithShape="1">
                  <a:gsLst>
                    <a:gs pos="86000">
                      <a:schemeClr val="bg1">
                        <a:lumMod val="50000"/>
                      </a:schemeClr>
                    </a:gs>
                    <a:gs pos="10000">
                      <a:schemeClr val="bg1">
                        <a:lumMod val="65000"/>
                      </a:schemeClr>
                    </a:gs>
                    <a:gs pos="59000">
                      <a:schemeClr val="bg1">
                        <a:lumMod val="85000"/>
                      </a:schemeClr>
                    </a:gs>
                  </a:gsLst>
                  <a:lin ang="5400000" scaled="0"/>
                  <a:tileRect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grpSp>
              <p:nvGrpSpPr>
                <p:cNvPr id="14" name="Group 26">
                  <a:extLst>
                    <a:ext uri="{FF2B5EF4-FFF2-40B4-BE49-F238E27FC236}">
                      <a16:creationId xmlns:a16="http://schemas.microsoft.com/office/drawing/2014/main" xmlns="" id="{E80247B8-DC54-0247-A4A2-7066FD8C1F74}"/>
                    </a:ext>
                  </a:extLst>
                </p:cNvPr>
                <p:cNvGrpSpPr/>
                <p:nvPr/>
              </p:nvGrpSpPr>
              <p:grpSpPr>
                <a:xfrm>
                  <a:off x="7829236" y="2818131"/>
                  <a:ext cx="360681" cy="469900"/>
                  <a:chOff x="8804275" y="2665413"/>
                  <a:chExt cx="450850" cy="587375"/>
                </a:xfrm>
              </p:grpSpPr>
              <p:sp>
                <p:nvSpPr>
                  <p:cNvPr id="23" name="Freeform 12">
                    <a:extLst>
                      <a:ext uri="{FF2B5EF4-FFF2-40B4-BE49-F238E27FC236}">
                        <a16:creationId xmlns:a16="http://schemas.microsoft.com/office/drawing/2014/main" xmlns="" id="{414BA82F-2AD0-6B42-AA47-A27B40D31A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804275" y="2665413"/>
                    <a:ext cx="450850" cy="587375"/>
                  </a:xfrm>
                  <a:custGeom>
                    <a:avLst/>
                    <a:gdLst/>
                    <a:ahLst/>
                    <a:cxnLst>
                      <a:cxn ang="0">
                        <a:pos x="569" y="361"/>
                      </a:cxn>
                      <a:cxn ang="0">
                        <a:pos x="569" y="346"/>
                      </a:cxn>
                      <a:cxn ang="0">
                        <a:pos x="567" y="327"/>
                      </a:cxn>
                      <a:cxn ang="0">
                        <a:pos x="565" y="309"/>
                      </a:cxn>
                      <a:cxn ang="0">
                        <a:pos x="563" y="295"/>
                      </a:cxn>
                      <a:cxn ang="0">
                        <a:pos x="563" y="293"/>
                      </a:cxn>
                      <a:cxn ang="0">
                        <a:pos x="529" y="177"/>
                      </a:cxn>
                      <a:cxn ang="0">
                        <a:pos x="526" y="169"/>
                      </a:cxn>
                      <a:cxn ang="0">
                        <a:pos x="513" y="144"/>
                      </a:cxn>
                      <a:cxn ang="0">
                        <a:pos x="502" y="123"/>
                      </a:cxn>
                      <a:cxn ang="0">
                        <a:pos x="483" y="96"/>
                      </a:cxn>
                      <a:cxn ang="0">
                        <a:pos x="477" y="89"/>
                      </a:cxn>
                      <a:cxn ang="0">
                        <a:pos x="473" y="84"/>
                      </a:cxn>
                      <a:cxn ang="0">
                        <a:pos x="435" y="50"/>
                      </a:cxn>
                      <a:cxn ang="0">
                        <a:pos x="431" y="46"/>
                      </a:cxn>
                      <a:cxn ang="0">
                        <a:pos x="420" y="40"/>
                      </a:cxn>
                      <a:cxn ang="0">
                        <a:pos x="387" y="25"/>
                      </a:cxn>
                      <a:cxn ang="0">
                        <a:pos x="354" y="15"/>
                      </a:cxn>
                      <a:cxn ang="0">
                        <a:pos x="316" y="11"/>
                      </a:cxn>
                      <a:cxn ang="0">
                        <a:pos x="240" y="10"/>
                      </a:cxn>
                      <a:cxn ang="0">
                        <a:pos x="51" y="2"/>
                      </a:cxn>
                      <a:cxn ang="0">
                        <a:pos x="96" y="736"/>
                      </a:cxn>
                      <a:cxn ang="0">
                        <a:pos x="193" y="731"/>
                      </a:cxn>
                      <a:cxn ang="0">
                        <a:pos x="193" y="731"/>
                      </a:cxn>
                      <a:cxn ang="0">
                        <a:pos x="209" y="731"/>
                      </a:cxn>
                      <a:cxn ang="0">
                        <a:pos x="248" y="729"/>
                      </a:cxn>
                      <a:cxn ang="0">
                        <a:pos x="255" y="729"/>
                      </a:cxn>
                      <a:cxn ang="0">
                        <a:pos x="258" y="729"/>
                      </a:cxn>
                      <a:cxn ang="0">
                        <a:pos x="307" y="728"/>
                      </a:cxn>
                      <a:cxn ang="0">
                        <a:pos x="315" y="728"/>
                      </a:cxn>
                      <a:cxn ang="0">
                        <a:pos x="366" y="722"/>
                      </a:cxn>
                      <a:cxn ang="0">
                        <a:pos x="380" y="718"/>
                      </a:cxn>
                      <a:cxn ang="0">
                        <a:pos x="403" y="709"/>
                      </a:cxn>
                      <a:cxn ang="0">
                        <a:pos x="421" y="699"/>
                      </a:cxn>
                      <a:cxn ang="0">
                        <a:pos x="449" y="678"/>
                      </a:cxn>
                      <a:cxn ang="0">
                        <a:pos x="473" y="656"/>
                      </a:cxn>
                      <a:cxn ang="0">
                        <a:pos x="506" y="609"/>
                      </a:cxn>
                      <a:cxn ang="0">
                        <a:pos x="514" y="594"/>
                      </a:cxn>
                      <a:cxn ang="0">
                        <a:pos x="521" y="580"/>
                      </a:cxn>
                      <a:cxn ang="0">
                        <a:pos x="528" y="565"/>
                      </a:cxn>
                      <a:cxn ang="0">
                        <a:pos x="534" y="550"/>
                      </a:cxn>
                      <a:cxn ang="0">
                        <a:pos x="542" y="529"/>
                      </a:cxn>
                      <a:cxn ang="0">
                        <a:pos x="548" y="509"/>
                      </a:cxn>
                      <a:cxn ang="0">
                        <a:pos x="549" y="506"/>
                      </a:cxn>
                      <a:cxn ang="0">
                        <a:pos x="563" y="443"/>
                      </a:cxn>
                      <a:cxn ang="0">
                        <a:pos x="564" y="435"/>
                      </a:cxn>
                      <a:cxn ang="0">
                        <a:pos x="565" y="425"/>
                      </a:cxn>
                      <a:cxn ang="0">
                        <a:pos x="569" y="399"/>
                      </a:cxn>
                      <a:cxn ang="0">
                        <a:pos x="569" y="375"/>
                      </a:cxn>
                      <a:cxn ang="0">
                        <a:pos x="569" y="361"/>
                      </a:cxn>
                    </a:cxnLst>
                    <a:rect l="0" t="0" r="r" b="b"/>
                    <a:pathLst>
                      <a:path w="569" h="739">
                        <a:moveTo>
                          <a:pt x="569" y="361"/>
                        </a:moveTo>
                        <a:lnTo>
                          <a:pt x="569" y="361"/>
                        </a:lnTo>
                        <a:lnTo>
                          <a:pt x="569" y="361"/>
                        </a:lnTo>
                        <a:lnTo>
                          <a:pt x="569" y="361"/>
                        </a:lnTo>
                        <a:lnTo>
                          <a:pt x="569" y="347"/>
                        </a:lnTo>
                        <a:lnTo>
                          <a:pt x="569" y="347"/>
                        </a:lnTo>
                        <a:lnTo>
                          <a:pt x="569" y="346"/>
                        </a:lnTo>
                        <a:lnTo>
                          <a:pt x="569" y="346"/>
                        </a:lnTo>
                        <a:lnTo>
                          <a:pt x="568" y="333"/>
                        </a:lnTo>
                        <a:lnTo>
                          <a:pt x="568" y="333"/>
                        </a:lnTo>
                        <a:lnTo>
                          <a:pt x="567" y="327"/>
                        </a:lnTo>
                        <a:lnTo>
                          <a:pt x="567" y="327"/>
                        </a:lnTo>
                        <a:lnTo>
                          <a:pt x="567" y="318"/>
                        </a:lnTo>
                        <a:lnTo>
                          <a:pt x="567" y="318"/>
                        </a:lnTo>
                        <a:lnTo>
                          <a:pt x="565" y="309"/>
                        </a:lnTo>
                        <a:lnTo>
                          <a:pt x="565" y="309"/>
                        </a:lnTo>
                        <a:lnTo>
                          <a:pt x="564" y="305"/>
                        </a:lnTo>
                        <a:lnTo>
                          <a:pt x="564" y="305"/>
                        </a:lnTo>
                        <a:lnTo>
                          <a:pt x="563" y="295"/>
                        </a:lnTo>
                        <a:lnTo>
                          <a:pt x="563" y="295"/>
                        </a:lnTo>
                        <a:lnTo>
                          <a:pt x="563" y="293"/>
                        </a:lnTo>
                        <a:lnTo>
                          <a:pt x="563" y="293"/>
                        </a:lnTo>
                        <a:lnTo>
                          <a:pt x="563" y="293"/>
                        </a:lnTo>
                        <a:lnTo>
                          <a:pt x="563" y="293"/>
                        </a:lnTo>
                        <a:lnTo>
                          <a:pt x="559" y="269"/>
                        </a:lnTo>
                        <a:lnTo>
                          <a:pt x="552" y="240"/>
                        </a:lnTo>
                        <a:lnTo>
                          <a:pt x="542" y="210"/>
                        </a:lnTo>
                        <a:lnTo>
                          <a:pt x="529" y="177"/>
                        </a:lnTo>
                        <a:lnTo>
                          <a:pt x="529" y="177"/>
                        </a:lnTo>
                        <a:lnTo>
                          <a:pt x="528" y="174"/>
                        </a:lnTo>
                        <a:lnTo>
                          <a:pt x="528" y="174"/>
                        </a:lnTo>
                        <a:lnTo>
                          <a:pt x="526" y="169"/>
                        </a:lnTo>
                        <a:lnTo>
                          <a:pt x="526" y="169"/>
                        </a:lnTo>
                        <a:lnTo>
                          <a:pt x="525" y="166"/>
                        </a:lnTo>
                        <a:lnTo>
                          <a:pt x="525" y="166"/>
                        </a:lnTo>
                        <a:lnTo>
                          <a:pt x="513" y="144"/>
                        </a:lnTo>
                        <a:lnTo>
                          <a:pt x="503" y="125"/>
                        </a:lnTo>
                        <a:lnTo>
                          <a:pt x="503" y="125"/>
                        </a:lnTo>
                        <a:lnTo>
                          <a:pt x="502" y="123"/>
                        </a:lnTo>
                        <a:lnTo>
                          <a:pt x="502" y="123"/>
                        </a:lnTo>
                        <a:lnTo>
                          <a:pt x="496" y="115"/>
                        </a:lnTo>
                        <a:lnTo>
                          <a:pt x="496" y="115"/>
                        </a:lnTo>
                        <a:lnTo>
                          <a:pt x="483" y="96"/>
                        </a:lnTo>
                        <a:lnTo>
                          <a:pt x="483" y="96"/>
                        </a:lnTo>
                        <a:lnTo>
                          <a:pt x="480" y="93"/>
                        </a:lnTo>
                        <a:lnTo>
                          <a:pt x="480" y="93"/>
                        </a:lnTo>
                        <a:lnTo>
                          <a:pt x="477" y="89"/>
                        </a:lnTo>
                        <a:lnTo>
                          <a:pt x="477" y="89"/>
                        </a:lnTo>
                        <a:lnTo>
                          <a:pt x="475" y="87"/>
                        </a:lnTo>
                        <a:lnTo>
                          <a:pt x="475" y="87"/>
                        </a:lnTo>
                        <a:lnTo>
                          <a:pt x="473" y="84"/>
                        </a:lnTo>
                        <a:lnTo>
                          <a:pt x="473" y="84"/>
                        </a:lnTo>
                        <a:lnTo>
                          <a:pt x="467" y="77"/>
                        </a:lnTo>
                        <a:lnTo>
                          <a:pt x="467" y="77"/>
                        </a:lnTo>
                        <a:lnTo>
                          <a:pt x="451" y="61"/>
                        </a:lnTo>
                        <a:lnTo>
                          <a:pt x="435" y="50"/>
                        </a:lnTo>
                        <a:lnTo>
                          <a:pt x="435" y="50"/>
                        </a:lnTo>
                        <a:lnTo>
                          <a:pt x="434" y="48"/>
                        </a:lnTo>
                        <a:lnTo>
                          <a:pt x="434" y="48"/>
                        </a:lnTo>
                        <a:lnTo>
                          <a:pt x="431" y="46"/>
                        </a:lnTo>
                        <a:lnTo>
                          <a:pt x="431" y="46"/>
                        </a:lnTo>
                        <a:lnTo>
                          <a:pt x="426" y="44"/>
                        </a:lnTo>
                        <a:lnTo>
                          <a:pt x="426" y="44"/>
                        </a:lnTo>
                        <a:lnTo>
                          <a:pt x="420" y="40"/>
                        </a:lnTo>
                        <a:lnTo>
                          <a:pt x="420" y="40"/>
                        </a:lnTo>
                        <a:lnTo>
                          <a:pt x="404" y="32"/>
                        </a:lnTo>
                        <a:lnTo>
                          <a:pt x="387" y="25"/>
                        </a:lnTo>
                        <a:lnTo>
                          <a:pt x="387" y="25"/>
                        </a:lnTo>
                        <a:lnTo>
                          <a:pt x="370" y="18"/>
                        </a:lnTo>
                        <a:lnTo>
                          <a:pt x="370" y="18"/>
                        </a:lnTo>
                        <a:lnTo>
                          <a:pt x="362" y="16"/>
                        </a:lnTo>
                        <a:lnTo>
                          <a:pt x="354" y="15"/>
                        </a:lnTo>
                        <a:lnTo>
                          <a:pt x="337" y="12"/>
                        </a:lnTo>
                        <a:lnTo>
                          <a:pt x="337" y="12"/>
                        </a:lnTo>
                        <a:lnTo>
                          <a:pt x="316" y="11"/>
                        </a:lnTo>
                        <a:lnTo>
                          <a:pt x="316" y="11"/>
                        </a:lnTo>
                        <a:lnTo>
                          <a:pt x="315" y="11"/>
                        </a:lnTo>
                        <a:lnTo>
                          <a:pt x="315" y="11"/>
                        </a:lnTo>
                        <a:lnTo>
                          <a:pt x="240" y="10"/>
                        </a:lnTo>
                        <a:lnTo>
                          <a:pt x="240" y="10"/>
                        </a:lnTo>
                        <a:lnTo>
                          <a:pt x="207" y="9"/>
                        </a:lnTo>
                        <a:lnTo>
                          <a:pt x="207" y="9"/>
                        </a:lnTo>
                        <a:lnTo>
                          <a:pt x="51" y="2"/>
                        </a:lnTo>
                        <a:lnTo>
                          <a:pt x="51" y="2"/>
                        </a:lnTo>
                        <a:lnTo>
                          <a:pt x="0" y="0"/>
                        </a:lnTo>
                        <a:lnTo>
                          <a:pt x="0" y="739"/>
                        </a:lnTo>
                        <a:lnTo>
                          <a:pt x="0" y="739"/>
                        </a:lnTo>
                        <a:lnTo>
                          <a:pt x="96" y="736"/>
                        </a:lnTo>
                        <a:lnTo>
                          <a:pt x="96" y="736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193" y="731"/>
                        </a:lnTo>
                        <a:lnTo>
                          <a:pt x="209" y="731"/>
                        </a:lnTo>
                        <a:lnTo>
                          <a:pt x="209" y="731"/>
                        </a:lnTo>
                        <a:lnTo>
                          <a:pt x="209" y="731"/>
                        </a:lnTo>
                        <a:lnTo>
                          <a:pt x="209" y="731"/>
                        </a:lnTo>
                        <a:lnTo>
                          <a:pt x="248" y="729"/>
                        </a:lnTo>
                        <a:lnTo>
                          <a:pt x="248" y="729"/>
                        </a:lnTo>
                        <a:lnTo>
                          <a:pt x="252" y="729"/>
                        </a:lnTo>
                        <a:lnTo>
                          <a:pt x="252" y="729"/>
                        </a:lnTo>
                        <a:lnTo>
                          <a:pt x="255" y="729"/>
                        </a:lnTo>
                        <a:lnTo>
                          <a:pt x="255" y="729"/>
                        </a:lnTo>
                        <a:lnTo>
                          <a:pt x="255" y="729"/>
                        </a:lnTo>
                        <a:lnTo>
                          <a:pt x="255" y="729"/>
                        </a:lnTo>
                        <a:lnTo>
                          <a:pt x="258" y="729"/>
                        </a:lnTo>
                        <a:lnTo>
                          <a:pt x="258" y="729"/>
                        </a:lnTo>
                        <a:lnTo>
                          <a:pt x="315" y="728"/>
                        </a:lnTo>
                        <a:lnTo>
                          <a:pt x="315" y="728"/>
                        </a:lnTo>
                        <a:lnTo>
                          <a:pt x="307" y="728"/>
                        </a:lnTo>
                        <a:lnTo>
                          <a:pt x="307" y="728"/>
                        </a:lnTo>
                        <a:lnTo>
                          <a:pt x="315" y="728"/>
                        </a:lnTo>
                        <a:lnTo>
                          <a:pt x="315" y="728"/>
                        </a:lnTo>
                        <a:lnTo>
                          <a:pt x="315" y="728"/>
                        </a:lnTo>
                        <a:lnTo>
                          <a:pt x="315" y="728"/>
                        </a:lnTo>
                        <a:lnTo>
                          <a:pt x="332" y="726"/>
                        </a:lnTo>
                        <a:lnTo>
                          <a:pt x="355" y="724"/>
                        </a:lnTo>
                        <a:lnTo>
                          <a:pt x="355" y="724"/>
                        </a:lnTo>
                        <a:lnTo>
                          <a:pt x="366" y="722"/>
                        </a:lnTo>
                        <a:lnTo>
                          <a:pt x="376" y="720"/>
                        </a:lnTo>
                        <a:lnTo>
                          <a:pt x="376" y="720"/>
                        </a:lnTo>
                        <a:lnTo>
                          <a:pt x="380" y="718"/>
                        </a:lnTo>
                        <a:lnTo>
                          <a:pt x="380" y="718"/>
                        </a:lnTo>
                        <a:lnTo>
                          <a:pt x="382" y="717"/>
                        </a:lnTo>
                        <a:lnTo>
                          <a:pt x="382" y="717"/>
                        </a:lnTo>
                        <a:lnTo>
                          <a:pt x="394" y="713"/>
                        </a:lnTo>
                        <a:lnTo>
                          <a:pt x="403" y="709"/>
                        </a:lnTo>
                        <a:lnTo>
                          <a:pt x="403" y="709"/>
                        </a:lnTo>
                        <a:lnTo>
                          <a:pt x="408" y="707"/>
                        </a:lnTo>
                        <a:lnTo>
                          <a:pt x="408" y="707"/>
                        </a:lnTo>
                        <a:lnTo>
                          <a:pt x="421" y="699"/>
                        </a:lnTo>
                        <a:lnTo>
                          <a:pt x="435" y="689"/>
                        </a:lnTo>
                        <a:lnTo>
                          <a:pt x="435" y="689"/>
                        </a:lnTo>
                        <a:lnTo>
                          <a:pt x="449" y="678"/>
                        </a:lnTo>
                        <a:lnTo>
                          <a:pt x="449" y="678"/>
                        </a:lnTo>
                        <a:lnTo>
                          <a:pt x="451" y="678"/>
                        </a:lnTo>
                        <a:lnTo>
                          <a:pt x="451" y="678"/>
                        </a:lnTo>
                        <a:lnTo>
                          <a:pt x="460" y="668"/>
                        </a:lnTo>
                        <a:lnTo>
                          <a:pt x="473" y="656"/>
                        </a:lnTo>
                        <a:lnTo>
                          <a:pt x="488" y="637"/>
                        </a:lnTo>
                        <a:lnTo>
                          <a:pt x="503" y="614"/>
                        </a:lnTo>
                        <a:lnTo>
                          <a:pt x="503" y="614"/>
                        </a:lnTo>
                        <a:lnTo>
                          <a:pt x="506" y="609"/>
                        </a:lnTo>
                        <a:lnTo>
                          <a:pt x="506" y="609"/>
                        </a:lnTo>
                        <a:lnTo>
                          <a:pt x="510" y="603"/>
                        </a:lnTo>
                        <a:lnTo>
                          <a:pt x="510" y="603"/>
                        </a:lnTo>
                        <a:lnTo>
                          <a:pt x="514" y="594"/>
                        </a:lnTo>
                        <a:lnTo>
                          <a:pt x="514" y="594"/>
                        </a:lnTo>
                        <a:lnTo>
                          <a:pt x="516" y="591"/>
                        </a:lnTo>
                        <a:lnTo>
                          <a:pt x="516" y="591"/>
                        </a:lnTo>
                        <a:lnTo>
                          <a:pt x="521" y="580"/>
                        </a:lnTo>
                        <a:lnTo>
                          <a:pt x="521" y="580"/>
                        </a:lnTo>
                        <a:lnTo>
                          <a:pt x="523" y="577"/>
                        </a:lnTo>
                        <a:lnTo>
                          <a:pt x="523" y="577"/>
                        </a:lnTo>
                        <a:lnTo>
                          <a:pt x="528" y="565"/>
                        </a:lnTo>
                        <a:lnTo>
                          <a:pt x="528" y="565"/>
                        </a:lnTo>
                        <a:lnTo>
                          <a:pt x="529" y="562"/>
                        </a:lnTo>
                        <a:lnTo>
                          <a:pt x="529" y="562"/>
                        </a:lnTo>
                        <a:lnTo>
                          <a:pt x="534" y="550"/>
                        </a:lnTo>
                        <a:lnTo>
                          <a:pt x="534" y="550"/>
                        </a:lnTo>
                        <a:lnTo>
                          <a:pt x="536" y="545"/>
                        </a:lnTo>
                        <a:lnTo>
                          <a:pt x="536" y="545"/>
                        </a:lnTo>
                        <a:lnTo>
                          <a:pt x="542" y="529"/>
                        </a:lnTo>
                        <a:lnTo>
                          <a:pt x="542" y="529"/>
                        </a:lnTo>
                        <a:lnTo>
                          <a:pt x="542" y="529"/>
                        </a:lnTo>
                        <a:lnTo>
                          <a:pt x="542" y="529"/>
                        </a:lnTo>
                        <a:lnTo>
                          <a:pt x="548" y="509"/>
                        </a:lnTo>
                        <a:lnTo>
                          <a:pt x="548" y="509"/>
                        </a:lnTo>
                        <a:lnTo>
                          <a:pt x="548" y="509"/>
                        </a:lnTo>
                        <a:lnTo>
                          <a:pt x="548" y="509"/>
                        </a:lnTo>
                        <a:lnTo>
                          <a:pt x="549" y="506"/>
                        </a:lnTo>
                        <a:lnTo>
                          <a:pt x="549" y="506"/>
                        </a:lnTo>
                        <a:lnTo>
                          <a:pt x="557" y="472"/>
                        </a:lnTo>
                        <a:lnTo>
                          <a:pt x="563" y="443"/>
                        </a:lnTo>
                        <a:lnTo>
                          <a:pt x="563" y="443"/>
                        </a:lnTo>
                        <a:lnTo>
                          <a:pt x="563" y="442"/>
                        </a:lnTo>
                        <a:lnTo>
                          <a:pt x="563" y="442"/>
                        </a:lnTo>
                        <a:lnTo>
                          <a:pt x="564" y="435"/>
                        </a:lnTo>
                        <a:lnTo>
                          <a:pt x="564" y="435"/>
                        </a:lnTo>
                        <a:lnTo>
                          <a:pt x="565" y="429"/>
                        </a:lnTo>
                        <a:lnTo>
                          <a:pt x="565" y="429"/>
                        </a:lnTo>
                        <a:lnTo>
                          <a:pt x="565" y="425"/>
                        </a:lnTo>
                        <a:lnTo>
                          <a:pt x="565" y="425"/>
                        </a:lnTo>
                        <a:lnTo>
                          <a:pt x="567" y="419"/>
                        </a:lnTo>
                        <a:lnTo>
                          <a:pt x="567" y="419"/>
                        </a:lnTo>
                        <a:lnTo>
                          <a:pt x="569" y="399"/>
                        </a:lnTo>
                        <a:lnTo>
                          <a:pt x="569" y="399"/>
                        </a:lnTo>
                        <a:lnTo>
                          <a:pt x="569" y="379"/>
                        </a:lnTo>
                        <a:lnTo>
                          <a:pt x="569" y="379"/>
                        </a:lnTo>
                        <a:lnTo>
                          <a:pt x="569" y="375"/>
                        </a:lnTo>
                        <a:lnTo>
                          <a:pt x="569" y="375"/>
                        </a:lnTo>
                        <a:lnTo>
                          <a:pt x="569" y="371"/>
                        </a:lnTo>
                        <a:lnTo>
                          <a:pt x="569" y="371"/>
                        </a:lnTo>
                        <a:lnTo>
                          <a:pt x="569" y="361"/>
                        </a:lnTo>
                        <a:lnTo>
                          <a:pt x="569" y="36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bg1">
                          <a:lumMod val="65000"/>
                        </a:schemeClr>
                      </a:gs>
                      <a:gs pos="100000">
                        <a:schemeClr val="bg1">
                          <a:lumMod val="50000"/>
                        </a:schemeClr>
                      </a:gs>
                      <a:gs pos="35000">
                        <a:schemeClr val="bg1">
                          <a:lumMod val="85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4" name="Oval 23">
                    <a:extLst>
                      <a:ext uri="{FF2B5EF4-FFF2-40B4-BE49-F238E27FC236}">
                        <a16:creationId xmlns:a16="http://schemas.microsoft.com/office/drawing/2014/main" xmlns="" id="{29C32DDD-81CF-D242-8551-0A40E1392C96}"/>
                      </a:ext>
                    </a:extLst>
                  </p:cNvPr>
                  <p:cNvSpPr/>
                  <p:nvPr/>
                </p:nvSpPr>
                <p:spPr>
                  <a:xfrm>
                    <a:off x="9142412" y="2819400"/>
                    <a:ext cx="94722" cy="27093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5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xmlns="" id="{A035A684-E3D1-0343-81B7-EDEF4E00115D}"/>
                    </a:ext>
                  </a:extLst>
                </p:cNvPr>
                <p:cNvSpPr/>
                <p:nvPr/>
              </p:nvSpPr>
              <p:spPr>
                <a:xfrm>
                  <a:off x="3519419" y="1702021"/>
                  <a:ext cx="4440232" cy="1042177"/>
                </a:xfrm>
                <a:custGeom>
                  <a:avLst/>
                  <a:gdLst>
                    <a:gd name="connsiteX0" fmla="*/ 747183 w 4707466"/>
                    <a:gd name="connsiteY0" fmla="*/ 726017 h 1104900"/>
                    <a:gd name="connsiteX1" fmla="*/ 2334683 w 4707466"/>
                    <a:gd name="connsiteY1" fmla="*/ 687917 h 1104900"/>
                    <a:gd name="connsiteX2" fmla="*/ 4328583 w 4707466"/>
                    <a:gd name="connsiteY2" fmla="*/ 205317 h 1104900"/>
                    <a:gd name="connsiteX3" fmla="*/ 4607983 w 4707466"/>
                    <a:gd name="connsiteY3" fmla="*/ 116417 h 1104900"/>
                    <a:gd name="connsiteX4" fmla="*/ 4557183 w 4707466"/>
                    <a:gd name="connsiteY4" fmla="*/ 903817 h 1104900"/>
                    <a:gd name="connsiteX5" fmla="*/ 4519083 w 4707466"/>
                    <a:gd name="connsiteY5" fmla="*/ 980017 h 1104900"/>
                    <a:gd name="connsiteX6" fmla="*/ 4480983 w 4707466"/>
                    <a:gd name="connsiteY6" fmla="*/ 1030817 h 1104900"/>
                    <a:gd name="connsiteX7" fmla="*/ 4392083 w 4707466"/>
                    <a:gd name="connsiteY7" fmla="*/ 1030817 h 1104900"/>
                    <a:gd name="connsiteX8" fmla="*/ 645583 w 4707466"/>
                    <a:gd name="connsiteY8" fmla="*/ 1056217 h 1104900"/>
                    <a:gd name="connsiteX9" fmla="*/ 518583 w 4707466"/>
                    <a:gd name="connsiteY9" fmla="*/ 738717 h 1104900"/>
                    <a:gd name="connsiteX10" fmla="*/ 810683 w 4707466"/>
                    <a:gd name="connsiteY10" fmla="*/ 726017 h 1104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07466" h="1104900">
                      <a:moveTo>
                        <a:pt x="747183" y="726017"/>
                      </a:moveTo>
                      <a:cubicBezTo>
                        <a:pt x="1242483" y="750358"/>
                        <a:pt x="1737783" y="774700"/>
                        <a:pt x="2334683" y="687917"/>
                      </a:cubicBezTo>
                      <a:cubicBezTo>
                        <a:pt x="2931583" y="601134"/>
                        <a:pt x="3949700" y="300567"/>
                        <a:pt x="4328583" y="205317"/>
                      </a:cubicBezTo>
                      <a:cubicBezTo>
                        <a:pt x="4707466" y="110067"/>
                        <a:pt x="4569883" y="0"/>
                        <a:pt x="4607983" y="116417"/>
                      </a:cubicBezTo>
                      <a:cubicBezTo>
                        <a:pt x="4646083" y="232834"/>
                        <a:pt x="4572000" y="759884"/>
                        <a:pt x="4557183" y="903817"/>
                      </a:cubicBezTo>
                      <a:cubicBezTo>
                        <a:pt x="4542366" y="1047750"/>
                        <a:pt x="4531783" y="958850"/>
                        <a:pt x="4519083" y="980017"/>
                      </a:cubicBezTo>
                      <a:cubicBezTo>
                        <a:pt x="4506383" y="1001184"/>
                        <a:pt x="4502150" y="1022350"/>
                        <a:pt x="4480983" y="1030817"/>
                      </a:cubicBezTo>
                      <a:cubicBezTo>
                        <a:pt x="4459816" y="1039284"/>
                        <a:pt x="4392083" y="1030817"/>
                        <a:pt x="4392083" y="1030817"/>
                      </a:cubicBezTo>
                      <a:cubicBezTo>
                        <a:pt x="3752850" y="1035050"/>
                        <a:pt x="1291166" y="1104900"/>
                        <a:pt x="645583" y="1056217"/>
                      </a:cubicBezTo>
                      <a:cubicBezTo>
                        <a:pt x="0" y="1007534"/>
                        <a:pt x="491066" y="793750"/>
                        <a:pt x="518583" y="738717"/>
                      </a:cubicBezTo>
                      <a:cubicBezTo>
                        <a:pt x="546100" y="683684"/>
                        <a:pt x="810683" y="726017"/>
                        <a:pt x="810683" y="726017"/>
                      </a:cubicBezTo>
                    </a:path>
                  </a:pathLst>
                </a:cu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0" scaled="1"/>
                  <a:tileRect/>
                </a:gradFill>
                <a:ln>
                  <a:noFill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grpSp>
              <p:nvGrpSpPr>
                <p:cNvPr id="16" name="Group 33">
                  <a:extLst>
                    <a:ext uri="{FF2B5EF4-FFF2-40B4-BE49-F238E27FC236}">
                      <a16:creationId xmlns:a16="http://schemas.microsoft.com/office/drawing/2014/main" xmlns="" id="{8F895849-03F1-BB45-812D-3628374F6927}"/>
                    </a:ext>
                  </a:extLst>
                </p:cNvPr>
                <p:cNvGrpSpPr/>
                <p:nvPr/>
              </p:nvGrpSpPr>
              <p:grpSpPr>
                <a:xfrm>
                  <a:off x="7696128" y="685800"/>
                  <a:ext cx="913101" cy="4734561"/>
                  <a:chOff x="8637892" y="0"/>
                  <a:chExt cx="1141376" cy="5918200"/>
                </a:xfrm>
              </p:grpSpPr>
              <p:sp>
                <p:nvSpPr>
                  <p:cNvPr id="20" name="Freeform 13">
                    <a:extLst>
                      <a:ext uri="{FF2B5EF4-FFF2-40B4-BE49-F238E27FC236}">
                        <a16:creationId xmlns:a16="http://schemas.microsoft.com/office/drawing/2014/main" xmlns="" id="{FFD83464-F347-9146-BDCB-B226C7D93D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166493" y="73025"/>
                    <a:ext cx="612775" cy="5773738"/>
                  </a:xfrm>
                  <a:custGeom>
                    <a:avLst/>
                    <a:gdLst/>
                    <a:ahLst/>
                    <a:cxnLst>
                      <a:cxn ang="0">
                        <a:pos x="0" y="7272"/>
                      </a:cxn>
                      <a:cxn ang="0">
                        <a:pos x="45" y="7262"/>
                      </a:cxn>
                      <a:cxn ang="0">
                        <a:pos x="89" y="7230"/>
                      </a:cxn>
                      <a:cxn ang="0">
                        <a:pos x="132" y="7181"/>
                      </a:cxn>
                      <a:cxn ang="0">
                        <a:pos x="173" y="7112"/>
                      </a:cxn>
                      <a:cxn ang="0">
                        <a:pos x="213" y="7026"/>
                      </a:cxn>
                      <a:cxn ang="0">
                        <a:pos x="253" y="6922"/>
                      </a:cxn>
                      <a:cxn ang="0">
                        <a:pos x="303" y="6758"/>
                      </a:cxn>
                      <a:cxn ang="0">
                        <a:pos x="371" y="6461"/>
                      </a:cxn>
                      <a:cxn ang="0">
                        <a:pos x="433" y="6107"/>
                      </a:cxn>
                      <a:cxn ang="0">
                        <a:pos x="485" y="5703"/>
                      </a:cxn>
                      <a:cxn ang="0">
                        <a:pos x="528" y="5253"/>
                      </a:cxn>
                      <a:cxn ang="0">
                        <a:pos x="561" y="4767"/>
                      </a:cxn>
                      <a:cxn ang="0">
                        <a:pos x="581" y="4246"/>
                      </a:cxn>
                      <a:cxn ang="0">
                        <a:pos x="590" y="3699"/>
                      </a:cxn>
                      <a:cxn ang="0">
                        <a:pos x="587" y="3327"/>
                      </a:cxn>
                      <a:cxn ang="0">
                        <a:pos x="573" y="2789"/>
                      </a:cxn>
                      <a:cxn ang="0">
                        <a:pos x="548" y="2279"/>
                      </a:cxn>
                      <a:cxn ang="0">
                        <a:pos x="509" y="1804"/>
                      </a:cxn>
                      <a:cxn ang="0">
                        <a:pos x="462" y="1372"/>
                      </a:cxn>
                      <a:cxn ang="0">
                        <a:pos x="404" y="987"/>
                      </a:cxn>
                      <a:cxn ang="0">
                        <a:pos x="338" y="656"/>
                      </a:cxn>
                      <a:cxn ang="0">
                        <a:pos x="277" y="426"/>
                      </a:cxn>
                      <a:cxn ang="0">
                        <a:pos x="239" y="310"/>
                      </a:cxn>
                      <a:cxn ang="0">
                        <a:pos x="198" y="211"/>
                      </a:cxn>
                      <a:cxn ang="0">
                        <a:pos x="158" y="130"/>
                      </a:cxn>
                      <a:cxn ang="0">
                        <a:pos x="115" y="68"/>
                      </a:cxn>
                      <a:cxn ang="0">
                        <a:pos x="71" y="25"/>
                      </a:cxn>
                      <a:cxn ang="0">
                        <a:pos x="25" y="2"/>
                      </a:cxn>
                      <a:cxn ang="0">
                        <a:pos x="192" y="0"/>
                      </a:cxn>
                      <a:cxn ang="0">
                        <a:pos x="238" y="15"/>
                      </a:cxn>
                      <a:cxn ang="0">
                        <a:pos x="282" y="51"/>
                      </a:cxn>
                      <a:cxn ang="0">
                        <a:pos x="325" y="108"/>
                      </a:cxn>
                      <a:cxn ang="0">
                        <a:pos x="368" y="182"/>
                      </a:cxn>
                      <a:cxn ang="0">
                        <a:pos x="408" y="275"/>
                      </a:cxn>
                      <a:cxn ang="0">
                        <a:pos x="447" y="385"/>
                      </a:cxn>
                      <a:cxn ang="0">
                        <a:pos x="497" y="559"/>
                      </a:cxn>
                      <a:cxn ang="0">
                        <a:pos x="565" y="871"/>
                      </a:cxn>
                      <a:cxn ang="0">
                        <a:pos x="626" y="1237"/>
                      </a:cxn>
                      <a:cxn ang="0">
                        <a:pos x="677" y="1655"/>
                      </a:cxn>
                      <a:cxn ang="0">
                        <a:pos x="718" y="2116"/>
                      </a:cxn>
                      <a:cxn ang="0">
                        <a:pos x="749" y="2616"/>
                      </a:cxn>
                      <a:cxn ang="0">
                        <a:pos x="767" y="3145"/>
                      </a:cxn>
                      <a:cxn ang="0">
                        <a:pos x="772" y="3699"/>
                      </a:cxn>
                      <a:cxn ang="0">
                        <a:pos x="768" y="4067"/>
                      </a:cxn>
                      <a:cxn ang="0">
                        <a:pos x="751" y="4596"/>
                      </a:cxn>
                      <a:cxn ang="0">
                        <a:pos x="723" y="5095"/>
                      </a:cxn>
                      <a:cxn ang="0">
                        <a:pos x="684" y="5557"/>
                      </a:cxn>
                      <a:cxn ang="0">
                        <a:pos x="634" y="5977"/>
                      </a:cxn>
                      <a:cxn ang="0">
                        <a:pos x="574" y="6348"/>
                      </a:cxn>
                      <a:cxn ang="0">
                        <a:pos x="508" y="6665"/>
                      </a:cxn>
                      <a:cxn ang="0">
                        <a:pos x="448" y="6883"/>
                      </a:cxn>
                      <a:cxn ang="0">
                        <a:pos x="410" y="6992"/>
                      </a:cxn>
                      <a:cxn ang="0">
                        <a:pos x="369" y="7085"/>
                      </a:cxn>
                      <a:cxn ang="0">
                        <a:pos x="328" y="7160"/>
                      </a:cxn>
                      <a:cxn ang="0">
                        <a:pos x="285" y="7217"/>
                      </a:cxn>
                      <a:cxn ang="0">
                        <a:pos x="242" y="7254"/>
                      </a:cxn>
                      <a:cxn ang="0">
                        <a:pos x="197" y="7271"/>
                      </a:cxn>
                    </a:cxnLst>
                    <a:rect l="0" t="0" r="r" b="b"/>
                    <a:pathLst>
                      <a:path w="772" h="7272">
                        <a:moveTo>
                          <a:pt x="182" y="7272"/>
                        </a:moveTo>
                        <a:lnTo>
                          <a:pt x="0" y="7272"/>
                        </a:lnTo>
                        <a:lnTo>
                          <a:pt x="0" y="7272"/>
                        </a:lnTo>
                        <a:lnTo>
                          <a:pt x="15" y="7271"/>
                        </a:lnTo>
                        <a:lnTo>
                          <a:pt x="30" y="7268"/>
                        </a:lnTo>
                        <a:lnTo>
                          <a:pt x="45" y="7262"/>
                        </a:lnTo>
                        <a:lnTo>
                          <a:pt x="60" y="7254"/>
                        </a:lnTo>
                        <a:lnTo>
                          <a:pt x="74" y="7243"/>
                        </a:lnTo>
                        <a:lnTo>
                          <a:pt x="89" y="7230"/>
                        </a:lnTo>
                        <a:lnTo>
                          <a:pt x="103" y="7217"/>
                        </a:lnTo>
                        <a:lnTo>
                          <a:pt x="117" y="7200"/>
                        </a:lnTo>
                        <a:lnTo>
                          <a:pt x="132" y="7181"/>
                        </a:lnTo>
                        <a:lnTo>
                          <a:pt x="146" y="7160"/>
                        </a:lnTo>
                        <a:lnTo>
                          <a:pt x="160" y="7138"/>
                        </a:lnTo>
                        <a:lnTo>
                          <a:pt x="173" y="7112"/>
                        </a:lnTo>
                        <a:lnTo>
                          <a:pt x="187" y="7085"/>
                        </a:lnTo>
                        <a:lnTo>
                          <a:pt x="201" y="7056"/>
                        </a:lnTo>
                        <a:lnTo>
                          <a:pt x="213" y="7026"/>
                        </a:lnTo>
                        <a:lnTo>
                          <a:pt x="227" y="6992"/>
                        </a:lnTo>
                        <a:lnTo>
                          <a:pt x="240" y="6959"/>
                        </a:lnTo>
                        <a:lnTo>
                          <a:pt x="253" y="6922"/>
                        </a:lnTo>
                        <a:lnTo>
                          <a:pt x="266" y="6883"/>
                        </a:lnTo>
                        <a:lnTo>
                          <a:pt x="278" y="6844"/>
                        </a:lnTo>
                        <a:lnTo>
                          <a:pt x="303" y="6758"/>
                        </a:lnTo>
                        <a:lnTo>
                          <a:pt x="326" y="6665"/>
                        </a:lnTo>
                        <a:lnTo>
                          <a:pt x="349" y="6566"/>
                        </a:lnTo>
                        <a:lnTo>
                          <a:pt x="371" y="6461"/>
                        </a:lnTo>
                        <a:lnTo>
                          <a:pt x="392" y="6348"/>
                        </a:lnTo>
                        <a:lnTo>
                          <a:pt x="413" y="6231"/>
                        </a:lnTo>
                        <a:lnTo>
                          <a:pt x="433" y="6107"/>
                        </a:lnTo>
                        <a:lnTo>
                          <a:pt x="451" y="5977"/>
                        </a:lnTo>
                        <a:lnTo>
                          <a:pt x="469" y="5842"/>
                        </a:lnTo>
                        <a:lnTo>
                          <a:pt x="485" y="5703"/>
                        </a:lnTo>
                        <a:lnTo>
                          <a:pt x="500" y="5557"/>
                        </a:lnTo>
                        <a:lnTo>
                          <a:pt x="515" y="5408"/>
                        </a:lnTo>
                        <a:lnTo>
                          <a:pt x="528" y="5253"/>
                        </a:lnTo>
                        <a:lnTo>
                          <a:pt x="541" y="5095"/>
                        </a:lnTo>
                        <a:lnTo>
                          <a:pt x="551" y="4933"/>
                        </a:lnTo>
                        <a:lnTo>
                          <a:pt x="561" y="4767"/>
                        </a:lnTo>
                        <a:lnTo>
                          <a:pt x="569" y="4596"/>
                        </a:lnTo>
                        <a:lnTo>
                          <a:pt x="576" y="4423"/>
                        </a:lnTo>
                        <a:lnTo>
                          <a:pt x="581" y="4246"/>
                        </a:lnTo>
                        <a:lnTo>
                          <a:pt x="586" y="4067"/>
                        </a:lnTo>
                        <a:lnTo>
                          <a:pt x="588" y="3885"/>
                        </a:lnTo>
                        <a:lnTo>
                          <a:pt x="590" y="3699"/>
                        </a:lnTo>
                        <a:lnTo>
                          <a:pt x="590" y="3699"/>
                        </a:lnTo>
                        <a:lnTo>
                          <a:pt x="590" y="3512"/>
                        </a:lnTo>
                        <a:lnTo>
                          <a:pt x="587" y="3327"/>
                        </a:lnTo>
                        <a:lnTo>
                          <a:pt x="585" y="3145"/>
                        </a:lnTo>
                        <a:lnTo>
                          <a:pt x="580" y="2965"/>
                        </a:lnTo>
                        <a:lnTo>
                          <a:pt x="573" y="2789"/>
                        </a:lnTo>
                        <a:lnTo>
                          <a:pt x="566" y="2616"/>
                        </a:lnTo>
                        <a:lnTo>
                          <a:pt x="557" y="2445"/>
                        </a:lnTo>
                        <a:lnTo>
                          <a:pt x="548" y="2279"/>
                        </a:lnTo>
                        <a:lnTo>
                          <a:pt x="536" y="2116"/>
                        </a:lnTo>
                        <a:lnTo>
                          <a:pt x="523" y="1958"/>
                        </a:lnTo>
                        <a:lnTo>
                          <a:pt x="509" y="1804"/>
                        </a:lnTo>
                        <a:lnTo>
                          <a:pt x="494" y="1655"/>
                        </a:lnTo>
                        <a:lnTo>
                          <a:pt x="478" y="1511"/>
                        </a:lnTo>
                        <a:lnTo>
                          <a:pt x="462" y="1372"/>
                        </a:lnTo>
                        <a:lnTo>
                          <a:pt x="443" y="1237"/>
                        </a:lnTo>
                        <a:lnTo>
                          <a:pt x="425" y="1110"/>
                        </a:lnTo>
                        <a:lnTo>
                          <a:pt x="404" y="987"/>
                        </a:lnTo>
                        <a:lnTo>
                          <a:pt x="383" y="871"/>
                        </a:lnTo>
                        <a:lnTo>
                          <a:pt x="361" y="760"/>
                        </a:lnTo>
                        <a:lnTo>
                          <a:pt x="338" y="656"/>
                        </a:lnTo>
                        <a:lnTo>
                          <a:pt x="314" y="559"/>
                        </a:lnTo>
                        <a:lnTo>
                          <a:pt x="290" y="469"/>
                        </a:lnTo>
                        <a:lnTo>
                          <a:pt x="277" y="426"/>
                        </a:lnTo>
                        <a:lnTo>
                          <a:pt x="264" y="385"/>
                        </a:lnTo>
                        <a:lnTo>
                          <a:pt x="252" y="347"/>
                        </a:lnTo>
                        <a:lnTo>
                          <a:pt x="239" y="310"/>
                        </a:lnTo>
                        <a:lnTo>
                          <a:pt x="226" y="275"/>
                        </a:lnTo>
                        <a:lnTo>
                          <a:pt x="212" y="243"/>
                        </a:lnTo>
                        <a:lnTo>
                          <a:pt x="198" y="211"/>
                        </a:lnTo>
                        <a:lnTo>
                          <a:pt x="185" y="182"/>
                        </a:lnTo>
                        <a:lnTo>
                          <a:pt x="172" y="155"/>
                        </a:lnTo>
                        <a:lnTo>
                          <a:pt x="158" y="130"/>
                        </a:lnTo>
                        <a:lnTo>
                          <a:pt x="143" y="108"/>
                        </a:lnTo>
                        <a:lnTo>
                          <a:pt x="129" y="87"/>
                        </a:lnTo>
                        <a:lnTo>
                          <a:pt x="115" y="68"/>
                        </a:lnTo>
                        <a:lnTo>
                          <a:pt x="100" y="51"/>
                        </a:lnTo>
                        <a:lnTo>
                          <a:pt x="86" y="37"/>
                        </a:lnTo>
                        <a:lnTo>
                          <a:pt x="71" y="25"/>
                        </a:lnTo>
                        <a:lnTo>
                          <a:pt x="55" y="15"/>
                        </a:lnTo>
                        <a:lnTo>
                          <a:pt x="40" y="8"/>
                        </a:lnTo>
                        <a:lnTo>
                          <a:pt x="25" y="2"/>
                        </a:lnTo>
                        <a:lnTo>
                          <a:pt x="10" y="0"/>
                        </a:lnTo>
                        <a:lnTo>
                          <a:pt x="192" y="0"/>
                        </a:lnTo>
                        <a:lnTo>
                          <a:pt x="192" y="0"/>
                        </a:lnTo>
                        <a:lnTo>
                          <a:pt x="208" y="2"/>
                        </a:lnTo>
                        <a:lnTo>
                          <a:pt x="223" y="8"/>
                        </a:lnTo>
                        <a:lnTo>
                          <a:pt x="238" y="15"/>
                        </a:lnTo>
                        <a:lnTo>
                          <a:pt x="253" y="25"/>
                        </a:lnTo>
                        <a:lnTo>
                          <a:pt x="268" y="37"/>
                        </a:lnTo>
                        <a:lnTo>
                          <a:pt x="282" y="51"/>
                        </a:lnTo>
                        <a:lnTo>
                          <a:pt x="297" y="68"/>
                        </a:lnTo>
                        <a:lnTo>
                          <a:pt x="311" y="87"/>
                        </a:lnTo>
                        <a:lnTo>
                          <a:pt x="325" y="108"/>
                        </a:lnTo>
                        <a:lnTo>
                          <a:pt x="340" y="130"/>
                        </a:lnTo>
                        <a:lnTo>
                          <a:pt x="354" y="155"/>
                        </a:lnTo>
                        <a:lnTo>
                          <a:pt x="368" y="182"/>
                        </a:lnTo>
                        <a:lnTo>
                          <a:pt x="381" y="211"/>
                        </a:lnTo>
                        <a:lnTo>
                          <a:pt x="395" y="243"/>
                        </a:lnTo>
                        <a:lnTo>
                          <a:pt x="408" y="275"/>
                        </a:lnTo>
                        <a:lnTo>
                          <a:pt x="421" y="310"/>
                        </a:lnTo>
                        <a:lnTo>
                          <a:pt x="434" y="347"/>
                        </a:lnTo>
                        <a:lnTo>
                          <a:pt x="447" y="385"/>
                        </a:lnTo>
                        <a:lnTo>
                          <a:pt x="460" y="426"/>
                        </a:lnTo>
                        <a:lnTo>
                          <a:pt x="472" y="469"/>
                        </a:lnTo>
                        <a:lnTo>
                          <a:pt x="497" y="559"/>
                        </a:lnTo>
                        <a:lnTo>
                          <a:pt x="520" y="656"/>
                        </a:lnTo>
                        <a:lnTo>
                          <a:pt x="543" y="760"/>
                        </a:lnTo>
                        <a:lnTo>
                          <a:pt x="565" y="871"/>
                        </a:lnTo>
                        <a:lnTo>
                          <a:pt x="586" y="987"/>
                        </a:lnTo>
                        <a:lnTo>
                          <a:pt x="607" y="1110"/>
                        </a:lnTo>
                        <a:lnTo>
                          <a:pt x="626" y="1237"/>
                        </a:lnTo>
                        <a:lnTo>
                          <a:pt x="644" y="1372"/>
                        </a:lnTo>
                        <a:lnTo>
                          <a:pt x="660" y="1511"/>
                        </a:lnTo>
                        <a:lnTo>
                          <a:pt x="677" y="1655"/>
                        </a:lnTo>
                        <a:lnTo>
                          <a:pt x="692" y="1804"/>
                        </a:lnTo>
                        <a:lnTo>
                          <a:pt x="706" y="1958"/>
                        </a:lnTo>
                        <a:lnTo>
                          <a:pt x="718" y="2116"/>
                        </a:lnTo>
                        <a:lnTo>
                          <a:pt x="730" y="2279"/>
                        </a:lnTo>
                        <a:lnTo>
                          <a:pt x="739" y="2445"/>
                        </a:lnTo>
                        <a:lnTo>
                          <a:pt x="749" y="2616"/>
                        </a:lnTo>
                        <a:lnTo>
                          <a:pt x="756" y="2789"/>
                        </a:lnTo>
                        <a:lnTo>
                          <a:pt x="763" y="2965"/>
                        </a:lnTo>
                        <a:lnTo>
                          <a:pt x="767" y="3145"/>
                        </a:lnTo>
                        <a:lnTo>
                          <a:pt x="770" y="3327"/>
                        </a:lnTo>
                        <a:lnTo>
                          <a:pt x="772" y="3512"/>
                        </a:lnTo>
                        <a:lnTo>
                          <a:pt x="772" y="3699"/>
                        </a:lnTo>
                        <a:lnTo>
                          <a:pt x="772" y="3699"/>
                        </a:lnTo>
                        <a:lnTo>
                          <a:pt x="771" y="3885"/>
                        </a:lnTo>
                        <a:lnTo>
                          <a:pt x="768" y="4067"/>
                        </a:lnTo>
                        <a:lnTo>
                          <a:pt x="764" y="4246"/>
                        </a:lnTo>
                        <a:lnTo>
                          <a:pt x="758" y="4423"/>
                        </a:lnTo>
                        <a:lnTo>
                          <a:pt x="751" y="4596"/>
                        </a:lnTo>
                        <a:lnTo>
                          <a:pt x="743" y="4767"/>
                        </a:lnTo>
                        <a:lnTo>
                          <a:pt x="734" y="4933"/>
                        </a:lnTo>
                        <a:lnTo>
                          <a:pt x="723" y="5095"/>
                        </a:lnTo>
                        <a:lnTo>
                          <a:pt x="710" y="5253"/>
                        </a:lnTo>
                        <a:lnTo>
                          <a:pt x="698" y="5408"/>
                        </a:lnTo>
                        <a:lnTo>
                          <a:pt x="684" y="5557"/>
                        </a:lnTo>
                        <a:lnTo>
                          <a:pt x="667" y="5703"/>
                        </a:lnTo>
                        <a:lnTo>
                          <a:pt x="651" y="5842"/>
                        </a:lnTo>
                        <a:lnTo>
                          <a:pt x="634" y="5977"/>
                        </a:lnTo>
                        <a:lnTo>
                          <a:pt x="615" y="6107"/>
                        </a:lnTo>
                        <a:lnTo>
                          <a:pt x="595" y="6231"/>
                        </a:lnTo>
                        <a:lnTo>
                          <a:pt x="574" y="6348"/>
                        </a:lnTo>
                        <a:lnTo>
                          <a:pt x="554" y="6461"/>
                        </a:lnTo>
                        <a:lnTo>
                          <a:pt x="532" y="6566"/>
                        </a:lnTo>
                        <a:lnTo>
                          <a:pt x="508" y="6665"/>
                        </a:lnTo>
                        <a:lnTo>
                          <a:pt x="485" y="6758"/>
                        </a:lnTo>
                        <a:lnTo>
                          <a:pt x="461" y="6844"/>
                        </a:lnTo>
                        <a:lnTo>
                          <a:pt x="448" y="6883"/>
                        </a:lnTo>
                        <a:lnTo>
                          <a:pt x="435" y="6922"/>
                        </a:lnTo>
                        <a:lnTo>
                          <a:pt x="422" y="6959"/>
                        </a:lnTo>
                        <a:lnTo>
                          <a:pt x="410" y="6992"/>
                        </a:lnTo>
                        <a:lnTo>
                          <a:pt x="396" y="7026"/>
                        </a:lnTo>
                        <a:lnTo>
                          <a:pt x="383" y="7056"/>
                        </a:lnTo>
                        <a:lnTo>
                          <a:pt x="369" y="7085"/>
                        </a:lnTo>
                        <a:lnTo>
                          <a:pt x="355" y="7112"/>
                        </a:lnTo>
                        <a:lnTo>
                          <a:pt x="342" y="7138"/>
                        </a:lnTo>
                        <a:lnTo>
                          <a:pt x="328" y="7160"/>
                        </a:lnTo>
                        <a:lnTo>
                          <a:pt x="314" y="7181"/>
                        </a:lnTo>
                        <a:lnTo>
                          <a:pt x="299" y="7200"/>
                        </a:lnTo>
                        <a:lnTo>
                          <a:pt x="285" y="7217"/>
                        </a:lnTo>
                        <a:lnTo>
                          <a:pt x="271" y="7230"/>
                        </a:lnTo>
                        <a:lnTo>
                          <a:pt x="256" y="7243"/>
                        </a:lnTo>
                        <a:lnTo>
                          <a:pt x="242" y="7254"/>
                        </a:lnTo>
                        <a:lnTo>
                          <a:pt x="227" y="7262"/>
                        </a:lnTo>
                        <a:lnTo>
                          <a:pt x="212" y="7268"/>
                        </a:lnTo>
                        <a:lnTo>
                          <a:pt x="197" y="7271"/>
                        </a:lnTo>
                        <a:lnTo>
                          <a:pt x="182" y="7272"/>
                        </a:lnTo>
                        <a:lnTo>
                          <a:pt x="182" y="7272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50000"/>
                        </a:schemeClr>
                      </a:gs>
                      <a:gs pos="55000">
                        <a:schemeClr val="accent6">
                          <a:lumMod val="50000"/>
                        </a:schemeClr>
                      </a:gs>
                      <a:gs pos="78000">
                        <a:schemeClr val="accent6">
                          <a:lumMod val="60000"/>
                          <a:lumOff val="40000"/>
                        </a:schemeClr>
                      </a:gs>
                    </a:gsLst>
                    <a:lin ang="162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1" name="Freeform 14">
                    <a:extLst>
                      <a:ext uri="{FF2B5EF4-FFF2-40B4-BE49-F238E27FC236}">
                        <a16:creationId xmlns:a16="http://schemas.microsoft.com/office/drawing/2014/main" xmlns="" id="{4BBB1A35-4B6A-6544-A44A-4F176CA6990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637892" y="0"/>
                    <a:ext cx="658813" cy="5918200"/>
                  </a:xfrm>
                  <a:custGeom>
                    <a:avLst/>
                    <a:gdLst/>
                    <a:ahLst/>
                    <a:cxnLst>
                      <a:cxn ang="0">
                        <a:pos x="829" y="0"/>
                      </a:cxn>
                      <a:cxn ang="0">
                        <a:pos x="783" y="10"/>
                      </a:cxn>
                      <a:cxn ang="0">
                        <a:pos x="738" y="42"/>
                      </a:cxn>
                      <a:cxn ang="0">
                        <a:pos x="694" y="93"/>
                      </a:cxn>
                      <a:cxn ang="0">
                        <a:pos x="651" y="164"/>
                      </a:cxn>
                      <a:cxn ang="0">
                        <a:pos x="610" y="252"/>
                      </a:cxn>
                      <a:cxn ang="0">
                        <a:pos x="570" y="359"/>
                      </a:cxn>
                      <a:cxn ang="0">
                        <a:pos x="519" y="527"/>
                      </a:cxn>
                      <a:cxn ang="0">
                        <a:pos x="448" y="832"/>
                      </a:cxn>
                      <a:cxn ang="0">
                        <a:pos x="385" y="1195"/>
                      </a:cxn>
                      <a:cxn ang="0">
                        <a:pos x="331" y="1609"/>
                      </a:cxn>
                      <a:cxn ang="0">
                        <a:pos x="288" y="2069"/>
                      </a:cxn>
                      <a:cxn ang="0">
                        <a:pos x="254" y="2569"/>
                      </a:cxn>
                      <a:cxn ang="0">
                        <a:pos x="233" y="3102"/>
                      </a:cxn>
                      <a:cxn ang="0">
                        <a:pos x="224" y="3664"/>
                      </a:cxn>
                      <a:cxn ang="0">
                        <a:pos x="226" y="4045"/>
                      </a:cxn>
                      <a:cxn ang="0">
                        <a:pos x="240" y="4597"/>
                      </a:cxn>
                      <a:cxn ang="0">
                        <a:pos x="268" y="5120"/>
                      </a:cxn>
                      <a:cxn ang="0">
                        <a:pos x="306" y="5606"/>
                      </a:cxn>
                      <a:cxn ang="0">
                        <a:pos x="355" y="6050"/>
                      </a:cxn>
                      <a:cxn ang="0">
                        <a:pos x="414" y="6445"/>
                      </a:cxn>
                      <a:cxn ang="0">
                        <a:pos x="482" y="6784"/>
                      </a:cxn>
                      <a:cxn ang="0">
                        <a:pos x="545" y="7019"/>
                      </a:cxn>
                      <a:cxn ang="0">
                        <a:pos x="584" y="7139"/>
                      </a:cxn>
                      <a:cxn ang="0">
                        <a:pos x="625" y="7240"/>
                      </a:cxn>
                      <a:cxn ang="0">
                        <a:pos x="668" y="7323"/>
                      </a:cxn>
                      <a:cxn ang="0">
                        <a:pos x="712" y="7387"/>
                      </a:cxn>
                      <a:cxn ang="0">
                        <a:pos x="757" y="7431"/>
                      </a:cxn>
                      <a:cxn ang="0">
                        <a:pos x="803" y="7453"/>
                      </a:cxn>
                      <a:cxn ang="0">
                        <a:pos x="829" y="7457"/>
                      </a:cxn>
                      <a:cxn ang="0">
                        <a:pos x="633" y="7362"/>
                      </a:cxn>
                      <a:cxn ang="0">
                        <a:pos x="579" y="7335"/>
                      </a:cxn>
                      <a:cxn ang="0">
                        <a:pos x="534" y="7298"/>
                      </a:cxn>
                      <a:cxn ang="0">
                        <a:pos x="490" y="7245"/>
                      </a:cxn>
                      <a:cxn ang="0">
                        <a:pos x="446" y="7175"/>
                      </a:cxn>
                      <a:cxn ang="0">
                        <a:pos x="404" y="7089"/>
                      </a:cxn>
                      <a:cxn ang="0">
                        <a:pos x="363" y="6989"/>
                      </a:cxn>
                      <a:cxn ang="0">
                        <a:pos x="286" y="6744"/>
                      </a:cxn>
                      <a:cxn ang="0">
                        <a:pos x="215" y="6443"/>
                      </a:cxn>
                      <a:cxn ang="0">
                        <a:pos x="153" y="6090"/>
                      </a:cxn>
                      <a:cxn ang="0">
                        <a:pos x="100" y="5689"/>
                      </a:cxn>
                      <a:cxn ang="0">
                        <a:pos x="57" y="5243"/>
                      </a:cxn>
                      <a:cxn ang="0">
                        <a:pos x="25" y="4753"/>
                      </a:cxn>
                      <a:cxn ang="0">
                        <a:pos x="6" y="4226"/>
                      </a:cxn>
                      <a:cxn ang="0">
                        <a:pos x="0" y="3664"/>
                      </a:cxn>
                      <a:cxn ang="0">
                        <a:pos x="5" y="3289"/>
                      </a:cxn>
                      <a:cxn ang="0">
                        <a:pos x="22" y="2760"/>
                      </a:cxn>
                      <a:cxn ang="0">
                        <a:pos x="51" y="2271"/>
                      </a:cxn>
                      <a:cxn ang="0">
                        <a:pos x="92" y="1824"/>
                      </a:cxn>
                      <a:cxn ang="0">
                        <a:pos x="143" y="1422"/>
                      </a:cxn>
                      <a:cxn ang="0">
                        <a:pos x="203" y="1068"/>
                      </a:cxn>
                      <a:cxn ang="0">
                        <a:pos x="270" y="765"/>
                      </a:cxn>
                      <a:cxn ang="0">
                        <a:pos x="346" y="515"/>
                      </a:cxn>
                      <a:cxn ang="0">
                        <a:pos x="387" y="411"/>
                      </a:cxn>
                      <a:cxn ang="0">
                        <a:pos x="427" y="322"/>
                      </a:cxn>
                      <a:cxn ang="0">
                        <a:pos x="470" y="246"/>
                      </a:cxn>
                      <a:cxn ang="0">
                        <a:pos x="514" y="187"/>
                      </a:cxn>
                      <a:cxn ang="0">
                        <a:pos x="560" y="142"/>
                      </a:cxn>
                      <a:cxn ang="0">
                        <a:pos x="605" y="113"/>
                      </a:cxn>
                    </a:cxnLst>
                    <a:rect l="0" t="0" r="r" b="b"/>
                    <a:pathLst>
                      <a:path w="829" h="7457">
                        <a:moveTo>
                          <a:pt x="605" y="113"/>
                        </a:moveTo>
                        <a:lnTo>
                          <a:pt x="829" y="0"/>
                        </a:lnTo>
                        <a:lnTo>
                          <a:pt x="829" y="0"/>
                        </a:lnTo>
                        <a:lnTo>
                          <a:pt x="814" y="1"/>
                        </a:lnTo>
                        <a:lnTo>
                          <a:pt x="799" y="5"/>
                        </a:lnTo>
                        <a:lnTo>
                          <a:pt x="783" y="10"/>
                        </a:lnTo>
                        <a:lnTo>
                          <a:pt x="767" y="19"/>
                        </a:lnTo>
                        <a:lnTo>
                          <a:pt x="754" y="29"/>
                        </a:lnTo>
                        <a:lnTo>
                          <a:pt x="738" y="42"/>
                        </a:lnTo>
                        <a:lnTo>
                          <a:pt x="723" y="57"/>
                        </a:lnTo>
                        <a:lnTo>
                          <a:pt x="708" y="74"/>
                        </a:lnTo>
                        <a:lnTo>
                          <a:pt x="694" y="93"/>
                        </a:lnTo>
                        <a:lnTo>
                          <a:pt x="680" y="114"/>
                        </a:lnTo>
                        <a:lnTo>
                          <a:pt x="665" y="138"/>
                        </a:lnTo>
                        <a:lnTo>
                          <a:pt x="651" y="164"/>
                        </a:lnTo>
                        <a:lnTo>
                          <a:pt x="637" y="192"/>
                        </a:lnTo>
                        <a:lnTo>
                          <a:pt x="623" y="221"/>
                        </a:lnTo>
                        <a:lnTo>
                          <a:pt x="610" y="252"/>
                        </a:lnTo>
                        <a:lnTo>
                          <a:pt x="597" y="286"/>
                        </a:lnTo>
                        <a:lnTo>
                          <a:pt x="583" y="322"/>
                        </a:lnTo>
                        <a:lnTo>
                          <a:pt x="570" y="359"/>
                        </a:lnTo>
                        <a:lnTo>
                          <a:pt x="557" y="398"/>
                        </a:lnTo>
                        <a:lnTo>
                          <a:pt x="545" y="439"/>
                        </a:lnTo>
                        <a:lnTo>
                          <a:pt x="519" y="527"/>
                        </a:lnTo>
                        <a:lnTo>
                          <a:pt x="495" y="622"/>
                        </a:lnTo>
                        <a:lnTo>
                          <a:pt x="471" y="723"/>
                        </a:lnTo>
                        <a:lnTo>
                          <a:pt x="448" y="832"/>
                        </a:lnTo>
                        <a:lnTo>
                          <a:pt x="426" y="947"/>
                        </a:lnTo>
                        <a:lnTo>
                          <a:pt x="405" y="1068"/>
                        </a:lnTo>
                        <a:lnTo>
                          <a:pt x="385" y="1195"/>
                        </a:lnTo>
                        <a:lnTo>
                          <a:pt x="367" y="1327"/>
                        </a:lnTo>
                        <a:lnTo>
                          <a:pt x="348" y="1465"/>
                        </a:lnTo>
                        <a:lnTo>
                          <a:pt x="331" y="1609"/>
                        </a:lnTo>
                        <a:lnTo>
                          <a:pt x="316" y="1758"/>
                        </a:lnTo>
                        <a:lnTo>
                          <a:pt x="301" y="1911"/>
                        </a:lnTo>
                        <a:lnTo>
                          <a:pt x="288" y="2069"/>
                        </a:lnTo>
                        <a:lnTo>
                          <a:pt x="275" y="2231"/>
                        </a:lnTo>
                        <a:lnTo>
                          <a:pt x="263" y="2399"/>
                        </a:lnTo>
                        <a:lnTo>
                          <a:pt x="254" y="2569"/>
                        </a:lnTo>
                        <a:lnTo>
                          <a:pt x="246" y="2743"/>
                        </a:lnTo>
                        <a:lnTo>
                          <a:pt x="238" y="2921"/>
                        </a:lnTo>
                        <a:lnTo>
                          <a:pt x="233" y="3102"/>
                        </a:lnTo>
                        <a:lnTo>
                          <a:pt x="229" y="3287"/>
                        </a:lnTo>
                        <a:lnTo>
                          <a:pt x="225" y="3474"/>
                        </a:lnTo>
                        <a:lnTo>
                          <a:pt x="224" y="3664"/>
                        </a:lnTo>
                        <a:lnTo>
                          <a:pt x="224" y="3664"/>
                        </a:lnTo>
                        <a:lnTo>
                          <a:pt x="225" y="3856"/>
                        </a:lnTo>
                        <a:lnTo>
                          <a:pt x="226" y="4045"/>
                        </a:lnTo>
                        <a:lnTo>
                          <a:pt x="230" y="4232"/>
                        </a:lnTo>
                        <a:lnTo>
                          <a:pt x="234" y="4416"/>
                        </a:lnTo>
                        <a:lnTo>
                          <a:pt x="240" y="4597"/>
                        </a:lnTo>
                        <a:lnTo>
                          <a:pt x="248" y="4775"/>
                        </a:lnTo>
                        <a:lnTo>
                          <a:pt x="258" y="4949"/>
                        </a:lnTo>
                        <a:lnTo>
                          <a:pt x="268" y="5120"/>
                        </a:lnTo>
                        <a:lnTo>
                          <a:pt x="280" y="5286"/>
                        </a:lnTo>
                        <a:lnTo>
                          <a:pt x="293" y="5448"/>
                        </a:lnTo>
                        <a:lnTo>
                          <a:pt x="306" y="5606"/>
                        </a:lnTo>
                        <a:lnTo>
                          <a:pt x="322" y="5760"/>
                        </a:lnTo>
                        <a:lnTo>
                          <a:pt x="338" y="5907"/>
                        </a:lnTo>
                        <a:lnTo>
                          <a:pt x="355" y="6050"/>
                        </a:lnTo>
                        <a:lnTo>
                          <a:pt x="375" y="6187"/>
                        </a:lnTo>
                        <a:lnTo>
                          <a:pt x="394" y="6319"/>
                        </a:lnTo>
                        <a:lnTo>
                          <a:pt x="414" y="6445"/>
                        </a:lnTo>
                        <a:lnTo>
                          <a:pt x="437" y="6564"/>
                        </a:lnTo>
                        <a:lnTo>
                          <a:pt x="459" y="6677"/>
                        </a:lnTo>
                        <a:lnTo>
                          <a:pt x="482" y="6784"/>
                        </a:lnTo>
                        <a:lnTo>
                          <a:pt x="506" y="6883"/>
                        </a:lnTo>
                        <a:lnTo>
                          <a:pt x="532" y="6975"/>
                        </a:lnTo>
                        <a:lnTo>
                          <a:pt x="545" y="7019"/>
                        </a:lnTo>
                        <a:lnTo>
                          <a:pt x="557" y="7061"/>
                        </a:lnTo>
                        <a:lnTo>
                          <a:pt x="571" y="7101"/>
                        </a:lnTo>
                        <a:lnTo>
                          <a:pt x="584" y="7139"/>
                        </a:lnTo>
                        <a:lnTo>
                          <a:pt x="598" y="7175"/>
                        </a:lnTo>
                        <a:lnTo>
                          <a:pt x="612" y="7209"/>
                        </a:lnTo>
                        <a:lnTo>
                          <a:pt x="625" y="7240"/>
                        </a:lnTo>
                        <a:lnTo>
                          <a:pt x="640" y="7270"/>
                        </a:lnTo>
                        <a:lnTo>
                          <a:pt x="654" y="7298"/>
                        </a:lnTo>
                        <a:lnTo>
                          <a:pt x="668" y="7323"/>
                        </a:lnTo>
                        <a:lnTo>
                          <a:pt x="683" y="7347"/>
                        </a:lnTo>
                        <a:lnTo>
                          <a:pt x="697" y="7368"/>
                        </a:lnTo>
                        <a:lnTo>
                          <a:pt x="712" y="7387"/>
                        </a:lnTo>
                        <a:lnTo>
                          <a:pt x="727" y="7404"/>
                        </a:lnTo>
                        <a:lnTo>
                          <a:pt x="742" y="7419"/>
                        </a:lnTo>
                        <a:lnTo>
                          <a:pt x="757" y="7431"/>
                        </a:lnTo>
                        <a:lnTo>
                          <a:pt x="772" y="7441"/>
                        </a:lnTo>
                        <a:lnTo>
                          <a:pt x="787" y="7449"/>
                        </a:lnTo>
                        <a:lnTo>
                          <a:pt x="803" y="7453"/>
                        </a:lnTo>
                        <a:lnTo>
                          <a:pt x="819" y="7457"/>
                        </a:lnTo>
                        <a:lnTo>
                          <a:pt x="819" y="7457"/>
                        </a:lnTo>
                        <a:lnTo>
                          <a:pt x="829" y="7457"/>
                        </a:lnTo>
                        <a:lnTo>
                          <a:pt x="829" y="7457"/>
                        </a:lnTo>
                        <a:lnTo>
                          <a:pt x="713" y="7401"/>
                        </a:lnTo>
                        <a:lnTo>
                          <a:pt x="633" y="7362"/>
                        </a:lnTo>
                        <a:lnTo>
                          <a:pt x="594" y="7344"/>
                        </a:lnTo>
                        <a:lnTo>
                          <a:pt x="594" y="7344"/>
                        </a:lnTo>
                        <a:lnTo>
                          <a:pt x="579" y="7335"/>
                        </a:lnTo>
                        <a:lnTo>
                          <a:pt x="564" y="7325"/>
                        </a:lnTo>
                        <a:lnTo>
                          <a:pt x="549" y="7313"/>
                        </a:lnTo>
                        <a:lnTo>
                          <a:pt x="534" y="7298"/>
                        </a:lnTo>
                        <a:lnTo>
                          <a:pt x="519" y="7282"/>
                        </a:lnTo>
                        <a:lnTo>
                          <a:pt x="504" y="7264"/>
                        </a:lnTo>
                        <a:lnTo>
                          <a:pt x="490" y="7245"/>
                        </a:lnTo>
                        <a:lnTo>
                          <a:pt x="475" y="7224"/>
                        </a:lnTo>
                        <a:lnTo>
                          <a:pt x="461" y="7199"/>
                        </a:lnTo>
                        <a:lnTo>
                          <a:pt x="446" y="7175"/>
                        </a:lnTo>
                        <a:lnTo>
                          <a:pt x="432" y="7148"/>
                        </a:lnTo>
                        <a:lnTo>
                          <a:pt x="418" y="7119"/>
                        </a:lnTo>
                        <a:lnTo>
                          <a:pt x="404" y="7089"/>
                        </a:lnTo>
                        <a:lnTo>
                          <a:pt x="390" y="7058"/>
                        </a:lnTo>
                        <a:lnTo>
                          <a:pt x="376" y="7024"/>
                        </a:lnTo>
                        <a:lnTo>
                          <a:pt x="363" y="6989"/>
                        </a:lnTo>
                        <a:lnTo>
                          <a:pt x="337" y="6914"/>
                        </a:lnTo>
                        <a:lnTo>
                          <a:pt x="311" y="6832"/>
                        </a:lnTo>
                        <a:lnTo>
                          <a:pt x="286" y="6744"/>
                        </a:lnTo>
                        <a:lnTo>
                          <a:pt x="261" y="6650"/>
                        </a:lnTo>
                        <a:lnTo>
                          <a:pt x="238" y="6550"/>
                        </a:lnTo>
                        <a:lnTo>
                          <a:pt x="215" y="6443"/>
                        </a:lnTo>
                        <a:lnTo>
                          <a:pt x="194" y="6332"/>
                        </a:lnTo>
                        <a:lnTo>
                          <a:pt x="173" y="6214"/>
                        </a:lnTo>
                        <a:lnTo>
                          <a:pt x="153" y="6090"/>
                        </a:lnTo>
                        <a:lnTo>
                          <a:pt x="133" y="5963"/>
                        </a:lnTo>
                        <a:lnTo>
                          <a:pt x="116" y="5828"/>
                        </a:lnTo>
                        <a:lnTo>
                          <a:pt x="100" y="5689"/>
                        </a:lnTo>
                        <a:lnTo>
                          <a:pt x="84" y="5545"/>
                        </a:lnTo>
                        <a:lnTo>
                          <a:pt x="70" y="5396"/>
                        </a:lnTo>
                        <a:lnTo>
                          <a:pt x="57" y="5243"/>
                        </a:lnTo>
                        <a:lnTo>
                          <a:pt x="45" y="5084"/>
                        </a:lnTo>
                        <a:lnTo>
                          <a:pt x="34" y="4921"/>
                        </a:lnTo>
                        <a:lnTo>
                          <a:pt x="25" y="4753"/>
                        </a:lnTo>
                        <a:lnTo>
                          <a:pt x="17" y="4582"/>
                        </a:lnTo>
                        <a:lnTo>
                          <a:pt x="10" y="4406"/>
                        </a:lnTo>
                        <a:lnTo>
                          <a:pt x="6" y="4226"/>
                        </a:lnTo>
                        <a:lnTo>
                          <a:pt x="2" y="4043"/>
                        </a:lnTo>
                        <a:lnTo>
                          <a:pt x="1" y="3854"/>
                        </a:lnTo>
                        <a:lnTo>
                          <a:pt x="0" y="3664"/>
                        </a:lnTo>
                        <a:lnTo>
                          <a:pt x="0" y="3664"/>
                        </a:lnTo>
                        <a:lnTo>
                          <a:pt x="1" y="3475"/>
                        </a:lnTo>
                        <a:lnTo>
                          <a:pt x="5" y="3289"/>
                        </a:lnTo>
                        <a:lnTo>
                          <a:pt x="9" y="3109"/>
                        </a:lnTo>
                        <a:lnTo>
                          <a:pt x="15" y="2933"/>
                        </a:lnTo>
                        <a:lnTo>
                          <a:pt x="22" y="2760"/>
                        </a:lnTo>
                        <a:lnTo>
                          <a:pt x="30" y="2592"/>
                        </a:lnTo>
                        <a:lnTo>
                          <a:pt x="39" y="2429"/>
                        </a:lnTo>
                        <a:lnTo>
                          <a:pt x="51" y="2271"/>
                        </a:lnTo>
                        <a:lnTo>
                          <a:pt x="64" y="2116"/>
                        </a:lnTo>
                        <a:lnTo>
                          <a:pt x="77" y="1968"/>
                        </a:lnTo>
                        <a:lnTo>
                          <a:pt x="92" y="1824"/>
                        </a:lnTo>
                        <a:lnTo>
                          <a:pt x="108" y="1685"/>
                        </a:lnTo>
                        <a:lnTo>
                          <a:pt x="124" y="1551"/>
                        </a:lnTo>
                        <a:lnTo>
                          <a:pt x="143" y="1422"/>
                        </a:lnTo>
                        <a:lnTo>
                          <a:pt x="161" y="1299"/>
                        </a:lnTo>
                        <a:lnTo>
                          <a:pt x="182" y="1181"/>
                        </a:lnTo>
                        <a:lnTo>
                          <a:pt x="203" y="1068"/>
                        </a:lnTo>
                        <a:lnTo>
                          <a:pt x="225" y="961"/>
                        </a:lnTo>
                        <a:lnTo>
                          <a:pt x="247" y="860"/>
                        </a:lnTo>
                        <a:lnTo>
                          <a:pt x="270" y="765"/>
                        </a:lnTo>
                        <a:lnTo>
                          <a:pt x="295" y="676"/>
                        </a:lnTo>
                        <a:lnTo>
                          <a:pt x="320" y="593"/>
                        </a:lnTo>
                        <a:lnTo>
                          <a:pt x="346" y="515"/>
                        </a:lnTo>
                        <a:lnTo>
                          <a:pt x="360" y="479"/>
                        </a:lnTo>
                        <a:lnTo>
                          <a:pt x="373" y="445"/>
                        </a:lnTo>
                        <a:lnTo>
                          <a:pt x="387" y="411"/>
                        </a:lnTo>
                        <a:lnTo>
                          <a:pt x="401" y="380"/>
                        </a:lnTo>
                        <a:lnTo>
                          <a:pt x="413" y="351"/>
                        </a:lnTo>
                        <a:lnTo>
                          <a:pt x="427" y="322"/>
                        </a:lnTo>
                        <a:lnTo>
                          <a:pt x="442" y="295"/>
                        </a:lnTo>
                        <a:lnTo>
                          <a:pt x="456" y="271"/>
                        </a:lnTo>
                        <a:lnTo>
                          <a:pt x="470" y="246"/>
                        </a:lnTo>
                        <a:lnTo>
                          <a:pt x="485" y="225"/>
                        </a:lnTo>
                        <a:lnTo>
                          <a:pt x="499" y="204"/>
                        </a:lnTo>
                        <a:lnTo>
                          <a:pt x="514" y="187"/>
                        </a:lnTo>
                        <a:lnTo>
                          <a:pt x="529" y="170"/>
                        </a:lnTo>
                        <a:lnTo>
                          <a:pt x="545" y="154"/>
                        </a:lnTo>
                        <a:lnTo>
                          <a:pt x="560" y="142"/>
                        </a:lnTo>
                        <a:lnTo>
                          <a:pt x="575" y="130"/>
                        </a:lnTo>
                        <a:lnTo>
                          <a:pt x="590" y="121"/>
                        </a:lnTo>
                        <a:lnTo>
                          <a:pt x="605" y="113"/>
                        </a:lnTo>
                        <a:lnTo>
                          <a:pt x="605" y="113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50000"/>
                        </a:schemeClr>
                      </a:gs>
                      <a:gs pos="25000">
                        <a:schemeClr val="accent6">
                          <a:lumMod val="40000"/>
                          <a:lumOff val="60000"/>
                        </a:schemeClr>
                      </a:gs>
                      <a:gs pos="55000">
                        <a:schemeClr val="accent6">
                          <a:lumMod val="75000"/>
                        </a:schemeClr>
                      </a:gs>
                      <a:gs pos="78000">
                        <a:schemeClr val="accent6">
                          <a:lumMod val="60000"/>
                          <a:lumOff val="4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2" name="Freeform 15">
                    <a:extLst>
                      <a:ext uri="{FF2B5EF4-FFF2-40B4-BE49-F238E27FC236}">
                        <a16:creationId xmlns:a16="http://schemas.microsoft.com/office/drawing/2014/main" xmlns="" id="{0CC35C61-A637-A544-98AA-F8ED2CB772C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8815389" y="0"/>
                    <a:ext cx="960438" cy="5918200"/>
                  </a:xfrm>
                  <a:custGeom>
                    <a:avLst/>
                    <a:gdLst/>
                    <a:ahLst/>
                    <a:cxnLst>
                      <a:cxn ang="0">
                        <a:pos x="677" y="27"/>
                      </a:cxn>
                      <a:cxn ang="0">
                        <a:pos x="766" y="134"/>
                      </a:cxn>
                      <a:cxn ang="0">
                        <a:pos x="850" y="319"/>
                      </a:cxn>
                      <a:cxn ang="0">
                        <a:pos x="952" y="673"/>
                      </a:cxn>
                      <a:cxn ang="0">
                        <a:pos x="1079" y="1407"/>
                      </a:cxn>
                      <a:cxn ang="0">
                        <a:pos x="1167" y="2337"/>
                      </a:cxn>
                      <a:cxn ang="0">
                        <a:pos x="1208" y="3412"/>
                      </a:cxn>
                      <a:cxn ang="0">
                        <a:pos x="1202" y="4361"/>
                      </a:cxn>
                      <a:cxn ang="0">
                        <a:pos x="1146" y="5403"/>
                      </a:cxn>
                      <a:cxn ang="0">
                        <a:pos x="1046" y="6283"/>
                      </a:cxn>
                      <a:cxn ang="0">
                        <a:pos x="909" y="6951"/>
                      </a:cxn>
                      <a:cxn ang="0">
                        <a:pos x="830" y="7189"/>
                      </a:cxn>
                      <a:cxn ang="0">
                        <a:pos x="746" y="7356"/>
                      </a:cxn>
                      <a:cxn ang="0">
                        <a:pos x="656" y="7444"/>
                      </a:cxn>
                      <a:cxn ang="0">
                        <a:pos x="579" y="7453"/>
                      </a:cxn>
                      <a:cxn ang="0">
                        <a:pos x="488" y="7387"/>
                      </a:cxn>
                      <a:cxn ang="0">
                        <a:pos x="401" y="7240"/>
                      </a:cxn>
                      <a:cxn ang="0">
                        <a:pos x="321" y="7019"/>
                      </a:cxn>
                      <a:cxn ang="0">
                        <a:pos x="190" y="6445"/>
                      </a:cxn>
                      <a:cxn ang="0">
                        <a:pos x="82" y="5606"/>
                      </a:cxn>
                      <a:cxn ang="0">
                        <a:pos x="16" y="4597"/>
                      </a:cxn>
                      <a:cxn ang="0">
                        <a:pos x="0" y="3664"/>
                      </a:cxn>
                      <a:cxn ang="0">
                        <a:pos x="30" y="2558"/>
                      </a:cxn>
                      <a:cxn ang="0">
                        <a:pos x="109" y="1591"/>
                      </a:cxn>
                      <a:cxn ang="0">
                        <a:pos x="229" y="810"/>
                      </a:cxn>
                      <a:cxn ang="0">
                        <a:pos x="339" y="378"/>
                      </a:cxn>
                      <a:cxn ang="0">
                        <a:pos x="422" y="175"/>
                      </a:cxn>
                      <a:cxn ang="0">
                        <a:pos x="509" y="48"/>
                      </a:cxn>
                      <a:cxn ang="0">
                        <a:pos x="600" y="0"/>
                      </a:cxn>
                      <a:cxn ang="0">
                        <a:pos x="585" y="94"/>
                      </a:cxn>
                      <a:cxn ang="0">
                        <a:pos x="496" y="154"/>
                      </a:cxn>
                      <a:cxn ang="0">
                        <a:pos x="412" y="291"/>
                      </a:cxn>
                      <a:cxn ang="0">
                        <a:pos x="333" y="502"/>
                      </a:cxn>
                      <a:cxn ang="0">
                        <a:pos x="195" y="1113"/>
                      </a:cxn>
                      <a:cxn ang="0">
                        <a:pos x="92" y="1940"/>
                      </a:cxn>
                      <a:cxn ang="0">
                        <a:pos x="29" y="2934"/>
                      </a:cxn>
                      <a:cxn ang="0">
                        <a:pos x="15" y="3852"/>
                      </a:cxn>
                      <a:cxn ang="0">
                        <a:pos x="48" y="4919"/>
                      </a:cxn>
                      <a:cxn ang="0">
                        <a:pos x="127" y="5852"/>
                      </a:cxn>
                      <a:cxn ang="0">
                        <a:pos x="244" y="6604"/>
                      </a:cxn>
                      <a:cxn ang="0">
                        <a:pos x="353" y="7017"/>
                      </a:cxn>
                      <a:cxn ang="0">
                        <a:pos x="434" y="7209"/>
                      </a:cxn>
                      <a:cxn ang="0">
                        <a:pos x="520" y="7327"/>
                      </a:cxn>
                      <a:cxn ang="0">
                        <a:pos x="595" y="7364"/>
                      </a:cxn>
                      <a:cxn ang="0">
                        <a:pos x="685" y="7332"/>
                      </a:cxn>
                      <a:cxn ang="0">
                        <a:pos x="771" y="7220"/>
                      </a:cxn>
                      <a:cxn ang="0">
                        <a:pos x="851" y="7033"/>
                      </a:cxn>
                      <a:cxn ang="0">
                        <a:pos x="972" y="6575"/>
                      </a:cxn>
                      <a:cxn ang="0">
                        <a:pos x="1088" y="5814"/>
                      </a:cxn>
                      <a:cxn ang="0">
                        <a:pos x="1166" y="4870"/>
                      </a:cxn>
                      <a:cxn ang="0">
                        <a:pos x="1195" y="3792"/>
                      </a:cxn>
                      <a:cxn ang="0">
                        <a:pos x="1179" y="2882"/>
                      </a:cxn>
                      <a:cxn ang="0">
                        <a:pos x="1115" y="1897"/>
                      </a:cxn>
                      <a:cxn ang="0">
                        <a:pos x="1009" y="1080"/>
                      </a:cxn>
                      <a:cxn ang="0">
                        <a:pos x="883" y="519"/>
                      </a:cxn>
                      <a:cxn ang="0">
                        <a:pos x="804" y="304"/>
                      </a:cxn>
                      <a:cxn ang="0">
                        <a:pos x="720" y="161"/>
                      </a:cxn>
                      <a:cxn ang="0">
                        <a:pos x="631" y="95"/>
                      </a:cxn>
                    </a:cxnLst>
                    <a:rect l="0" t="0" r="r" b="b"/>
                    <a:pathLst>
                      <a:path w="1210" h="7457">
                        <a:moveTo>
                          <a:pt x="615" y="0"/>
                        </a:moveTo>
                        <a:lnTo>
                          <a:pt x="615" y="0"/>
                        </a:lnTo>
                        <a:lnTo>
                          <a:pt x="632" y="3"/>
                        </a:lnTo>
                        <a:lnTo>
                          <a:pt x="647" y="8"/>
                        </a:lnTo>
                        <a:lnTo>
                          <a:pt x="662" y="16"/>
                        </a:lnTo>
                        <a:lnTo>
                          <a:pt x="677" y="27"/>
                        </a:lnTo>
                        <a:lnTo>
                          <a:pt x="693" y="38"/>
                        </a:lnTo>
                        <a:lnTo>
                          <a:pt x="707" y="53"/>
                        </a:lnTo>
                        <a:lnTo>
                          <a:pt x="722" y="70"/>
                        </a:lnTo>
                        <a:lnTo>
                          <a:pt x="737" y="89"/>
                        </a:lnTo>
                        <a:lnTo>
                          <a:pt x="752" y="110"/>
                        </a:lnTo>
                        <a:lnTo>
                          <a:pt x="766" y="134"/>
                        </a:lnTo>
                        <a:lnTo>
                          <a:pt x="782" y="160"/>
                        </a:lnTo>
                        <a:lnTo>
                          <a:pt x="795" y="187"/>
                        </a:lnTo>
                        <a:lnTo>
                          <a:pt x="809" y="217"/>
                        </a:lnTo>
                        <a:lnTo>
                          <a:pt x="823" y="248"/>
                        </a:lnTo>
                        <a:lnTo>
                          <a:pt x="837" y="283"/>
                        </a:lnTo>
                        <a:lnTo>
                          <a:pt x="850" y="319"/>
                        </a:lnTo>
                        <a:lnTo>
                          <a:pt x="864" y="356"/>
                        </a:lnTo>
                        <a:lnTo>
                          <a:pt x="877" y="396"/>
                        </a:lnTo>
                        <a:lnTo>
                          <a:pt x="890" y="438"/>
                        </a:lnTo>
                        <a:lnTo>
                          <a:pt x="902" y="482"/>
                        </a:lnTo>
                        <a:lnTo>
                          <a:pt x="928" y="574"/>
                        </a:lnTo>
                        <a:lnTo>
                          <a:pt x="952" y="673"/>
                        </a:lnTo>
                        <a:lnTo>
                          <a:pt x="975" y="780"/>
                        </a:lnTo>
                        <a:lnTo>
                          <a:pt x="997" y="893"/>
                        </a:lnTo>
                        <a:lnTo>
                          <a:pt x="1020" y="1012"/>
                        </a:lnTo>
                        <a:lnTo>
                          <a:pt x="1040" y="1139"/>
                        </a:lnTo>
                        <a:lnTo>
                          <a:pt x="1060" y="1270"/>
                        </a:lnTo>
                        <a:lnTo>
                          <a:pt x="1079" y="1407"/>
                        </a:lnTo>
                        <a:lnTo>
                          <a:pt x="1096" y="1550"/>
                        </a:lnTo>
                        <a:lnTo>
                          <a:pt x="1112" y="1699"/>
                        </a:lnTo>
                        <a:lnTo>
                          <a:pt x="1128" y="1851"/>
                        </a:lnTo>
                        <a:lnTo>
                          <a:pt x="1141" y="2008"/>
                        </a:lnTo>
                        <a:lnTo>
                          <a:pt x="1155" y="2171"/>
                        </a:lnTo>
                        <a:lnTo>
                          <a:pt x="1167" y="2337"/>
                        </a:lnTo>
                        <a:lnTo>
                          <a:pt x="1177" y="2508"/>
                        </a:lnTo>
                        <a:lnTo>
                          <a:pt x="1186" y="2682"/>
                        </a:lnTo>
                        <a:lnTo>
                          <a:pt x="1194" y="2859"/>
                        </a:lnTo>
                        <a:lnTo>
                          <a:pt x="1200" y="3041"/>
                        </a:lnTo>
                        <a:lnTo>
                          <a:pt x="1204" y="3225"/>
                        </a:lnTo>
                        <a:lnTo>
                          <a:pt x="1208" y="3412"/>
                        </a:lnTo>
                        <a:lnTo>
                          <a:pt x="1210" y="3601"/>
                        </a:lnTo>
                        <a:lnTo>
                          <a:pt x="1210" y="3794"/>
                        </a:lnTo>
                        <a:lnTo>
                          <a:pt x="1210" y="3794"/>
                        </a:lnTo>
                        <a:lnTo>
                          <a:pt x="1209" y="3986"/>
                        </a:lnTo>
                        <a:lnTo>
                          <a:pt x="1205" y="4175"/>
                        </a:lnTo>
                        <a:lnTo>
                          <a:pt x="1202" y="4361"/>
                        </a:lnTo>
                        <a:lnTo>
                          <a:pt x="1196" y="4544"/>
                        </a:lnTo>
                        <a:lnTo>
                          <a:pt x="1188" y="4723"/>
                        </a:lnTo>
                        <a:lnTo>
                          <a:pt x="1180" y="4899"/>
                        </a:lnTo>
                        <a:lnTo>
                          <a:pt x="1169" y="5071"/>
                        </a:lnTo>
                        <a:lnTo>
                          <a:pt x="1159" y="5239"/>
                        </a:lnTo>
                        <a:lnTo>
                          <a:pt x="1146" y="5403"/>
                        </a:lnTo>
                        <a:lnTo>
                          <a:pt x="1132" y="5563"/>
                        </a:lnTo>
                        <a:lnTo>
                          <a:pt x="1117" y="5718"/>
                        </a:lnTo>
                        <a:lnTo>
                          <a:pt x="1101" y="5866"/>
                        </a:lnTo>
                        <a:lnTo>
                          <a:pt x="1083" y="6012"/>
                        </a:lnTo>
                        <a:lnTo>
                          <a:pt x="1065" y="6150"/>
                        </a:lnTo>
                        <a:lnTo>
                          <a:pt x="1046" y="6283"/>
                        </a:lnTo>
                        <a:lnTo>
                          <a:pt x="1025" y="6411"/>
                        </a:lnTo>
                        <a:lnTo>
                          <a:pt x="1004" y="6532"/>
                        </a:lnTo>
                        <a:lnTo>
                          <a:pt x="981" y="6647"/>
                        </a:lnTo>
                        <a:lnTo>
                          <a:pt x="958" y="6755"/>
                        </a:lnTo>
                        <a:lnTo>
                          <a:pt x="935" y="6857"/>
                        </a:lnTo>
                        <a:lnTo>
                          <a:pt x="909" y="6951"/>
                        </a:lnTo>
                        <a:lnTo>
                          <a:pt x="898" y="6995"/>
                        </a:lnTo>
                        <a:lnTo>
                          <a:pt x="884" y="7038"/>
                        </a:lnTo>
                        <a:lnTo>
                          <a:pt x="871" y="7078"/>
                        </a:lnTo>
                        <a:lnTo>
                          <a:pt x="858" y="7117"/>
                        </a:lnTo>
                        <a:lnTo>
                          <a:pt x="844" y="7154"/>
                        </a:lnTo>
                        <a:lnTo>
                          <a:pt x="830" y="7189"/>
                        </a:lnTo>
                        <a:lnTo>
                          <a:pt x="818" y="7222"/>
                        </a:lnTo>
                        <a:lnTo>
                          <a:pt x="804" y="7253"/>
                        </a:lnTo>
                        <a:lnTo>
                          <a:pt x="790" y="7282"/>
                        </a:lnTo>
                        <a:lnTo>
                          <a:pt x="775" y="7308"/>
                        </a:lnTo>
                        <a:lnTo>
                          <a:pt x="761" y="7333"/>
                        </a:lnTo>
                        <a:lnTo>
                          <a:pt x="746" y="7356"/>
                        </a:lnTo>
                        <a:lnTo>
                          <a:pt x="732" y="7376"/>
                        </a:lnTo>
                        <a:lnTo>
                          <a:pt x="716" y="7394"/>
                        </a:lnTo>
                        <a:lnTo>
                          <a:pt x="701" y="7411"/>
                        </a:lnTo>
                        <a:lnTo>
                          <a:pt x="686" y="7423"/>
                        </a:lnTo>
                        <a:lnTo>
                          <a:pt x="671" y="7435"/>
                        </a:lnTo>
                        <a:lnTo>
                          <a:pt x="656" y="7444"/>
                        </a:lnTo>
                        <a:lnTo>
                          <a:pt x="641" y="7451"/>
                        </a:lnTo>
                        <a:lnTo>
                          <a:pt x="626" y="7456"/>
                        </a:lnTo>
                        <a:lnTo>
                          <a:pt x="610" y="7457"/>
                        </a:lnTo>
                        <a:lnTo>
                          <a:pt x="595" y="7457"/>
                        </a:lnTo>
                        <a:lnTo>
                          <a:pt x="595" y="7457"/>
                        </a:lnTo>
                        <a:lnTo>
                          <a:pt x="579" y="7453"/>
                        </a:lnTo>
                        <a:lnTo>
                          <a:pt x="563" y="7449"/>
                        </a:lnTo>
                        <a:lnTo>
                          <a:pt x="548" y="7441"/>
                        </a:lnTo>
                        <a:lnTo>
                          <a:pt x="533" y="7431"/>
                        </a:lnTo>
                        <a:lnTo>
                          <a:pt x="518" y="7419"/>
                        </a:lnTo>
                        <a:lnTo>
                          <a:pt x="503" y="7404"/>
                        </a:lnTo>
                        <a:lnTo>
                          <a:pt x="488" y="7387"/>
                        </a:lnTo>
                        <a:lnTo>
                          <a:pt x="473" y="7368"/>
                        </a:lnTo>
                        <a:lnTo>
                          <a:pt x="459" y="7347"/>
                        </a:lnTo>
                        <a:lnTo>
                          <a:pt x="444" y="7323"/>
                        </a:lnTo>
                        <a:lnTo>
                          <a:pt x="430" y="7298"/>
                        </a:lnTo>
                        <a:lnTo>
                          <a:pt x="416" y="7270"/>
                        </a:lnTo>
                        <a:lnTo>
                          <a:pt x="401" y="7240"/>
                        </a:lnTo>
                        <a:lnTo>
                          <a:pt x="388" y="7209"/>
                        </a:lnTo>
                        <a:lnTo>
                          <a:pt x="374" y="7175"/>
                        </a:lnTo>
                        <a:lnTo>
                          <a:pt x="360" y="7139"/>
                        </a:lnTo>
                        <a:lnTo>
                          <a:pt x="347" y="7101"/>
                        </a:lnTo>
                        <a:lnTo>
                          <a:pt x="333" y="7061"/>
                        </a:lnTo>
                        <a:lnTo>
                          <a:pt x="321" y="7019"/>
                        </a:lnTo>
                        <a:lnTo>
                          <a:pt x="308" y="6975"/>
                        </a:lnTo>
                        <a:lnTo>
                          <a:pt x="282" y="6883"/>
                        </a:lnTo>
                        <a:lnTo>
                          <a:pt x="258" y="6784"/>
                        </a:lnTo>
                        <a:lnTo>
                          <a:pt x="235" y="6677"/>
                        </a:lnTo>
                        <a:lnTo>
                          <a:pt x="213" y="6564"/>
                        </a:lnTo>
                        <a:lnTo>
                          <a:pt x="190" y="6445"/>
                        </a:lnTo>
                        <a:lnTo>
                          <a:pt x="170" y="6319"/>
                        </a:lnTo>
                        <a:lnTo>
                          <a:pt x="151" y="6187"/>
                        </a:lnTo>
                        <a:lnTo>
                          <a:pt x="131" y="6050"/>
                        </a:lnTo>
                        <a:lnTo>
                          <a:pt x="114" y="5907"/>
                        </a:lnTo>
                        <a:lnTo>
                          <a:pt x="98" y="5760"/>
                        </a:lnTo>
                        <a:lnTo>
                          <a:pt x="82" y="5606"/>
                        </a:lnTo>
                        <a:lnTo>
                          <a:pt x="69" y="5448"/>
                        </a:lnTo>
                        <a:lnTo>
                          <a:pt x="56" y="5286"/>
                        </a:lnTo>
                        <a:lnTo>
                          <a:pt x="44" y="5120"/>
                        </a:lnTo>
                        <a:lnTo>
                          <a:pt x="34" y="4949"/>
                        </a:lnTo>
                        <a:lnTo>
                          <a:pt x="24" y="4775"/>
                        </a:lnTo>
                        <a:lnTo>
                          <a:pt x="16" y="4597"/>
                        </a:lnTo>
                        <a:lnTo>
                          <a:pt x="10" y="4416"/>
                        </a:lnTo>
                        <a:lnTo>
                          <a:pt x="6" y="4232"/>
                        </a:lnTo>
                        <a:lnTo>
                          <a:pt x="2" y="4045"/>
                        </a:lnTo>
                        <a:lnTo>
                          <a:pt x="1" y="3856"/>
                        </a:lnTo>
                        <a:lnTo>
                          <a:pt x="0" y="3664"/>
                        </a:lnTo>
                        <a:lnTo>
                          <a:pt x="0" y="3664"/>
                        </a:lnTo>
                        <a:lnTo>
                          <a:pt x="1" y="3471"/>
                        </a:lnTo>
                        <a:lnTo>
                          <a:pt x="5" y="3282"/>
                        </a:lnTo>
                        <a:lnTo>
                          <a:pt x="9" y="3096"/>
                        </a:lnTo>
                        <a:lnTo>
                          <a:pt x="15" y="2913"/>
                        </a:lnTo>
                        <a:lnTo>
                          <a:pt x="22" y="2734"/>
                        </a:lnTo>
                        <a:lnTo>
                          <a:pt x="30" y="2558"/>
                        </a:lnTo>
                        <a:lnTo>
                          <a:pt x="41" y="2386"/>
                        </a:lnTo>
                        <a:lnTo>
                          <a:pt x="52" y="2217"/>
                        </a:lnTo>
                        <a:lnTo>
                          <a:pt x="65" y="2054"/>
                        </a:lnTo>
                        <a:lnTo>
                          <a:pt x="79" y="1895"/>
                        </a:lnTo>
                        <a:lnTo>
                          <a:pt x="93" y="1740"/>
                        </a:lnTo>
                        <a:lnTo>
                          <a:pt x="109" y="1591"/>
                        </a:lnTo>
                        <a:lnTo>
                          <a:pt x="127" y="1445"/>
                        </a:lnTo>
                        <a:lnTo>
                          <a:pt x="145" y="1307"/>
                        </a:lnTo>
                        <a:lnTo>
                          <a:pt x="165" y="1174"/>
                        </a:lnTo>
                        <a:lnTo>
                          <a:pt x="185" y="1046"/>
                        </a:lnTo>
                        <a:lnTo>
                          <a:pt x="207" y="925"/>
                        </a:lnTo>
                        <a:lnTo>
                          <a:pt x="229" y="810"/>
                        </a:lnTo>
                        <a:lnTo>
                          <a:pt x="252" y="702"/>
                        </a:lnTo>
                        <a:lnTo>
                          <a:pt x="275" y="600"/>
                        </a:lnTo>
                        <a:lnTo>
                          <a:pt x="301" y="506"/>
                        </a:lnTo>
                        <a:lnTo>
                          <a:pt x="314" y="462"/>
                        </a:lnTo>
                        <a:lnTo>
                          <a:pt x="326" y="419"/>
                        </a:lnTo>
                        <a:lnTo>
                          <a:pt x="339" y="378"/>
                        </a:lnTo>
                        <a:lnTo>
                          <a:pt x="353" y="340"/>
                        </a:lnTo>
                        <a:lnTo>
                          <a:pt x="366" y="303"/>
                        </a:lnTo>
                        <a:lnTo>
                          <a:pt x="380" y="268"/>
                        </a:lnTo>
                        <a:lnTo>
                          <a:pt x="394" y="236"/>
                        </a:lnTo>
                        <a:lnTo>
                          <a:pt x="408" y="204"/>
                        </a:lnTo>
                        <a:lnTo>
                          <a:pt x="422" y="175"/>
                        </a:lnTo>
                        <a:lnTo>
                          <a:pt x="435" y="149"/>
                        </a:lnTo>
                        <a:lnTo>
                          <a:pt x="449" y="124"/>
                        </a:lnTo>
                        <a:lnTo>
                          <a:pt x="465" y="101"/>
                        </a:lnTo>
                        <a:lnTo>
                          <a:pt x="478" y="81"/>
                        </a:lnTo>
                        <a:lnTo>
                          <a:pt x="494" y="63"/>
                        </a:lnTo>
                        <a:lnTo>
                          <a:pt x="509" y="48"/>
                        </a:lnTo>
                        <a:lnTo>
                          <a:pt x="524" y="34"/>
                        </a:lnTo>
                        <a:lnTo>
                          <a:pt x="539" y="22"/>
                        </a:lnTo>
                        <a:lnTo>
                          <a:pt x="554" y="13"/>
                        </a:lnTo>
                        <a:lnTo>
                          <a:pt x="569" y="6"/>
                        </a:lnTo>
                        <a:lnTo>
                          <a:pt x="584" y="2"/>
                        </a:lnTo>
                        <a:lnTo>
                          <a:pt x="600" y="0"/>
                        </a:lnTo>
                        <a:lnTo>
                          <a:pt x="615" y="0"/>
                        </a:lnTo>
                        <a:lnTo>
                          <a:pt x="615" y="0"/>
                        </a:lnTo>
                        <a:close/>
                        <a:moveTo>
                          <a:pt x="615" y="93"/>
                        </a:moveTo>
                        <a:lnTo>
                          <a:pt x="615" y="93"/>
                        </a:lnTo>
                        <a:lnTo>
                          <a:pt x="600" y="93"/>
                        </a:lnTo>
                        <a:lnTo>
                          <a:pt x="585" y="94"/>
                        </a:lnTo>
                        <a:lnTo>
                          <a:pt x="570" y="99"/>
                        </a:lnTo>
                        <a:lnTo>
                          <a:pt x="555" y="106"/>
                        </a:lnTo>
                        <a:lnTo>
                          <a:pt x="540" y="114"/>
                        </a:lnTo>
                        <a:lnTo>
                          <a:pt x="526" y="125"/>
                        </a:lnTo>
                        <a:lnTo>
                          <a:pt x="511" y="138"/>
                        </a:lnTo>
                        <a:lnTo>
                          <a:pt x="496" y="154"/>
                        </a:lnTo>
                        <a:lnTo>
                          <a:pt x="482" y="172"/>
                        </a:lnTo>
                        <a:lnTo>
                          <a:pt x="468" y="192"/>
                        </a:lnTo>
                        <a:lnTo>
                          <a:pt x="454" y="214"/>
                        </a:lnTo>
                        <a:lnTo>
                          <a:pt x="440" y="238"/>
                        </a:lnTo>
                        <a:lnTo>
                          <a:pt x="426" y="264"/>
                        </a:lnTo>
                        <a:lnTo>
                          <a:pt x="412" y="291"/>
                        </a:lnTo>
                        <a:lnTo>
                          <a:pt x="398" y="322"/>
                        </a:lnTo>
                        <a:lnTo>
                          <a:pt x="386" y="354"/>
                        </a:lnTo>
                        <a:lnTo>
                          <a:pt x="372" y="388"/>
                        </a:lnTo>
                        <a:lnTo>
                          <a:pt x="359" y="424"/>
                        </a:lnTo>
                        <a:lnTo>
                          <a:pt x="346" y="462"/>
                        </a:lnTo>
                        <a:lnTo>
                          <a:pt x="333" y="502"/>
                        </a:lnTo>
                        <a:lnTo>
                          <a:pt x="308" y="586"/>
                        </a:lnTo>
                        <a:lnTo>
                          <a:pt x="285" y="678"/>
                        </a:lnTo>
                        <a:lnTo>
                          <a:pt x="260" y="777"/>
                        </a:lnTo>
                        <a:lnTo>
                          <a:pt x="238" y="882"/>
                        </a:lnTo>
                        <a:lnTo>
                          <a:pt x="216" y="995"/>
                        </a:lnTo>
                        <a:lnTo>
                          <a:pt x="195" y="1113"/>
                        </a:lnTo>
                        <a:lnTo>
                          <a:pt x="175" y="1236"/>
                        </a:lnTo>
                        <a:lnTo>
                          <a:pt x="157" y="1366"/>
                        </a:lnTo>
                        <a:lnTo>
                          <a:pt x="138" y="1502"/>
                        </a:lnTo>
                        <a:lnTo>
                          <a:pt x="122" y="1643"/>
                        </a:lnTo>
                        <a:lnTo>
                          <a:pt x="106" y="1789"/>
                        </a:lnTo>
                        <a:lnTo>
                          <a:pt x="92" y="1940"/>
                        </a:lnTo>
                        <a:lnTo>
                          <a:pt x="78" y="2096"/>
                        </a:lnTo>
                        <a:lnTo>
                          <a:pt x="66" y="2255"/>
                        </a:lnTo>
                        <a:lnTo>
                          <a:pt x="55" y="2418"/>
                        </a:lnTo>
                        <a:lnTo>
                          <a:pt x="45" y="2587"/>
                        </a:lnTo>
                        <a:lnTo>
                          <a:pt x="36" y="2758"/>
                        </a:lnTo>
                        <a:lnTo>
                          <a:pt x="29" y="2934"/>
                        </a:lnTo>
                        <a:lnTo>
                          <a:pt x="23" y="3113"/>
                        </a:lnTo>
                        <a:lnTo>
                          <a:pt x="20" y="3294"/>
                        </a:lnTo>
                        <a:lnTo>
                          <a:pt x="16" y="3478"/>
                        </a:lnTo>
                        <a:lnTo>
                          <a:pt x="15" y="3665"/>
                        </a:lnTo>
                        <a:lnTo>
                          <a:pt x="15" y="3665"/>
                        </a:lnTo>
                        <a:lnTo>
                          <a:pt x="15" y="3852"/>
                        </a:lnTo>
                        <a:lnTo>
                          <a:pt x="17" y="4037"/>
                        </a:lnTo>
                        <a:lnTo>
                          <a:pt x="21" y="4219"/>
                        </a:lnTo>
                        <a:lnTo>
                          <a:pt x="26" y="4399"/>
                        </a:lnTo>
                        <a:lnTo>
                          <a:pt x="31" y="4575"/>
                        </a:lnTo>
                        <a:lnTo>
                          <a:pt x="38" y="4750"/>
                        </a:lnTo>
                        <a:lnTo>
                          <a:pt x="48" y="4919"/>
                        </a:lnTo>
                        <a:lnTo>
                          <a:pt x="58" y="5085"/>
                        </a:lnTo>
                        <a:lnTo>
                          <a:pt x="69" y="5248"/>
                        </a:lnTo>
                        <a:lnTo>
                          <a:pt x="81" y="5406"/>
                        </a:lnTo>
                        <a:lnTo>
                          <a:pt x="95" y="5560"/>
                        </a:lnTo>
                        <a:lnTo>
                          <a:pt x="110" y="5709"/>
                        </a:lnTo>
                        <a:lnTo>
                          <a:pt x="127" y="5852"/>
                        </a:lnTo>
                        <a:lnTo>
                          <a:pt x="144" y="5992"/>
                        </a:lnTo>
                        <a:lnTo>
                          <a:pt x="161" y="6126"/>
                        </a:lnTo>
                        <a:lnTo>
                          <a:pt x="181" y="6254"/>
                        </a:lnTo>
                        <a:lnTo>
                          <a:pt x="201" y="6377"/>
                        </a:lnTo>
                        <a:lnTo>
                          <a:pt x="222" y="6493"/>
                        </a:lnTo>
                        <a:lnTo>
                          <a:pt x="244" y="6604"/>
                        </a:lnTo>
                        <a:lnTo>
                          <a:pt x="267" y="6708"/>
                        </a:lnTo>
                        <a:lnTo>
                          <a:pt x="290" y="6804"/>
                        </a:lnTo>
                        <a:lnTo>
                          <a:pt x="315" y="6895"/>
                        </a:lnTo>
                        <a:lnTo>
                          <a:pt x="327" y="6938"/>
                        </a:lnTo>
                        <a:lnTo>
                          <a:pt x="340" y="6979"/>
                        </a:lnTo>
                        <a:lnTo>
                          <a:pt x="353" y="7017"/>
                        </a:lnTo>
                        <a:lnTo>
                          <a:pt x="366" y="7054"/>
                        </a:lnTo>
                        <a:lnTo>
                          <a:pt x="380" y="7089"/>
                        </a:lnTo>
                        <a:lnTo>
                          <a:pt x="393" y="7121"/>
                        </a:lnTo>
                        <a:lnTo>
                          <a:pt x="406" y="7153"/>
                        </a:lnTo>
                        <a:lnTo>
                          <a:pt x="420" y="7182"/>
                        </a:lnTo>
                        <a:lnTo>
                          <a:pt x="434" y="7209"/>
                        </a:lnTo>
                        <a:lnTo>
                          <a:pt x="448" y="7234"/>
                        </a:lnTo>
                        <a:lnTo>
                          <a:pt x="462" y="7257"/>
                        </a:lnTo>
                        <a:lnTo>
                          <a:pt x="476" y="7278"/>
                        </a:lnTo>
                        <a:lnTo>
                          <a:pt x="491" y="7297"/>
                        </a:lnTo>
                        <a:lnTo>
                          <a:pt x="505" y="7313"/>
                        </a:lnTo>
                        <a:lnTo>
                          <a:pt x="520" y="7327"/>
                        </a:lnTo>
                        <a:lnTo>
                          <a:pt x="534" y="7339"/>
                        </a:lnTo>
                        <a:lnTo>
                          <a:pt x="549" y="7349"/>
                        </a:lnTo>
                        <a:lnTo>
                          <a:pt x="564" y="7356"/>
                        </a:lnTo>
                        <a:lnTo>
                          <a:pt x="579" y="7362"/>
                        </a:lnTo>
                        <a:lnTo>
                          <a:pt x="595" y="7364"/>
                        </a:lnTo>
                        <a:lnTo>
                          <a:pt x="595" y="7364"/>
                        </a:lnTo>
                        <a:lnTo>
                          <a:pt x="610" y="7365"/>
                        </a:lnTo>
                        <a:lnTo>
                          <a:pt x="625" y="7363"/>
                        </a:lnTo>
                        <a:lnTo>
                          <a:pt x="640" y="7358"/>
                        </a:lnTo>
                        <a:lnTo>
                          <a:pt x="655" y="7352"/>
                        </a:lnTo>
                        <a:lnTo>
                          <a:pt x="670" y="7343"/>
                        </a:lnTo>
                        <a:lnTo>
                          <a:pt x="685" y="7332"/>
                        </a:lnTo>
                        <a:lnTo>
                          <a:pt x="699" y="7319"/>
                        </a:lnTo>
                        <a:lnTo>
                          <a:pt x="714" y="7304"/>
                        </a:lnTo>
                        <a:lnTo>
                          <a:pt x="728" y="7285"/>
                        </a:lnTo>
                        <a:lnTo>
                          <a:pt x="743" y="7265"/>
                        </a:lnTo>
                        <a:lnTo>
                          <a:pt x="757" y="7243"/>
                        </a:lnTo>
                        <a:lnTo>
                          <a:pt x="771" y="7220"/>
                        </a:lnTo>
                        <a:lnTo>
                          <a:pt x="785" y="7193"/>
                        </a:lnTo>
                        <a:lnTo>
                          <a:pt x="798" y="7166"/>
                        </a:lnTo>
                        <a:lnTo>
                          <a:pt x="812" y="7135"/>
                        </a:lnTo>
                        <a:lnTo>
                          <a:pt x="826" y="7103"/>
                        </a:lnTo>
                        <a:lnTo>
                          <a:pt x="838" y="7069"/>
                        </a:lnTo>
                        <a:lnTo>
                          <a:pt x="851" y="7033"/>
                        </a:lnTo>
                        <a:lnTo>
                          <a:pt x="864" y="6995"/>
                        </a:lnTo>
                        <a:lnTo>
                          <a:pt x="877" y="6955"/>
                        </a:lnTo>
                        <a:lnTo>
                          <a:pt x="902" y="6871"/>
                        </a:lnTo>
                        <a:lnTo>
                          <a:pt x="927" y="6779"/>
                        </a:lnTo>
                        <a:lnTo>
                          <a:pt x="950" y="6680"/>
                        </a:lnTo>
                        <a:lnTo>
                          <a:pt x="972" y="6575"/>
                        </a:lnTo>
                        <a:lnTo>
                          <a:pt x="994" y="6462"/>
                        </a:lnTo>
                        <a:lnTo>
                          <a:pt x="1015" y="6345"/>
                        </a:lnTo>
                        <a:lnTo>
                          <a:pt x="1035" y="6221"/>
                        </a:lnTo>
                        <a:lnTo>
                          <a:pt x="1053" y="6090"/>
                        </a:lnTo>
                        <a:lnTo>
                          <a:pt x="1072" y="5955"/>
                        </a:lnTo>
                        <a:lnTo>
                          <a:pt x="1088" y="5814"/>
                        </a:lnTo>
                        <a:lnTo>
                          <a:pt x="1104" y="5668"/>
                        </a:lnTo>
                        <a:lnTo>
                          <a:pt x="1119" y="5517"/>
                        </a:lnTo>
                        <a:lnTo>
                          <a:pt x="1132" y="5363"/>
                        </a:lnTo>
                        <a:lnTo>
                          <a:pt x="1145" y="5202"/>
                        </a:lnTo>
                        <a:lnTo>
                          <a:pt x="1155" y="5039"/>
                        </a:lnTo>
                        <a:lnTo>
                          <a:pt x="1166" y="4870"/>
                        </a:lnTo>
                        <a:lnTo>
                          <a:pt x="1174" y="4698"/>
                        </a:lnTo>
                        <a:lnTo>
                          <a:pt x="1181" y="4523"/>
                        </a:lnTo>
                        <a:lnTo>
                          <a:pt x="1187" y="4346"/>
                        </a:lnTo>
                        <a:lnTo>
                          <a:pt x="1191" y="4163"/>
                        </a:lnTo>
                        <a:lnTo>
                          <a:pt x="1194" y="3979"/>
                        </a:lnTo>
                        <a:lnTo>
                          <a:pt x="1195" y="3792"/>
                        </a:lnTo>
                        <a:lnTo>
                          <a:pt x="1195" y="3792"/>
                        </a:lnTo>
                        <a:lnTo>
                          <a:pt x="1195" y="3605"/>
                        </a:lnTo>
                        <a:lnTo>
                          <a:pt x="1193" y="3420"/>
                        </a:lnTo>
                        <a:lnTo>
                          <a:pt x="1190" y="3238"/>
                        </a:lnTo>
                        <a:lnTo>
                          <a:pt x="1186" y="3058"/>
                        </a:lnTo>
                        <a:lnTo>
                          <a:pt x="1179" y="2882"/>
                        </a:lnTo>
                        <a:lnTo>
                          <a:pt x="1172" y="2709"/>
                        </a:lnTo>
                        <a:lnTo>
                          <a:pt x="1162" y="2538"/>
                        </a:lnTo>
                        <a:lnTo>
                          <a:pt x="1153" y="2372"/>
                        </a:lnTo>
                        <a:lnTo>
                          <a:pt x="1141" y="2209"/>
                        </a:lnTo>
                        <a:lnTo>
                          <a:pt x="1129" y="2051"/>
                        </a:lnTo>
                        <a:lnTo>
                          <a:pt x="1115" y="1897"/>
                        </a:lnTo>
                        <a:lnTo>
                          <a:pt x="1100" y="1748"/>
                        </a:lnTo>
                        <a:lnTo>
                          <a:pt x="1083" y="1604"/>
                        </a:lnTo>
                        <a:lnTo>
                          <a:pt x="1067" y="1465"/>
                        </a:lnTo>
                        <a:lnTo>
                          <a:pt x="1049" y="1330"/>
                        </a:lnTo>
                        <a:lnTo>
                          <a:pt x="1030" y="1203"/>
                        </a:lnTo>
                        <a:lnTo>
                          <a:pt x="1009" y="1080"/>
                        </a:lnTo>
                        <a:lnTo>
                          <a:pt x="988" y="964"/>
                        </a:lnTo>
                        <a:lnTo>
                          <a:pt x="966" y="853"/>
                        </a:lnTo>
                        <a:lnTo>
                          <a:pt x="943" y="749"/>
                        </a:lnTo>
                        <a:lnTo>
                          <a:pt x="920" y="652"/>
                        </a:lnTo>
                        <a:lnTo>
                          <a:pt x="895" y="562"/>
                        </a:lnTo>
                        <a:lnTo>
                          <a:pt x="883" y="519"/>
                        </a:lnTo>
                        <a:lnTo>
                          <a:pt x="870" y="478"/>
                        </a:lnTo>
                        <a:lnTo>
                          <a:pt x="857" y="440"/>
                        </a:lnTo>
                        <a:lnTo>
                          <a:pt x="844" y="403"/>
                        </a:lnTo>
                        <a:lnTo>
                          <a:pt x="831" y="368"/>
                        </a:lnTo>
                        <a:lnTo>
                          <a:pt x="818" y="336"/>
                        </a:lnTo>
                        <a:lnTo>
                          <a:pt x="804" y="304"/>
                        </a:lnTo>
                        <a:lnTo>
                          <a:pt x="791" y="275"/>
                        </a:lnTo>
                        <a:lnTo>
                          <a:pt x="777" y="248"/>
                        </a:lnTo>
                        <a:lnTo>
                          <a:pt x="763" y="223"/>
                        </a:lnTo>
                        <a:lnTo>
                          <a:pt x="748" y="201"/>
                        </a:lnTo>
                        <a:lnTo>
                          <a:pt x="734" y="180"/>
                        </a:lnTo>
                        <a:lnTo>
                          <a:pt x="720" y="161"/>
                        </a:lnTo>
                        <a:lnTo>
                          <a:pt x="705" y="144"/>
                        </a:lnTo>
                        <a:lnTo>
                          <a:pt x="691" y="130"/>
                        </a:lnTo>
                        <a:lnTo>
                          <a:pt x="676" y="118"/>
                        </a:lnTo>
                        <a:lnTo>
                          <a:pt x="661" y="108"/>
                        </a:lnTo>
                        <a:lnTo>
                          <a:pt x="646" y="101"/>
                        </a:lnTo>
                        <a:lnTo>
                          <a:pt x="631" y="95"/>
                        </a:lnTo>
                        <a:lnTo>
                          <a:pt x="615" y="93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5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7" name="Group 28">
                  <a:extLst>
                    <a:ext uri="{FF2B5EF4-FFF2-40B4-BE49-F238E27FC236}">
                      <a16:creationId xmlns:a16="http://schemas.microsoft.com/office/drawing/2014/main" xmlns="" id="{E7A46FF9-4185-D944-A671-968F7953B843}"/>
                    </a:ext>
                  </a:extLst>
                </p:cNvPr>
                <p:cNvGrpSpPr/>
                <p:nvPr/>
              </p:nvGrpSpPr>
              <p:grpSpPr>
                <a:xfrm>
                  <a:off x="3113724" y="2080261"/>
                  <a:ext cx="1475286" cy="1950720"/>
                  <a:chOff x="2909888" y="1743075"/>
                  <a:chExt cx="1844106" cy="2438400"/>
                </a:xfrm>
              </p:grpSpPr>
              <p:sp>
                <p:nvSpPr>
                  <p:cNvPr id="18" name="Freeform 19">
                    <a:extLst>
                      <a:ext uri="{FF2B5EF4-FFF2-40B4-BE49-F238E27FC236}">
                        <a16:creationId xmlns:a16="http://schemas.microsoft.com/office/drawing/2014/main" xmlns="" id="{64BF7825-A461-5045-A691-97AE270BEB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09888" y="1743075"/>
                    <a:ext cx="1803400" cy="2438400"/>
                  </a:xfrm>
                  <a:custGeom>
                    <a:avLst/>
                    <a:gdLst/>
                    <a:ahLst/>
                    <a:cxnLst>
                      <a:cxn ang="0">
                        <a:pos x="2271" y="3072"/>
                      </a:cxn>
                      <a:cxn ang="0">
                        <a:pos x="2252" y="3069"/>
                      </a:cxn>
                      <a:cxn ang="0">
                        <a:pos x="2233" y="3056"/>
                      </a:cxn>
                      <a:cxn ang="0">
                        <a:pos x="2196" y="3005"/>
                      </a:cxn>
                      <a:cxn ang="0">
                        <a:pos x="2161" y="2925"/>
                      </a:cxn>
                      <a:cxn ang="0">
                        <a:pos x="2130" y="2817"/>
                      </a:cxn>
                      <a:cxn ang="0">
                        <a:pos x="2101" y="2682"/>
                      </a:cxn>
                      <a:cxn ang="0">
                        <a:pos x="2076" y="2526"/>
                      </a:cxn>
                      <a:cxn ang="0">
                        <a:pos x="2048" y="2285"/>
                      </a:cxn>
                      <a:cxn ang="0">
                        <a:pos x="2022" y="1870"/>
                      </a:cxn>
                      <a:cxn ang="0">
                        <a:pos x="2016" y="1563"/>
                      </a:cxn>
                      <a:cxn ang="0">
                        <a:pos x="2026" y="1106"/>
                      </a:cxn>
                      <a:cxn ang="0">
                        <a:pos x="2057" y="699"/>
                      </a:cxn>
                      <a:cxn ang="0">
                        <a:pos x="2079" y="523"/>
                      </a:cxn>
                      <a:cxn ang="0">
                        <a:pos x="2105" y="368"/>
                      </a:cxn>
                      <a:cxn ang="0">
                        <a:pos x="2134" y="236"/>
                      </a:cxn>
                      <a:cxn ang="0">
                        <a:pos x="2168" y="132"/>
                      </a:cxn>
                      <a:cxn ang="0">
                        <a:pos x="2203" y="55"/>
                      </a:cxn>
                      <a:cxn ang="0">
                        <a:pos x="2234" y="16"/>
                      </a:cxn>
                      <a:cxn ang="0">
                        <a:pos x="2254" y="4"/>
                      </a:cxn>
                      <a:cxn ang="0">
                        <a:pos x="2267" y="0"/>
                      </a:cxn>
                      <a:cxn ang="0">
                        <a:pos x="1955" y="0"/>
                      </a:cxn>
                      <a:cxn ang="0">
                        <a:pos x="244" y="2"/>
                      </a:cxn>
                      <a:cxn ang="0">
                        <a:pos x="224" y="11"/>
                      </a:cxn>
                      <a:cxn ang="0">
                        <a:pos x="199" y="36"/>
                      </a:cxn>
                      <a:cxn ang="0">
                        <a:pos x="163" y="103"/>
                      </a:cxn>
                      <a:cxn ang="0">
                        <a:pos x="129" y="199"/>
                      </a:cxn>
                      <a:cxn ang="0">
                        <a:pos x="99" y="322"/>
                      </a:cxn>
                      <a:cxn ang="0">
                        <a:pos x="71" y="469"/>
                      </a:cxn>
                      <a:cxn ang="0">
                        <a:pos x="48" y="639"/>
                      </a:cxn>
                      <a:cxn ang="0">
                        <a:pos x="19" y="963"/>
                      </a:cxn>
                      <a:cxn ang="0">
                        <a:pos x="1" y="1406"/>
                      </a:cxn>
                      <a:cxn ang="0">
                        <a:pos x="1" y="1719"/>
                      </a:cxn>
                      <a:cxn ang="0">
                        <a:pos x="21" y="2153"/>
                      </a:cxn>
                      <a:cxn ang="0">
                        <a:pos x="52" y="2469"/>
                      </a:cxn>
                      <a:cxn ang="0">
                        <a:pos x="77" y="2632"/>
                      </a:cxn>
                      <a:cxn ang="0">
                        <a:pos x="103" y="2775"/>
                      </a:cxn>
                      <a:cxn ang="0">
                        <a:pos x="135" y="2891"/>
                      </a:cxn>
                      <a:cxn ang="0">
                        <a:pos x="168" y="2982"/>
                      </a:cxn>
                      <a:cxn ang="0">
                        <a:pos x="204" y="3042"/>
                      </a:cxn>
                      <a:cxn ang="0">
                        <a:pos x="229" y="3065"/>
                      </a:cxn>
                      <a:cxn ang="0">
                        <a:pos x="249" y="3072"/>
                      </a:cxn>
                    </a:cxnLst>
                    <a:rect l="0" t="0" r="r" b="b"/>
                    <a:pathLst>
                      <a:path w="2271" h="3072">
                        <a:moveTo>
                          <a:pt x="254" y="3072"/>
                        </a:moveTo>
                        <a:lnTo>
                          <a:pt x="2271" y="3072"/>
                        </a:lnTo>
                        <a:lnTo>
                          <a:pt x="2271" y="3072"/>
                        </a:lnTo>
                        <a:lnTo>
                          <a:pt x="2264" y="3072"/>
                        </a:lnTo>
                        <a:lnTo>
                          <a:pt x="2257" y="3071"/>
                        </a:lnTo>
                        <a:lnTo>
                          <a:pt x="2252" y="3069"/>
                        </a:lnTo>
                        <a:lnTo>
                          <a:pt x="2245" y="3065"/>
                        </a:lnTo>
                        <a:lnTo>
                          <a:pt x="2239" y="3061"/>
                        </a:lnTo>
                        <a:lnTo>
                          <a:pt x="2233" y="3056"/>
                        </a:lnTo>
                        <a:lnTo>
                          <a:pt x="2220" y="3042"/>
                        </a:lnTo>
                        <a:lnTo>
                          <a:pt x="2207" y="3026"/>
                        </a:lnTo>
                        <a:lnTo>
                          <a:pt x="2196" y="3005"/>
                        </a:lnTo>
                        <a:lnTo>
                          <a:pt x="2184" y="2982"/>
                        </a:lnTo>
                        <a:lnTo>
                          <a:pt x="2173" y="2955"/>
                        </a:lnTo>
                        <a:lnTo>
                          <a:pt x="2161" y="2925"/>
                        </a:lnTo>
                        <a:lnTo>
                          <a:pt x="2151" y="2891"/>
                        </a:lnTo>
                        <a:lnTo>
                          <a:pt x="2140" y="2855"/>
                        </a:lnTo>
                        <a:lnTo>
                          <a:pt x="2130" y="2817"/>
                        </a:lnTo>
                        <a:lnTo>
                          <a:pt x="2120" y="2775"/>
                        </a:lnTo>
                        <a:lnTo>
                          <a:pt x="2110" y="2730"/>
                        </a:lnTo>
                        <a:lnTo>
                          <a:pt x="2101" y="2682"/>
                        </a:lnTo>
                        <a:lnTo>
                          <a:pt x="2093" y="2632"/>
                        </a:lnTo>
                        <a:lnTo>
                          <a:pt x="2083" y="2580"/>
                        </a:lnTo>
                        <a:lnTo>
                          <a:pt x="2076" y="2526"/>
                        </a:lnTo>
                        <a:lnTo>
                          <a:pt x="2068" y="2469"/>
                        </a:lnTo>
                        <a:lnTo>
                          <a:pt x="2061" y="2409"/>
                        </a:lnTo>
                        <a:lnTo>
                          <a:pt x="2048" y="2285"/>
                        </a:lnTo>
                        <a:lnTo>
                          <a:pt x="2037" y="2153"/>
                        </a:lnTo>
                        <a:lnTo>
                          <a:pt x="2029" y="2015"/>
                        </a:lnTo>
                        <a:lnTo>
                          <a:pt x="2022" y="1870"/>
                        </a:lnTo>
                        <a:lnTo>
                          <a:pt x="2017" y="1719"/>
                        </a:lnTo>
                        <a:lnTo>
                          <a:pt x="2016" y="1563"/>
                        </a:lnTo>
                        <a:lnTo>
                          <a:pt x="2016" y="1563"/>
                        </a:lnTo>
                        <a:lnTo>
                          <a:pt x="2017" y="1406"/>
                        </a:lnTo>
                        <a:lnTo>
                          <a:pt x="2021" y="1253"/>
                        </a:lnTo>
                        <a:lnTo>
                          <a:pt x="2026" y="1106"/>
                        </a:lnTo>
                        <a:lnTo>
                          <a:pt x="2034" y="963"/>
                        </a:lnTo>
                        <a:lnTo>
                          <a:pt x="2045" y="828"/>
                        </a:lnTo>
                        <a:lnTo>
                          <a:pt x="2057" y="699"/>
                        </a:lnTo>
                        <a:lnTo>
                          <a:pt x="2063" y="639"/>
                        </a:lnTo>
                        <a:lnTo>
                          <a:pt x="2072" y="580"/>
                        </a:lnTo>
                        <a:lnTo>
                          <a:pt x="2079" y="523"/>
                        </a:lnTo>
                        <a:lnTo>
                          <a:pt x="2088" y="469"/>
                        </a:lnTo>
                        <a:lnTo>
                          <a:pt x="2096" y="417"/>
                        </a:lnTo>
                        <a:lnTo>
                          <a:pt x="2105" y="368"/>
                        </a:lnTo>
                        <a:lnTo>
                          <a:pt x="2115" y="322"/>
                        </a:lnTo>
                        <a:lnTo>
                          <a:pt x="2125" y="278"/>
                        </a:lnTo>
                        <a:lnTo>
                          <a:pt x="2134" y="236"/>
                        </a:lnTo>
                        <a:lnTo>
                          <a:pt x="2146" y="199"/>
                        </a:lnTo>
                        <a:lnTo>
                          <a:pt x="2156" y="163"/>
                        </a:lnTo>
                        <a:lnTo>
                          <a:pt x="2168" y="132"/>
                        </a:lnTo>
                        <a:lnTo>
                          <a:pt x="2180" y="103"/>
                        </a:lnTo>
                        <a:lnTo>
                          <a:pt x="2191" y="77"/>
                        </a:lnTo>
                        <a:lnTo>
                          <a:pt x="2203" y="55"/>
                        </a:lnTo>
                        <a:lnTo>
                          <a:pt x="2216" y="36"/>
                        </a:lnTo>
                        <a:lnTo>
                          <a:pt x="2227" y="22"/>
                        </a:lnTo>
                        <a:lnTo>
                          <a:pt x="2234" y="16"/>
                        </a:lnTo>
                        <a:lnTo>
                          <a:pt x="2240" y="11"/>
                        </a:lnTo>
                        <a:lnTo>
                          <a:pt x="2247" y="6"/>
                        </a:lnTo>
                        <a:lnTo>
                          <a:pt x="2254" y="4"/>
                        </a:lnTo>
                        <a:lnTo>
                          <a:pt x="2260" y="2"/>
                        </a:lnTo>
                        <a:lnTo>
                          <a:pt x="2267" y="0"/>
                        </a:lnTo>
                        <a:lnTo>
                          <a:pt x="2267" y="0"/>
                        </a:lnTo>
                        <a:lnTo>
                          <a:pt x="2271" y="0"/>
                        </a:lnTo>
                        <a:lnTo>
                          <a:pt x="1955" y="0"/>
                        </a:lnTo>
                        <a:lnTo>
                          <a:pt x="1955" y="0"/>
                        </a:lnTo>
                        <a:lnTo>
                          <a:pt x="251" y="0"/>
                        </a:lnTo>
                        <a:lnTo>
                          <a:pt x="251" y="0"/>
                        </a:lnTo>
                        <a:lnTo>
                          <a:pt x="244" y="2"/>
                        </a:lnTo>
                        <a:lnTo>
                          <a:pt x="237" y="4"/>
                        </a:lnTo>
                        <a:lnTo>
                          <a:pt x="231" y="6"/>
                        </a:lnTo>
                        <a:lnTo>
                          <a:pt x="224" y="11"/>
                        </a:lnTo>
                        <a:lnTo>
                          <a:pt x="218" y="16"/>
                        </a:lnTo>
                        <a:lnTo>
                          <a:pt x="211" y="22"/>
                        </a:lnTo>
                        <a:lnTo>
                          <a:pt x="199" y="36"/>
                        </a:lnTo>
                        <a:lnTo>
                          <a:pt x="187" y="55"/>
                        </a:lnTo>
                        <a:lnTo>
                          <a:pt x="175" y="77"/>
                        </a:lnTo>
                        <a:lnTo>
                          <a:pt x="163" y="103"/>
                        </a:lnTo>
                        <a:lnTo>
                          <a:pt x="151" y="132"/>
                        </a:lnTo>
                        <a:lnTo>
                          <a:pt x="141" y="163"/>
                        </a:lnTo>
                        <a:lnTo>
                          <a:pt x="129" y="199"/>
                        </a:lnTo>
                        <a:lnTo>
                          <a:pt x="118" y="236"/>
                        </a:lnTo>
                        <a:lnTo>
                          <a:pt x="108" y="278"/>
                        </a:lnTo>
                        <a:lnTo>
                          <a:pt x="99" y="322"/>
                        </a:lnTo>
                        <a:lnTo>
                          <a:pt x="89" y="368"/>
                        </a:lnTo>
                        <a:lnTo>
                          <a:pt x="80" y="417"/>
                        </a:lnTo>
                        <a:lnTo>
                          <a:pt x="71" y="469"/>
                        </a:lnTo>
                        <a:lnTo>
                          <a:pt x="63" y="523"/>
                        </a:lnTo>
                        <a:lnTo>
                          <a:pt x="56" y="580"/>
                        </a:lnTo>
                        <a:lnTo>
                          <a:pt x="48" y="639"/>
                        </a:lnTo>
                        <a:lnTo>
                          <a:pt x="41" y="699"/>
                        </a:lnTo>
                        <a:lnTo>
                          <a:pt x="29" y="828"/>
                        </a:lnTo>
                        <a:lnTo>
                          <a:pt x="19" y="963"/>
                        </a:lnTo>
                        <a:lnTo>
                          <a:pt x="10" y="1106"/>
                        </a:lnTo>
                        <a:lnTo>
                          <a:pt x="5" y="1253"/>
                        </a:lnTo>
                        <a:lnTo>
                          <a:pt x="1" y="1406"/>
                        </a:lnTo>
                        <a:lnTo>
                          <a:pt x="0" y="1563"/>
                        </a:lnTo>
                        <a:lnTo>
                          <a:pt x="0" y="1563"/>
                        </a:lnTo>
                        <a:lnTo>
                          <a:pt x="1" y="1719"/>
                        </a:lnTo>
                        <a:lnTo>
                          <a:pt x="6" y="1870"/>
                        </a:lnTo>
                        <a:lnTo>
                          <a:pt x="13" y="2015"/>
                        </a:lnTo>
                        <a:lnTo>
                          <a:pt x="21" y="2153"/>
                        </a:lnTo>
                        <a:lnTo>
                          <a:pt x="33" y="2285"/>
                        </a:lnTo>
                        <a:lnTo>
                          <a:pt x="45" y="2409"/>
                        </a:lnTo>
                        <a:lnTo>
                          <a:pt x="52" y="2469"/>
                        </a:lnTo>
                        <a:lnTo>
                          <a:pt x="59" y="2526"/>
                        </a:lnTo>
                        <a:lnTo>
                          <a:pt x="67" y="2580"/>
                        </a:lnTo>
                        <a:lnTo>
                          <a:pt x="77" y="2632"/>
                        </a:lnTo>
                        <a:lnTo>
                          <a:pt x="85" y="2682"/>
                        </a:lnTo>
                        <a:lnTo>
                          <a:pt x="94" y="2730"/>
                        </a:lnTo>
                        <a:lnTo>
                          <a:pt x="103" y="2775"/>
                        </a:lnTo>
                        <a:lnTo>
                          <a:pt x="114" y="2817"/>
                        </a:lnTo>
                        <a:lnTo>
                          <a:pt x="124" y="2855"/>
                        </a:lnTo>
                        <a:lnTo>
                          <a:pt x="135" y="2891"/>
                        </a:lnTo>
                        <a:lnTo>
                          <a:pt x="145" y="2925"/>
                        </a:lnTo>
                        <a:lnTo>
                          <a:pt x="157" y="2955"/>
                        </a:lnTo>
                        <a:lnTo>
                          <a:pt x="168" y="2982"/>
                        </a:lnTo>
                        <a:lnTo>
                          <a:pt x="180" y="3005"/>
                        </a:lnTo>
                        <a:lnTo>
                          <a:pt x="192" y="3026"/>
                        </a:lnTo>
                        <a:lnTo>
                          <a:pt x="204" y="3042"/>
                        </a:lnTo>
                        <a:lnTo>
                          <a:pt x="216" y="3056"/>
                        </a:lnTo>
                        <a:lnTo>
                          <a:pt x="223" y="3061"/>
                        </a:lnTo>
                        <a:lnTo>
                          <a:pt x="229" y="3065"/>
                        </a:lnTo>
                        <a:lnTo>
                          <a:pt x="236" y="3069"/>
                        </a:lnTo>
                        <a:lnTo>
                          <a:pt x="242" y="3071"/>
                        </a:lnTo>
                        <a:lnTo>
                          <a:pt x="249" y="3072"/>
                        </a:lnTo>
                        <a:lnTo>
                          <a:pt x="254" y="3072"/>
                        </a:lnTo>
                        <a:lnTo>
                          <a:pt x="254" y="3072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50000"/>
                        </a:schemeClr>
                      </a:gs>
                      <a:gs pos="25000">
                        <a:schemeClr val="accent6">
                          <a:lumMod val="40000"/>
                          <a:lumOff val="60000"/>
                        </a:schemeClr>
                      </a:gs>
                      <a:gs pos="55000">
                        <a:schemeClr val="accent6">
                          <a:lumMod val="75000"/>
                        </a:schemeClr>
                      </a:gs>
                      <a:gs pos="78000">
                        <a:schemeClr val="accent6">
                          <a:lumMod val="60000"/>
                          <a:lumOff val="4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9" name="Freeform 20">
                    <a:extLst>
                      <a:ext uri="{FF2B5EF4-FFF2-40B4-BE49-F238E27FC236}">
                        <a16:creationId xmlns:a16="http://schemas.microsoft.com/office/drawing/2014/main" xmlns="" id="{B923A159-D112-5842-8E1B-753C89AB99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06344" y="1743075"/>
                    <a:ext cx="247650" cy="2438400"/>
                  </a:xfrm>
                  <a:custGeom>
                    <a:avLst/>
                    <a:gdLst/>
                    <a:ahLst/>
                    <a:cxnLst>
                      <a:cxn ang="0">
                        <a:pos x="259" y="3034"/>
                      </a:cxn>
                      <a:cxn ang="0">
                        <a:pos x="246" y="3034"/>
                      </a:cxn>
                      <a:cxn ang="0">
                        <a:pos x="227" y="3026"/>
                      </a:cxn>
                      <a:cxn ang="0">
                        <a:pos x="198" y="2993"/>
                      </a:cxn>
                      <a:cxn ang="0">
                        <a:pos x="165" y="2927"/>
                      </a:cxn>
                      <a:cxn ang="0">
                        <a:pos x="135" y="2831"/>
                      </a:cxn>
                      <a:cxn ang="0">
                        <a:pos x="107" y="2709"/>
                      </a:cxn>
                      <a:cxn ang="0">
                        <a:pos x="83" y="2563"/>
                      </a:cxn>
                      <a:cxn ang="0">
                        <a:pos x="51" y="2274"/>
                      </a:cxn>
                      <a:cxn ang="0">
                        <a:pos x="29" y="1864"/>
                      </a:cxn>
                      <a:cxn ang="0">
                        <a:pos x="23" y="1563"/>
                      </a:cxn>
                      <a:cxn ang="0">
                        <a:pos x="31" y="1116"/>
                      </a:cxn>
                      <a:cxn ang="0">
                        <a:pos x="58" y="720"/>
                      </a:cxn>
                      <a:cxn ang="0">
                        <a:pos x="85" y="496"/>
                      </a:cxn>
                      <a:cxn ang="0">
                        <a:pos x="109" y="351"/>
                      </a:cxn>
                      <a:cxn ang="0">
                        <a:pos x="137" y="231"/>
                      </a:cxn>
                      <a:cxn ang="0">
                        <a:pos x="167" y="139"/>
                      </a:cxn>
                      <a:cxn ang="0">
                        <a:pos x="201" y="74"/>
                      </a:cxn>
                      <a:cxn ang="0">
                        <a:pos x="225" y="49"/>
                      </a:cxn>
                      <a:cxn ang="0">
                        <a:pos x="244" y="40"/>
                      </a:cxn>
                      <a:cxn ang="0">
                        <a:pos x="260" y="39"/>
                      </a:cxn>
                      <a:cxn ang="0">
                        <a:pos x="304" y="29"/>
                      </a:cxn>
                      <a:cxn ang="0">
                        <a:pos x="282" y="9"/>
                      </a:cxn>
                      <a:cxn ang="0">
                        <a:pos x="259" y="0"/>
                      </a:cxn>
                      <a:cxn ang="0">
                        <a:pos x="244" y="2"/>
                      </a:cxn>
                      <a:cxn ang="0">
                        <a:pos x="224" y="11"/>
                      </a:cxn>
                      <a:cxn ang="0">
                        <a:pos x="200" y="36"/>
                      </a:cxn>
                      <a:cxn ang="0">
                        <a:pos x="164" y="103"/>
                      </a:cxn>
                      <a:cxn ang="0">
                        <a:pos x="130" y="199"/>
                      </a:cxn>
                      <a:cxn ang="0">
                        <a:pos x="99" y="322"/>
                      </a:cxn>
                      <a:cxn ang="0">
                        <a:pos x="72" y="469"/>
                      </a:cxn>
                      <a:cxn ang="0">
                        <a:pos x="47" y="639"/>
                      </a:cxn>
                      <a:cxn ang="0">
                        <a:pos x="18" y="963"/>
                      </a:cxn>
                      <a:cxn ang="0">
                        <a:pos x="1" y="1406"/>
                      </a:cxn>
                      <a:cxn ang="0">
                        <a:pos x="2" y="1720"/>
                      </a:cxn>
                      <a:cxn ang="0">
                        <a:pos x="22" y="2159"/>
                      </a:cxn>
                      <a:cxn ang="0">
                        <a:pos x="46" y="2418"/>
                      </a:cxn>
                      <a:cxn ang="0">
                        <a:pos x="70" y="2589"/>
                      </a:cxn>
                      <a:cxn ang="0">
                        <a:pos x="96" y="2739"/>
                      </a:cxn>
                      <a:cxn ang="0">
                        <a:pos x="126" y="2865"/>
                      </a:cxn>
                      <a:cxn ang="0">
                        <a:pos x="160" y="2962"/>
                      </a:cxn>
                      <a:cxn ang="0">
                        <a:pos x="195" y="3031"/>
                      </a:cxn>
                      <a:cxn ang="0">
                        <a:pos x="221" y="3058"/>
                      </a:cxn>
                      <a:cxn ang="0">
                        <a:pos x="240" y="3070"/>
                      </a:cxn>
                      <a:cxn ang="0">
                        <a:pos x="260" y="3072"/>
                      </a:cxn>
                      <a:cxn ang="0">
                        <a:pos x="273" y="3069"/>
                      </a:cxn>
                      <a:cxn ang="0">
                        <a:pos x="293" y="3056"/>
                      </a:cxn>
                      <a:cxn ang="0">
                        <a:pos x="261" y="3034"/>
                      </a:cxn>
                    </a:cxnLst>
                    <a:rect l="0" t="0" r="r" b="b"/>
                    <a:pathLst>
                      <a:path w="312" h="3072">
                        <a:moveTo>
                          <a:pt x="261" y="3034"/>
                        </a:moveTo>
                        <a:lnTo>
                          <a:pt x="261" y="3034"/>
                        </a:lnTo>
                        <a:lnTo>
                          <a:pt x="259" y="3034"/>
                        </a:lnTo>
                        <a:lnTo>
                          <a:pt x="259" y="3034"/>
                        </a:lnTo>
                        <a:lnTo>
                          <a:pt x="253" y="3035"/>
                        </a:lnTo>
                        <a:lnTo>
                          <a:pt x="246" y="3034"/>
                        </a:lnTo>
                        <a:lnTo>
                          <a:pt x="240" y="3032"/>
                        </a:lnTo>
                        <a:lnTo>
                          <a:pt x="234" y="3029"/>
                        </a:lnTo>
                        <a:lnTo>
                          <a:pt x="227" y="3026"/>
                        </a:lnTo>
                        <a:lnTo>
                          <a:pt x="222" y="3021"/>
                        </a:lnTo>
                        <a:lnTo>
                          <a:pt x="210" y="3010"/>
                        </a:lnTo>
                        <a:lnTo>
                          <a:pt x="198" y="2993"/>
                        </a:lnTo>
                        <a:lnTo>
                          <a:pt x="187" y="2975"/>
                        </a:lnTo>
                        <a:lnTo>
                          <a:pt x="175" y="2953"/>
                        </a:lnTo>
                        <a:lnTo>
                          <a:pt x="165" y="2927"/>
                        </a:lnTo>
                        <a:lnTo>
                          <a:pt x="154" y="2898"/>
                        </a:lnTo>
                        <a:lnTo>
                          <a:pt x="144" y="2866"/>
                        </a:lnTo>
                        <a:lnTo>
                          <a:pt x="135" y="2831"/>
                        </a:lnTo>
                        <a:lnTo>
                          <a:pt x="125" y="2794"/>
                        </a:lnTo>
                        <a:lnTo>
                          <a:pt x="116" y="2753"/>
                        </a:lnTo>
                        <a:lnTo>
                          <a:pt x="107" y="2709"/>
                        </a:lnTo>
                        <a:lnTo>
                          <a:pt x="99" y="2663"/>
                        </a:lnTo>
                        <a:lnTo>
                          <a:pt x="90" y="2614"/>
                        </a:lnTo>
                        <a:lnTo>
                          <a:pt x="83" y="2563"/>
                        </a:lnTo>
                        <a:lnTo>
                          <a:pt x="75" y="2509"/>
                        </a:lnTo>
                        <a:lnTo>
                          <a:pt x="63" y="2396"/>
                        </a:lnTo>
                        <a:lnTo>
                          <a:pt x="51" y="2274"/>
                        </a:lnTo>
                        <a:lnTo>
                          <a:pt x="42" y="2144"/>
                        </a:lnTo>
                        <a:lnTo>
                          <a:pt x="34" y="2007"/>
                        </a:lnTo>
                        <a:lnTo>
                          <a:pt x="29" y="1864"/>
                        </a:lnTo>
                        <a:lnTo>
                          <a:pt x="24" y="1715"/>
                        </a:lnTo>
                        <a:lnTo>
                          <a:pt x="23" y="1563"/>
                        </a:lnTo>
                        <a:lnTo>
                          <a:pt x="23" y="1563"/>
                        </a:lnTo>
                        <a:lnTo>
                          <a:pt x="24" y="1410"/>
                        </a:lnTo>
                        <a:lnTo>
                          <a:pt x="27" y="1260"/>
                        </a:lnTo>
                        <a:lnTo>
                          <a:pt x="31" y="1116"/>
                        </a:lnTo>
                        <a:lnTo>
                          <a:pt x="38" y="978"/>
                        </a:lnTo>
                        <a:lnTo>
                          <a:pt x="47" y="846"/>
                        </a:lnTo>
                        <a:lnTo>
                          <a:pt x="58" y="720"/>
                        </a:lnTo>
                        <a:lnTo>
                          <a:pt x="71" y="604"/>
                        </a:lnTo>
                        <a:lnTo>
                          <a:pt x="78" y="548"/>
                        </a:lnTo>
                        <a:lnTo>
                          <a:pt x="85" y="496"/>
                        </a:lnTo>
                        <a:lnTo>
                          <a:pt x="92" y="445"/>
                        </a:lnTo>
                        <a:lnTo>
                          <a:pt x="100" y="397"/>
                        </a:lnTo>
                        <a:lnTo>
                          <a:pt x="109" y="351"/>
                        </a:lnTo>
                        <a:lnTo>
                          <a:pt x="117" y="309"/>
                        </a:lnTo>
                        <a:lnTo>
                          <a:pt x="126" y="269"/>
                        </a:lnTo>
                        <a:lnTo>
                          <a:pt x="137" y="231"/>
                        </a:lnTo>
                        <a:lnTo>
                          <a:pt x="146" y="198"/>
                        </a:lnTo>
                        <a:lnTo>
                          <a:pt x="157" y="166"/>
                        </a:lnTo>
                        <a:lnTo>
                          <a:pt x="167" y="139"/>
                        </a:lnTo>
                        <a:lnTo>
                          <a:pt x="179" y="113"/>
                        </a:lnTo>
                        <a:lnTo>
                          <a:pt x="189" y="92"/>
                        </a:lnTo>
                        <a:lnTo>
                          <a:pt x="201" y="74"/>
                        </a:lnTo>
                        <a:lnTo>
                          <a:pt x="214" y="60"/>
                        </a:lnTo>
                        <a:lnTo>
                          <a:pt x="219" y="54"/>
                        </a:lnTo>
                        <a:lnTo>
                          <a:pt x="225" y="49"/>
                        </a:lnTo>
                        <a:lnTo>
                          <a:pt x="232" y="45"/>
                        </a:lnTo>
                        <a:lnTo>
                          <a:pt x="238" y="41"/>
                        </a:lnTo>
                        <a:lnTo>
                          <a:pt x="244" y="40"/>
                        </a:lnTo>
                        <a:lnTo>
                          <a:pt x="251" y="39"/>
                        </a:lnTo>
                        <a:lnTo>
                          <a:pt x="251" y="39"/>
                        </a:lnTo>
                        <a:lnTo>
                          <a:pt x="260" y="39"/>
                        </a:lnTo>
                        <a:lnTo>
                          <a:pt x="312" y="39"/>
                        </a:lnTo>
                        <a:lnTo>
                          <a:pt x="312" y="39"/>
                        </a:lnTo>
                        <a:lnTo>
                          <a:pt x="304" y="29"/>
                        </a:lnTo>
                        <a:lnTo>
                          <a:pt x="297" y="21"/>
                        </a:lnTo>
                        <a:lnTo>
                          <a:pt x="289" y="14"/>
                        </a:lnTo>
                        <a:lnTo>
                          <a:pt x="282" y="9"/>
                        </a:lnTo>
                        <a:lnTo>
                          <a:pt x="274" y="4"/>
                        </a:lnTo>
                        <a:lnTo>
                          <a:pt x="266" y="2"/>
                        </a:lnTo>
                        <a:lnTo>
                          <a:pt x="259" y="0"/>
                        </a:lnTo>
                        <a:lnTo>
                          <a:pt x="251" y="0"/>
                        </a:lnTo>
                        <a:lnTo>
                          <a:pt x="251" y="0"/>
                        </a:lnTo>
                        <a:lnTo>
                          <a:pt x="244" y="2"/>
                        </a:lnTo>
                        <a:lnTo>
                          <a:pt x="238" y="4"/>
                        </a:lnTo>
                        <a:lnTo>
                          <a:pt x="231" y="6"/>
                        </a:lnTo>
                        <a:lnTo>
                          <a:pt x="224" y="11"/>
                        </a:lnTo>
                        <a:lnTo>
                          <a:pt x="218" y="16"/>
                        </a:lnTo>
                        <a:lnTo>
                          <a:pt x="211" y="22"/>
                        </a:lnTo>
                        <a:lnTo>
                          <a:pt x="200" y="36"/>
                        </a:lnTo>
                        <a:lnTo>
                          <a:pt x="187" y="55"/>
                        </a:lnTo>
                        <a:lnTo>
                          <a:pt x="175" y="77"/>
                        </a:lnTo>
                        <a:lnTo>
                          <a:pt x="164" y="103"/>
                        </a:lnTo>
                        <a:lnTo>
                          <a:pt x="152" y="132"/>
                        </a:lnTo>
                        <a:lnTo>
                          <a:pt x="140" y="163"/>
                        </a:lnTo>
                        <a:lnTo>
                          <a:pt x="130" y="199"/>
                        </a:lnTo>
                        <a:lnTo>
                          <a:pt x="118" y="236"/>
                        </a:lnTo>
                        <a:lnTo>
                          <a:pt x="109" y="278"/>
                        </a:lnTo>
                        <a:lnTo>
                          <a:pt x="99" y="322"/>
                        </a:lnTo>
                        <a:lnTo>
                          <a:pt x="89" y="368"/>
                        </a:lnTo>
                        <a:lnTo>
                          <a:pt x="80" y="417"/>
                        </a:lnTo>
                        <a:lnTo>
                          <a:pt x="72" y="469"/>
                        </a:lnTo>
                        <a:lnTo>
                          <a:pt x="63" y="523"/>
                        </a:lnTo>
                        <a:lnTo>
                          <a:pt x="56" y="580"/>
                        </a:lnTo>
                        <a:lnTo>
                          <a:pt x="47" y="639"/>
                        </a:lnTo>
                        <a:lnTo>
                          <a:pt x="41" y="699"/>
                        </a:lnTo>
                        <a:lnTo>
                          <a:pt x="29" y="828"/>
                        </a:lnTo>
                        <a:lnTo>
                          <a:pt x="18" y="963"/>
                        </a:lnTo>
                        <a:lnTo>
                          <a:pt x="10" y="1106"/>
                        </a:lnTo>
                        <a:lnTo>
                          <a:pt x="5" y="1253"/>
                        </a:lnTo>
                        <a:lnTo>
                          <a:pt x="1" y="1406"/>
                        </a:lnTo>
                        <a:lnTo>
                          <a:pt x="0" y="1563"/>
                        </a:lnTo>
                        <a:lnTo>
                          <a:pt x="0" y="1563"/>
                        </a:lnTo>
                        <a:lnTo>
                          <a:pt x="2" y="1720"/>
                        </a:lnTo>
                        <a:lnTo>
                          <a:pt x="6" y="1872"/>
                        </a:lnTo>
                        <a:lnTo>
                          <a:pt x="13" y="2019"/>
                        </a:lnTo>
                        <a:lnTo>
                          <a:pt x="22" y="2159"/>
                        </a:lnTo>
                        <a:lnTo>
                          <a:pt x="32" y="2292"/>
                        </a:lnTo>
                        <a:lnTo>
                          <a:pt x="39" y="2356"/>
                        </a:lnTo>
                        <a:lnTo>
                          <a:pt x="46" y="2418"/>
                        </a:lnTo>
                        <a:lnTo>
                          <a:pt x="53" y="2477"/>
                        </a:lnTo>
                        <a:lnTo>
                          <a:pt x="61" y="2535"/>
                        </a:lnTo>
                        <a:lnTo>
                          <a:pt x="70" y="2589"/>
                        </a:lnTo>
                        <a:lnTo>
                          <a:pt x="78" y="2642"/>
                        </a:lnTo>
                        <a:lnTo>
                          <a:pt x="87" y="2692"/>
                        </a:lnTo>
                        <a:lnTo>
                          <a:pt x="96" y="2739"/>
                        </a:lnTo>
                        <a:lnTo>
                          <a:pt x="106" y="2783"/>
                        </a:lnTo>
                        <a:lnTo>
                          <a:pt x="116" y="2825"/>
                        </a:lnTo>
                        <a:lnTo>
                          <a:pt x="126" y="2865"/>
                        </a:lnTo>
                        <a:lnTo>
                          <a:pt x="137" y="2901"/>
                        </a:lnTo>
                        <a:lnTo>
                          <a:pt x="149" y="2933"/>
                        </a:lnTo>
                        <a:lnTo>
                          <a:pt x="160" y="2962"/>
                        </a:lnTo>
                        <a:lnTo>
                          <a:pt x="172" y="2989"/>
                        </a:lnTo>
                        <a:lnTo>
                          <a:pt x="183" y="3012"/>
                        </a:lnTo>
                        <a:lnTo>
                          <a:pt x="195" y="3031"/>
                        </a:lnTo>
                        <a:lnTo>
                          <a:pt x="208" y="3047"/>
                        </a:lnTo>
                        <a:lnTo>
                          <a:pt x="215" y="3054"/>
                        </a:lnTo>
                        <a:lnTo>
                          <a:pt x="221" y="3058"/>
                        </a:lnTo>
                        <a:lnTo>
                          <a:pt x="226" y="3064"/>
                        </a:lnTo>
                        <a:lnTo>
                          <a:pt x="233" y="3068"/>
                        </a:lnTo>
                        <a:lnTo>
                          <a:pt x="240" y="3070"/>
                        </a:lnTo>
                        <a:lnTo>
                          <a:pt x="246" y="3072"/>
                        </a:lnTo>
                        <a:lnTo>
                          <a:pt x="253" y="3072"/>
                        </a:lnTo>
                        <a:lnTo>
                          <a:pt x="260" y="3072"/>
                        </a:lnTo>
                        <a:lnTo>
                          <a:pt x="260" y="3072"/>
                        </a:lnTo>
                        <a:lnTo>
                          <a:pt x="266" y="3071"/>
                        </a:lnTo>
                        <a:lnTo>
                          <a:pt x="273" y="3069"/>
                        </a:lnTo>
                        <a:lnTo>
                          <a:pt x="280" y="3065"/>
                        </a:lnTo>
                        <a:lnTo>
                          <a:pt x="286" y="3062"/>
                        </a:lnTo>
                        <a:lnTo>
                          <a:pt x="293" y="3056"/>
                        </a:lnTo>
                        <a:lnTo>
                          <a:pt x="299" y="3050"/>
                        </a:lnTo>
                        <a:lnTo>
                          <a:pt x="312" y="3034"/>
                        </a:lnTo>
                        <a:lnTo>
                          <a:pt x="261" y="3034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5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xmlns="" id="{7F387393-1831-EF45-9FAB-38D3997ADB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4608509" y="2833196"/>
                <a:ext cx="2082806" cy="334364"/>
              </a:xfrm>
              <a:custGeom>
                <a:avLst/>
                <a:gdLst/>
                <a:ahLst/>
                <a:cxnLst>
                  <a:cxn ang="0">
                    <a:pos x="5888" y="522"/>
                  </a:cxn>
                  <a:cxn ang="0">
                    <a:pos x="5873" y="561"/>
                  </a:cxn>
                  <a:cxn ang="0">
                    <a:pos x="5843" y="599"/>
                  </a:cxn>
                  <a:cxn ang="0">
                    <a:pos x="5796" y="636"/>
                  </a:cxn>
                  <a:cxn ang="0">
                    <a:pos x="5734" y="673"/>
                  </a:cxn>
                  <a:cxn ang="0">
                    <a:pos x="5658" y="706"/>
                  </a:cxn>
                  <a:cxn ang="0">
                    <a:pos x="5462" y="773"/>
                  </a:cxn>
                  <a:cxn ang="0">
                    <a:pos x="5217" y="833"/>
                  </a:cxn>
                  <a:cxn ang="0">
                    <a:pos x="4924" y="885"/>
                  </a:cxn>
                  <a:cxn ang="0">
                    <a:pos x="4591" y="931"/>
                  </a:cxn>
                  <a:cxn ang="0">
                    <a:pos x="4221" y="967"/>
                  </a:cxn>
                  <a:cxn ang="0">
                    <a:pos x="3819" y="994"/>
                  </a:cxn>
                  <a:cxn ang="0">
                    <a:pos x="3392" y="1012"/>
                  </a:cxn>
                  <a:cxn ang="0">
                    <a:pos x="2944" y="1017"/>
                  </a:cxn>
                  <a:cxn ang="0">
                    <a:pos x="2643" y="1014"/>
                  </a:cxn>
                  <a:cxn ang="0">
                    <a:pos x="2208" y="1002"/>
                  </a:cxn>
                  <a:cxn ang="0">
                    <a:pos x="1798" y="978"/>
                  </a:cxn>
                  <a:cxn ang="0">
                    <a:pos x="1417" y="944"/>
                  </a:cxn>
                  <a:cxn ang="0">
                    <a:pos x="1070" y="902"/>
                  </a:cxn>
                  <a:cxn ang="0">
                    <a:pos x="765" y="850"/>
                  </a:cxn>
                  <a:cxn ang="0">
                    <a:pos x="502" y="793"/>
                  </a:cxn>
                  <a:cxn ang="0">
                    <a:pos x="290" y="729"/>
                  </a:cxn>
                  <a:cxn ang="0">
                    <a:pos x="178" y="684"/>
                  </a:cxn>
                  <a:cxn ang="0">
                    <a:pos x="111" y="649"/>
                  </a:cxn>
                  <a:cxn ang="0">
                    <a:pos x="60" y="611"/>
                  </a:cxn>
                  <a:cxn ang="0">
                    <a:pos x="24" y="574"/>
                  </a:cxn>
                  <a:cxn ang="0">
                    <a:pos x="3" y="535"/>
                  </a:cxn>
                  <a:cxn ang="0">
                    <a:pos x="0" y="509"/>
                  </a:cxn>
                  <a:cxn ang="0">
                    <a:pos x="8" y="470"/>
                  </a:cxn>
                  <a:cxn ang="0">
                    <a:pos x="34" y="431"/>
                  </a:cxn>
                  <a:cxn ang="0">
                    <a:pos x="75" y="395"/>
                  </a:cxn>
                  <a:cxn ang="0">
                    <a:pos x="131" y="358"/>
                  </a:cxn>
                  <a:cxn ang="0">
                    <a:pos x="204" y="322"/>
                  </a:cxn>
                  <a:cxn ang="0">
                    <a:pos x="355" y="267"/>
                  </a:cxn>
                  <a:cxn ang="0">
                    <a:pos x="585" y="204"/>
                  </a:cxn>
                  <a:cxn ang="0">
                    <a:pos x="861" y="149"/>
                  </a:cxn>
                  <a:cxn ang="0">
                    <a:pos x="1182" y="102"/>
                  </a:cxn>
                  <a:cxn ang="0">
                    <a:pos x="1540" y="61"/>
                  </a:cxn>
                  <a:cxn ang="0">
                    <a:pos x="1932" y="31"/>
                  </a:cxn>
                  <a:cxn ang="0">
                    <a:pos x="2350" y="10"/>
                  </a:cxn>
                  <a:cxn ang="0">
                    <a:pos x="2792" y="1"/>
                  </a:cxn>
                  <a:cxn ang="0">
                    <a:pos x="3096" y="1"/>
                  </a:cxn>
                  <a:cxn ang="0">
                    <a:pos x="3538" y="10"/>
                  </a:cxn>
                  <a:cxn ang="0">
                    <a:pos x="3957" y="31"/>
                  </a:cxn>
                  <a:cxn ang="0">
                    <a:pos x="4348" y="61"/>
                  </a:cxn>
                  <a:cxn ang="0">
                    <a:pos x="4706" y="102"/>
                  </a:cxn>
                  <a:cxn ang="0">
                    <a:pos x="5027" y="149"/>
                  </a:cxn>
                  <a:cxn ang="0">
                    <a:pos x="5303" y="204"/>
                  </a:cxn>
                  <a:cxn ang="0">
                    <a:pos x="5534" y="267"/>
                  </a:cxn>
                  <a:cxn ang="0">
                    <a:pos x="5684" y="322"/>
                  </a:cxn>
                  <a:cxn ang="0">
                    <a:pos x="5757" y="358"/>
                  </a:cxn>
                  <a:cxn ang="0">
                    <a:pos x="5813" y="395"/>
                  </a:cxn>
                  <a:cxn ang="0">
                    <a:pos x="5854" y="431"/>
                  </a:cxn>
                  <a:cxn ang="0">
                    <a:pos x="5881" y="470"/>
                  </a:cxn>
                  <a:cxn ang="0">
                    <a:pos x="5888" y="509"/>
                  </a:cxn>
                </a:cxnLst>
                <a:rect l="0" t="0" r="r" b="b"/>
                <a:pathLst>
                  <a:path w="5888" h="1017">
                    <a:moveTo>
                      <a:pt x="5888" y="509"/>
                    </a:moveTo>
                    <a:lnTo>
                      <a:pt x="5888" y="509"/>
                    </a:lnTo>
                    <a:lnTo>
                      <a:pt x="5888" y="522"/>
                    </a:lnTo>
                    <a:lnTo>
                      <a:pt x="5885" y="535"/>
                    </a:lnTo>
                    <a:lnTo>
                      <a:pt x="5881" y="549"/>
                    </a:lnTo>
                    <a:lnTo>
                      <a:pt x="5873" y="561"/>
                    </a:lnTo>
                    <a:lnTo>
                      <a:pt x="5866" y="574"/>
                    </a:lnTo>
                    <a:lnTo>
                      <a:pt x="5854" y="586"/>
                    </a:lnTo>
                    <a:lnTo>
                      <a:pt x="5843" y="599"/>
                    </a:lnTo>
                    <a:lnTo>
                      <a:pt x="5829" y="611"/>
                    </a:lnTo>
                    <a:lnTo>
                      <a:pt x="5813" y="624"/>
                    </a:lnTo>
                    <a:lnTo>
                      <a:pt x="5796" y="636"/>
                    </a:lnTo>
                    <a:lnTo>
                      <a:pt x="5777" y="649"/>
                    </a:lnTo>
                    <a:lnTo>
                      <a:pt x="5757" y="660"/>
                    </a:lnTo>
                    <a:lnTo>
                      <a:pt x="5734" y="673"/>
                    </a:lnTo>
                    <a:lnTo>
                      <a:pt x="5710" y="684"/>
                    </a:lnTo>
                    <a:lnTo>
                      <a:pt x="5684" y="695"/>
                    </a:lnTo>
                    <a:lnTo>
                      <a:pt x="5658" y="706"/>
                    </a:lnTo>
                    <a:lnTo>
                      <a:pt x="5599" y="729"/>
                    </a:lnTo>
                    <a:lnTo>
                      <a:pt x="5534" y="751"/>
                    </a:lnTo>
                    <a:lnTo>
                      <a:pt x="5462" y="773"/>
                    </a:lnTo>
                    <a:lnTo>
                      <a:pt x="5386" y="793"/>
                    </a:lnTo>
                    <a:lnTo>
                      <a:pt x="5303" y="813"/>
                    </a:lnTo>
                    <a:lnTo>
                      <a:pt x="5217" y="833"/>
                    </a:lnTo>
                    <a:lnTo>
                      <a:pt x="5124" y="850"/>
                    </a:lnTo>
                    <a:lnTo>
                      <a:pt x="5027" y="869"/>
                    </a:lnTo>
                    <a:lnTo>
                      <a:pt x="4924" y="885"/>
                    </a:lnTo>
                    <a:lnTo>
                      <a:pt x="4818" y="902"/>
                    </a:lnTo>
                    <a:lnTo>
                      <a:pt x="4706" y="917"/>
                    </a:lnTo>
                    <a:lnTo>
                      <a:pt x="4591" y="931"/>
                    </a:lnTo>
                    <a:lnTo>
                      <a:pt x="4471" y="944"/>
                    </a:lnTo>
                    <a:lnTo>
                      <a:pt x="4348" y="956"/>
                    </a:lnTo>
                    <a:lnTo>
                      <a:pt x="4221" y="967"/>
                    </a:lnTo>
                    <a:lnTo>
                      <a:pt x="4090" y="978"/>
                    </a:lnTo>
                    <a:lnTo>
                      <a:pt x="3957" y="987"/>
                    </a:lnTo>
                    <a:lnTo>
                      <a:pt x="3819" y="994"/>
                    </a:lnTo>
                    <a:lnTo>
                      <a:pt x="3680" y="1002"/>
                    </a:lnTo>
                    <a:lnTo>
                      <a:pt x="3538" y="1007"/>
                    </a:lnTo>
                    <a:lnTo>
                      <a:pt x="3392" y="1012"/>
                    </a:lnTo>
                    <a:lnTo>
                      <a:pt x="3246" y="1014"/>
                    </a:lnTo>
                    <a:lnTo>
                      <a:pt x="3096" y="1017"/>
                    </a:lnTo>
                    <a:lnTo>
                      <a:pt x="2944" y="1017"/>
                    </a:lnTo>
                    <a:lnTo>
                      <a:pt x="2944" y="1017"/>
                    </a:lnTo>
                    <a:lnTo>
                      <a:pt x="2792" y="1017"/>
                    </a:lnTo>
                    <a:lnTo>
                      <a:pt x="2643" y="1014"/>
                    </a:lnTo>
                    <a:lnTo>
                      <a:pt x="2496" y="1012"/>
                    </a:lnTo>
                    <a:lnTo>
                      <a:pt x="2350" y="1007"/>
                    </a:lnTo>
                    <a:lnTo>
                      <a:pt x="2208" y="1002"/>
                    </a:lnTo>
                    <a:lnTo>
                      <a:pt x="2069" y="994"/>
                    </a:lnTo>
                    <a:lnTo>
                      <a:pt x="1932" y="987"/>
                    </a:lnTo>
                    <a:lnTo>
                      <a:pt x="1798" y="978"/>
                    </a:lnTo>
                    <a:lnTo>
                      <a:pt x="1668" y="967"/>
                    </a:lnTo>
                    <a:lnTo>
                      <a:pt x="1540" y="956"/>
                    </a:lnTo>
                    <a:lnTo>
                      <a:pt x="1417" y="944"/>
                    </a:lnTo>
                    <a:lnTo>
                      <a:pt x="1297" y="931"/>
                    </a:lnTo>
                    <a:lnTo>
                      <a:pt x="1182" y="917"/>
                    </a:lnTo>
                    <a:lnTo>
                      <a:pt x="1070" y="902"/>
                    </a:lnTo>
                    <a:lnTo>
                      <a:pt x="964" y="885"/>
                    </a:lnTo>
                    <a:lnTo>
                      <a:pt x="861" y="869"/>
                    </a:lnTo>
                    <a:lnTo>
                      <a:pt x="765" y="850"/>
                    </a:lnTo>
                    <a:lnTo>
                      <a:pt x="672" y="833"/>
                    </a:lnTo>
                    <a:lnTo>
                      <a:pt x="585" y="813"/>
                    </a:lnTo>
                    <a:lnTo>
                      <a:pt x="502" y="793"/>
                    </a:lnTo>
                    <a:lnTo>
                      <a:pt x="426" y="773"/>
                    </a:lnTo>
                    <a:lnTo>
                      <a:pt x="355" y="751"/>
                    </a:lnTo>
                    <a:lnTo>
                      <a:pt x="290" y="729"/>
                    </a:lnTo>
                    <a:lnTo>
                      <a:pt x="231" y="706"/>
                    </a:lnTo>
                    <a:lnTo>
                      <a:pt x="204" y="695"/>
                    </a:lnTo>
                    <a:lnTo>
                      <a:pt x="178" y="684"/>
                    </a:lnTo>
                    <a:lnTo>
                      <a:pt x="154" y="673"/>
                    </a:lnTo>
                    <a:lnTo>
                      <a:pt x="131" y="660"/>
                    </a:lnTo>
                    <a:lnTo>
                      <a:pt x="111" y="649"/>
                    </a:lnTo>
                    <a:lnTo>
                      <a:pt x="92" y="636"/>
                    </a:lnTo>
                    <a:lnTo>
                      <a:pt x="75" y="624"/>
                    </a:lnTo>
                    <a:lnTo>
                      <a:pt x="60" y="611"/>
                    </a:lnTo>
                    <a:lnTo>
                      <a:pt x="45" y="599"/>
                    </a:lnTo>
                    <a:lnTo>
                      <a:pt x="34" y="586"/>
                    </a:lnTo>
                    <a:lnTo>
                      <a:pt x="24" y="574"/>
                    </a:lnTo>
                    <a:lnTo>
                      <a:pt x="15" y="561"/>
                    </a:lnTo>
                    <a:lnTo>
                      <a:pt x="8" y="549"/>
                    </a:lnTo>
                    <a:lnTo>
                      <a:pt x="3" y="535"/>
                    </a:lnTo>
                    <a:lnTo>
                      <a:pt x="1" y="522"/>
                    </a:lnTo>
                    <a:lnTo>
                      <a:pt x="0" y="509"/>
                    </a:lnTo>
                    <a:lnTo>
                      <a:pt x="0" y="509"/>
                    </a:lnTo>
                    <a:lnTo>
                      <a:pt x="1" y="496"/>
                    </a:lnTo>
                    <a:lnTo>
                      <a:pt x="3" y="482"/>
                    </a:lnTo>
                    <a:lnTo>
                      <a:pt x="8" y="470"/>
                    </a:lnTo>
                    <a:lnTo>
                      <a:pt x="15" y="457"/>
                    </a:lnTo>
                    <a:lnTo>
                      <a:pt x="24" y="445"/>
                    </a:lnTo>
                    <a:lnTo>
                      <a:pt x="34" y="431"/>
                    </a:lnTo>
                    <a:lnTo>
                      <a:pt x="45" y="418"/>
                    </a:lnTo>
                    <a:lnTo>
                      <a:pt x="60" y="406"/>
                    </a:lnTo>
                    <a:lnTo>
                      <a:pt x="75" y="395"/>
                    </a:lnTo>
                    <a:lnTo>
                      <a:pt x="92" y="382"/>
                    </a:lnTo>
                    <a:lnTo>
                      <a:pt x="111" y="370"/>
                    </a:lnTo>
                    <a:lnTo>
                      <a:pt x="131" y="358"/>
                    </a:lnTo>
                    <a:lnTo>
                      <a:pt x="154" y="346"/>
                    </a:lnTo>
                    <a:lnTo>
                      <a:pt x="178" y="334"/>
                    </a:lnTo>
                    <a:lnTo>
                      <a:pt x="204" y="322"/>
                    </a:lnTo>
                    <a:lnTo>
                      <a:pt x="231" y="311"/>
                    </a:lnTo>
                    <a:lnTo>
                      <a:pt x="290" y="288"/>
                    </a:lnTo>
                    <a:lnTo>
                      <a:pt x="355" y="267"/>
                    </a:lnTo>
                    <a:lnTo>
                      <a:pt x="426" y="246"/>
                    </a:lnTo>
                    <a:lnTo>
                      <a:pt x="502" y="224"/>
                    </a:lnTo>
                    <a:lnTo>
                      <a:pt x="585" y="204"/>
                    </a:lnTo>
                    <a:lnTo>
                      <a:pt x="672" y="185"/>
                    </a:lnTo>
                    <a:lnTo>
                      <a:pt x="765" y="167"/>
                    </a:lnTo>
                    <a:lnTo>
                      <a:pt x="861" y="149"/>
                    </a:lnTo>
                    <a:lnTo>
                      <a:pt x="964" y="133"/>
                    </a:lnTo>
                    <a:lnTo>
                      <a:pt x="1070" y="117"/>
                    </a:lnTo>
                    <a:lnTo>
                      <a:pt x="1182" y="102"/>
                    </a:lnTo>
                    <a:lnTo>
                      <a:pt x="1297" y="88"/>
                    </a:lnTo>
                    <a:lnTo>
                      <a:pt x="1417" y="74"/>
                    </a:lnTo>
                    <a:lnTo>
                      <a:pt x="1540" y="61"/>
                    </a:lnTo>
                    <a:lnTo>
                      <a:pt x="1668" y="50"/>
                    </a:lnTo>
                    <a:lnTo>
                      <a:pt x="1798" y="40"/>
                    </a:lnTo>
                    <a:lnTo>
                      <a:pt x="1932" y="31"/>
                    </a:lnTo>
                    <a:lnTo>
                      <a:pt x="2069" y="23"/>
                    </a:lnTo>
                    <a:lnTo>
                      <a:pt x="2208" y="16"/>
                    </a:lnTo>
                    <a:lnTo>
                      <a:pt x="2350" y="10"/>
                    </a:lnTo>
                    <a:lnTo>
                      <a:pt x="2496" y="6"/>
                    </a:lnTo>
                    <a:lnTo>
                      <a:pt x="2643" y="3"/>
                    </a:lnTo>
                    <a:lnTo>
                      <a:pt x="2792" y="1"/>
                    </a:lnTo>
                    <a:lnTo>
                      <a:pt x="2944" y="0"/>
                    </a:lnTo>
                    <a:lnTo>
                      <a:pt x="2944" y="0"/>
                    </a:lnTo>
                    <a:lnTo>
                      <a:pt x="3096" y="1"/>
                    </a:lnTo>
                    <a:lnTo>
                      <a:pt x="3246" y="3"/>
                    </a:lnTo>
                    <a:lnTo>
                      <a:pt x="3392" y="6"/>
                    </a:lnTo>
                    <a:lnTo>
                      <a:pt x="3538" y="10"/>
                    </a:lnTo>
                    <a:lnTo>
                      <a:pt x="3680" y="16"/>
                    </a:lnTo>
                    <a:lnTo>
                      <a:pt x="3819" y="23"/>
                    </a:lnTo>
                    <a:lnTo>
                      <a:pt x="3957" y="31"/>
                    </a:lnTo>
                    <a:lnTo>
                      <a:pt x="4090" y="40"/>
                    </a:lnTo>
                    <a:lnTo>
                      <a:pt x="4221" y="50"/>
                    </a:lnTo>
                    <a:lnTo>
                      <a:pt x="4348" y="61"/>
                    </a:lnTo>
                    <a:lnTo>
                      <a:pt x="4471" y="74"/>
                    </a:lnTo>
                    <a:lnTo>
                      <a:pt x="4591" y="88"/>
                    </a:lnTo>
                    <a:lnTo>
                      <a:pt x="4706" y="102"/>
                    </a:lnTo>
                    <a:lnTo>
                      <a:pt x="4818" y="117"/>
                    </a:lnTo>
                    <a:lnTo>
                      <a:pt x="4924" y="133"/>
                    </a:lnTo>
                    <a:lnTo>
                      <a:pt x="5027" y="149"/>
                    </a:lnTo>
                    <a:lnTo>
                      <a:pt x="5124" y="167"/>
                    </a:lnTo>
                    <a:lnTo>
                      <a:pt x="5217" y="185"/>
                    </a:lnTo>
                    <a:lnTo>
                      <a:pt x="5303" y="204"/>
                    </a:lnTo>
                    <a:lnTo>
                      <a:pt x="5386" y="224"/>
                    </a:lnTo>
                    <a:lnTo>
                      <a:pt x="5462" y="246"/>
                    </a:lnTo>
                    <a:lnTo>
                      <a:pt x="5534" y="267"/>
                    </a:lnTo>
                    <a:lnTo>
                      <a:pt x="5599" y="288"/>
                    </a:lnTo>
                    <a:lnTo>
                      <a:pt x="5658" y="311"/>
                    </a:lnTo>
                    <a:lnTo>
                      <a:pt x="5684" y="322"/>
                    </a:lnTo>
                    <a:lnTo>
                      <a:pt x="5710" y="334"/>
                    </a:lnTo>
                    <a:lnTo>
                      <a:pt x="5734" y="346"/>
                    </a:lnTo>
                    <a:lnTo>
                      <a:pt x="5757" y="358"/>
                    </a:lnTo>
                    <a:lnTo>
                      <a:pt x="5777" y="370"/>
                    </a:lnTo>
                    <a:lnTo>
                      <a:pt x="5796" y="382"/>
                    </a:lnTo>
                    <a:lnTo>
                      <a:pt x="5813" y="395"/>
                    </a:lnTo>
                    <a:lnTo>
                      <a:pt x="5829" y="406"/>
                    </a:lnTo>
                    <a:lnTo>
                      <a:pt x="5843" y="418"/>
                    </a:lnTo>
                    <a:lnTo>
                      <a:pt x="5854" y="431"/>
                    </a:lnTo>
                    <a:lnTo>
                      <a:pt x="5866" y="445"/>
                    </a:lnTo>
                    <a:lnTo>
                      <a:pt x="5873" y="457"/>
                    </a:lnTo>
                    <a:lnTo>
                      <a:pt x="5881" y="470"/>
                    </a:lnTo>
                    <a:lnTo>
                      <a:pt x="5885" y="482"/>
                    </a:lnTo>
                    <a:lnTo>
                      <a:pt x="5888" y="496"/>
                    </a:lnTo>
                    <a:lnTo>
                      <a:pt x="5888" y="509"/>
                    </a:lnTo>
                    <a:lnTo>
                      <a:pt x="5888" y="509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tx2">
                        <a:lumMod val="50000"/>
                      </a:schemeClr>
                    </a:gs>
                    <a:gs pos="50000">
                      <a:srgbClr val="FFFFFF">
                        <a:alpha val="0"/>
                      </a:srgbClr>
                    </a:gs>
                  </a:gsLst>
                  <a:lin ang="16200000" scaled="0"/>
                  <a:tileRect/>
                </a:gra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xmlns="" id="{78BCC8E1-0AAD-EB4A-A94D-E3BED978D5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5422362" y="2756991"/>
                <a:ext cx="3032202" cy="486774"/>
              </a:xfrm>
              <a:custGeom>
                <a:avLst/>
                <a:gdLst/>
                <a:ahLst/>
                <a:cxnLst>
                  <a:cxn ang="0">
                    <a:pos x="5888" y="522"/>
                  </a:cxn>
                  <a:cxn ang="0">
                    <a:pos x="5873" y="561"/>
                  </a:cxn>
                  <a:cxn ang="0">
                    <a:pos x="5843" y="599"/>
                  </a:cxn>
                  <a:cxn ang="0">
                    <a:pos x="5796" y="636"/>
                  </a:cxn>
                  <a:cxn ang="0">
                    <a:pos x="5734" y="673"/>
                  </a:cxn>
                  <a:cxn ang="0">
                    <a:pos x="5658" y="706"/>
                  </a:cxn>
                  <a:cxn ang="0">
                    <a:pos x="5462" y="773"/>
                  </a:cxn>
                  <a:cxn ang="0">
                    <a:pos x="5217" y="833"/>
                  </a:cxn>
                  <a:cxn ang="0">
                    <a:pos x="4924" y="885"/>
                  </a:cxn>
                  <a:cxn ang="0">
                    <a:pos x="4591" y="931"/>
                  </a:cxn>
                  <a:cxn ang="0">
                    <a:pos x="4221" y="967"/>
                  </a:cxn>
                  <a:cxn ang="0">
                    <a:pos x="3819" y="994"/>
                  </a:cxn>
                  <a:cxn ang="0">
                    <a:pos x="3392" y="1012"/>
                  </a:cxn>
                  <a:cxn ang="0">
                    <a:pos x="2944" y="1017"/>
                  </a:cxn>
                  <a:cxn ang="0">
                    <a:pos x="2643" y="1014"/>
                  </a:cxn>
                  <a:cxn ang="0">
                    <a:pos x="2208" y="1002"/>
                  </a:cxn>
                  <a:cxn ang="0">
                    <a:pos x="1798" y="978"/>
                  </a:cxn>
                  <a:cxn ang="0">
                    <a:pos x="1417" y="944"/>
                  </a:cxn>
                  <a:cxn ang="0">
                    <a:pos x="1070" y="902"/>
                  </a:cxn>
                  <a:cxn ang="0">
                    <a:pos x="765" y="850"/>
                  </a:cxn>
                  <a:cxn ang="0">
                    <a:pos x="502" y="793"/>
                  </a:cxn>
                  <a:cxn ang="0">
                    <a:pos x="290" y="729"/>
                  </a:cxn>
                  <a:cxn ang="0">
                    <a:pos x="178" y="684"/>
                  </a:cxn>
                  <a:cxn ang="0">
                    <a:pos x="111" y="649"/>
                  </a:cxn>
                  <a:cxn ang="0">
                    <a:pos x="60" y="611"/>
                  </a:cxn>
                  <a:cxn ang="0">
                    <a:pos x="24" y="574"/>
                  </a:cxn>
                  <a:cxn ang="0">
                    <a:pos x="3" y="535"/>
                  </a:cxn>
                  <a:cxn ang="0">
                    <a:pos x="0" y="509"/>
                  </a:cxn>
                  <a:cxn ang="0">
                    <a:pos x="8" y="470"/>
                  </a:cxn>
                  <a:cxn ang="0">
                    <a:pos x="34" y="431"/>
                  </a:cxn>
                  <a:cxn ang="0">
                    <a:pos x="75" y="395"/>
                  </a:cxn>
                  <a:cxn ang="0">
                    <a:pos x="131" y="358"/>
                  </a:cxn>
                  <a:cxn ang="0">
                    <a:pos x="204" y="322"/>
                  </a:cxn>
                  <a:cxn ang="0">
                    <a:pos x="355" y="267"/>
                  </a:cxn>
                  <a:cxn ang="0">
                    <a:pos x="585" y="204"/>
                  </a:cxn>
                  <a:cxn ang="0">
                    <a:pos x="861" y="149"/>
                  </a:cxn>
                  <a:cxn ang="0">
                    <a:pos x="1182" y="102"/>
                  </a:cxn>
                  <a:cxn ang="0">
                    <a:pos x="1540" y="61"/>
                  </a:cxn>
                  <a:cxn ang="0">
                    <a:pos x="1932" y="31"/>
                  </a:cxn>
                  <a:cxn ang="0">
                    <a:pos x="2350" y="10"/>
                  </a:cxn>
                  <a:cxn ang="0">
                    <a:pos x="2792" y="1"/>
                  </a:cxn>
                  <a:cxn ang="0">
                    <a:pos x="3096" y="1"/>
                  </a:cxn>
                  <a:cxn ang="0">
                    <a:pos x="3538" y="10"/>
                  </a:cxn>
                  <a:cxn ang="0">
                    <a:pos x="3957" y="31"/>
                  </a:cxn>
                  <a:cxn ang="0">
                    <a:pos x="4348" y="61"/>
                  </a:cxn>
                  <a:cxn ang="0">
                    <a:pos x="4706" y="102"/>
                  </a:cxn>
                  <a:cxn ang="0">
                    <a:pos x="5027" y="149"/>
                  </a:cxn>
                  <a:cxn ang="0">
                    <a:pos x="5303" y="204"/>
                  </a:cxn>
                  <a:cxn ang="0">
                    <a:pos x="5534" y="267"/>
                  </a:cxn>
                  <a:cxn ang="0">
                    <a:pos x="5684" y="322"/>
                  </a:cxn>
                  <a:cxn ang="0">
                    <a:pos x="5757" y="358"/>
                  </a:cxn>
                  <a:cxn ang="0">
                    <a:pos x="5813" y="395"/>
                  </a:cxn>
                  <a:cxn ang="0">
                    <a:pos x="5854" y="431"/>
                  </a:cxn>
                  <a:cxn ang="0">
                    <a:pos x="5881" y="470"/>
                  </a:cxn>
                  <a:cxn ang="0">
                    <a:pos x="5888" y="509"/>
                  </a:cxn>
                </a:cxnLst>
                <a:rect l="0" t="0" r="r" b="b"/>
                <a:pathLst>
                  <a:path w="5888" h="1017">
                    <a:moveTo>
                      <a:pt x="5888" y="509"/>
                    </a:moveTo>
                    <a:lnTo>
                      <a:pt x="5888" y="509"/>
                    </a:lnTo>
                    <a:lnTo>
                      <a:pt x="5888" y="522"/>
                    </a:lnTo>
                    <a:lnTo>
                      <a:pt x="5885" y="535"/>
                    </a:lnTo>
                    <a:lnTo>
                      <a:pt x="5881" y="549"/>
                    </a:lnTo>
                    <a:lnTo>
                      <a:pt x="5873" y="561"/>
                    </a:lnTo>
                    <a:lnTo>
                      <a:pt x="5866" y="574"/>
                    </a:lnTo>
                    <a:lnTo>
                      <a:pt x="5854" y="586"/>
                    </a:lnTo>
                    <a:lnTo>
                      <a:pt x="5843" y="599"/>
                    </a:lnTo>
                    <a:lnTo>
                      <a:pt x="5829" y="611"/>
                    </a:lnTo>
                    <a:lnTo>
                      <a:pt x="5813" y="624"/>
                    </a:lnTo>
                    <a:lnTo>
                      <a:pt x="5796" y="636"/>
                    </a:lnTo>
                    <a:lnTo>
                      <a:pt x="5777" y="649"/>
                    </a:lnTo>
                    <a:lnTo>
                      <a:pt x="5757" y="660"/>
                    </a:lnTo>
                    <a:lnTo>
                      <a:pt x="5734" y="673"/>
                    </a:lnTo>
                    <a:lnTo>
                      <a:pt x="5710" y="684"/>
                    </a:lnTo>
                    <a:lnTo>
                      <a:pt x="5684" y="695"/>
                    </a:lnTo>
                    <a:lnTo>
                      <a:pt x="5658" y="706"/>
                    </a:lnTo>
                    <a:lnTo>
                      <a:pt x="5599" y="729"/>
                    </a:lnTo>
                    <a:lnTo>
                      <a:pt x="5534" y="751"/>
                    </a:lnTo>
                    <a:lnTo>
                      <a:pt x="5462" y="773"/>
                    </a:lnTo>
                    <a:lnTo>
                      <a:pt x="5386" y="793"/>
                    </a:lnTo>
                    <a:lnTo>
                      <a:pt x="5303" y="813"/>
                    </a:lnTo>
                    <a:lnTo>
                      <a:pt x="5217" y="833"/>
                    </a:lnTo>
                    <a:lnTo>
                      <a:pt x="5124" y="850"/>
                    </a:lnTo>
                    <a:lnTo>
                      <a:pt x="5027" y="869"/>
                    </a:lnTo>
                    <a:lnTo>
                      <a:pt x="4924" y="885"/>
                    </a:lnTo>
                    <a:lnTo>
                      <a:pt x="4818" y="902"/>
                    </a:lnTo>
                    <a:lnTo>
                      <a:pt x="4706" y="917"/>
                    </a:lnTo>
                    <a:lnTo>
                      <a:pt x="4591" y="931"/>
                    </a:lnTo>
                    <a:lnTo>
                      <a:pt x="4471" y="944"/>
                    </a:lnTo>
                    <a:lnTo>
                      <a:pt x="4348" y="956"/>
                    </a:lnTo>
                    <a:lnTo>
                      <a:pt x="4221" y="967"/>
                    </a:lnTo>
                    <a:lnTo>
                      <a:pt x="4090" y="978"/>
                    </a:lnTo>
                    <a:lnTo>
                      <a:pt x="3957" y="987"/>
                    </a:lnTo>
                    <a:lnTo>
                      <a:pt x="3819" y="994"/>
                    </a:lnTo>
                    <a:lnTo>
                      <a:pt x="3680" y="1002"/>
                    </a:lnTo>
                    <a:lnTo>
                      <a:pt x="3538" y="1007"/>
                    </a:lnTo>
                    <a:lnTo>
                      <a:pt x="3392" y="1012"/>
                    </a:lnTo>
                    <a:lnTo>
                      <a:pt x="3246" y="1014"/>
                    </a:lnTo>
                    <a:lnTo>
                      <a:pt x="3096" y="1017"/>
                    </a:lnTo>
                    <a:lnTo>
                      <a:pt x="2944" y="1017"/>
                    </a:lnTo>
                    <a:lnTo>
                      <a:pt x="2944" y="1017"/>
                    </a:lnTo>
                    <a:lnTo>
                      <a:pt x="2792" y="1017"/>
                    </a:lnTo>
                    <a:lnTo>
                      <a:pt x="2643" y="1014"/>
                    </a:lnTo>
                    <a:lnTo>
                      <a:pt x="2496" y="1012"/>
                    </a:lnTo>
                    <a:lnTo>
                      <a:pt x="2350" y="1007"/>
                    </a:lnTo>
                    <a:lnTo>
                      <a:pt x="2208" y="1002"/>
                    </a:lnTo>
                    <a:lnTo>
                      <a:pt x="2069" y="994"/>
                    </a:lnTo>
                    <a:lnTo>
                      <a:pt x="1932" y="987"/>
                    </a:lnTo>
                    <a:lnTo>
                      <a:pt x="1798" y="978"/>
                    </a:lnTo>
                    <a:lnTo>
                      <a:pt x="1668" y="967"/>
                    </a:lnTo>
                    <a:lnTo>
                      <a:pt x="1540" y="956"/>
                    </a:lnTo>
                    <a:lnTo>
                      <a:pt x="1417" y="944"/>
                    </a:lnTo>
                    <a:lnTo>
                      <a:pt x="1297" y="931"/>
                    </a:lnTo>
                    <a:lnTo>
                      <a:pt x="1182" y="917"/>
                    </a:lnTo>
                    <a:lnTo>
                      <a:pt x="1070" y="902"/>
                    </a:lnTo>
                    <a:lnTo>
                      <a:pt x="964" y="885"/>
                    </a:lnTo>
                    <a:lnTo>
                      <a:pt x="861" y="869"/>
                    </a:lnTo>
                    <a:lnTo>
                      <a:pt x="765" y="850"/>
                    </a:lnTo>
                    <a:lnTo>
                      <a:pt x="672" y="833"/>
                    </a:lnTo>
                    <a:lnTo>
                      <a:pt x="585" y="813"/>
                    </a:lnTo>
                    <a:lnTo>
                      <a:pt x="502" y="793"/>
                    </a:lnTo>
                    <a:lnTo>
                      <a:pt x="426" y="773"/>
                    </a:lnTo>
                    <a:lnTo>
                      <a:pt x="355" y="751"/>
                    </a:lnTo>
                    <a:lnTo>
                      <a:pt x="290" y="729"/>
                    </a:lnTo>
                    <a:lnTo>
                      <a:pt x="231" y="706"/>
                    </a:lnTo>
                    <a:lnTo>
                      <a:pt x="204" y="695"/>
                    </a:lnTo>
                    <a:lnTo>
                      <a:pt x="178" y="684"/>
                    </a:lnTo>
                    <a:lnTo>
                      <a:pt x="154" y="673"/>
                    </a:lnTo>
                    <a:lnTo>
                      <a:pt x="131" y="660"/>
                    </a:lnTo>
                    <a:lnTo>
                      <a:pt x="111" y="649"/>
                    </a:lnTo>
                    <a:lnTo>
                      <a:pt x="92" y="636"/>
                    </a:lnTo>
                    <a:lnTo>
                      <a:pt x="75" y="624"/>
                    </a:lnTo>
                    <a:lnTo>
                      <a:pt x="60" y="611"/>
                    </a:lnTo>
                    <a:lnTo>
                      <a:pt x="45" y="599"/>
                    </a:lnTo>
                    <a:lnTo>
                      <a:pt x="34" y="586"/>
                    </a:lnTo>
                    <a:lnTo>
                      <a:pt x="24" y="574"/>
                    </a:lnTo>
                    <a:lnTo>
                      <a:pt x="15" y="561"/>
                    </a:lnTo>
                    <a:lnTo>
                      <a:pt x="8" y="549"/>
                    </a:lnTo>
                    <a:lnTo>
                      <a:pt x="3" y="535"/>
                    </a:lnTo>
                    <a:lnTo>
                      <a:pt x="1" y="522"/>
                    </a:lnTo>
                    <a:lnTo>
                      <a:pt x="0" y="509"/>
                    </a:lnTo>
                    <a:lnTo>
                      <a:pt x="0" y="509"/>
                    </a:lnTo>
                    <a:lnTo>
                      <a:pt x="1" y="496"/>
                    </a:lnTo>
                    <a:lnTo>
                      <a:pt x="3" y="482"/>
                    </a:lnTo>
                    <a:lnTo>
                      <a:pt x="8" y="470"/>
                    </a:lnTo>
                    <a:lnTo>
                      <a:pt x="15" y="457"/>
                    </a:lnTo>
                    <a:lnTo>
                      <a:pt x="24" y="445"/>
                    </a:lnTo>
                    <a:lnTo>
                      <a:pt x="34" y="431"/>
                    </a:lnTo>
                    <a:lnTo>
                      <a:pt x="45" y="418"/>
                    </a:lnTo>
                    <a:lnTo>
                      <a:pt x="60" y="406"/>
                    </a:lnTo>
                    <a:lnTo>
                      <a:pt x="75" y="395"/>
                    </a:lnTo>
                    <a:lnTo>
                      <a:pt x="92" y="382"/>
                    </a:lnTo>
                    <a:lnTo>
                      <a:pt x="111" y="370"/>
                    </a:lnTo>
                    <a:lnTo>
                      <a:pt x="131" y="358"/>
                    </a:lnTo>
                    <a:lnTo>
                      <a:pt x="154" y="346"/>
                    </a:lnTo>
                    <a:lnTo>
                      <a:pt x="178" y="334"/>
                    </a:lnTo>
                    <a:lnTo>
                      <a:pt x="204" y="322"/>
                    </a:lnTo>
                    <a:lnTo>
                      <a:pt x="231" y="311"/>
                    </a:lnTo>
                    <a:lnTo>
                      <a:pt x="290" y="288"/>
                    </a:lnTo>
                    <a:lnTo>
                      <a:pt x="355" y="267"/>
                    </a:lnTo>
                    <a:lnTo>
                      <a:pt x="426" y="246"/>
                    </a:lnTo>
                    <a:lnTo>
                      <a:pt x="502" y="224"/>
                    </a:lnTo>
                    <a:lnTo>
                      <a:pt x="585" y="204"/>
                    </a:lnTo>
                    <a:lnTo>
                      <a:pt x="672" y="185"/>
                    </a:lnTo>
                    <a:lnTo>
                      <a:pt x="765" y="167"/>
                    </a:lnTo>
                    <a:lnTo>
                      <a:pt x="861" y="149"/>
                    </a:lnTo>
                    <a:lnTo>
                      <a:pt x="964" y="133"/>
                    </a:lnTo>
                    <a:lnTo>
                      <a:pt x="1070" y="117"/>
                    </a:lnTo>
                    <a:lnTo>
                      <a:pt x="1182" y="102"/>
                    </a:lnTo>
                    <a:lnTo>
                      <a:pt x="1297" y="88"/>
                    </a:lnTo>
                    <a:lnTo>
                      <a:pt x="1417" y="74"/>
                    </a:lnTo>
                    <a:lnTo>
                      <a:pt x="1540" y="61"/>
                    </a:lnTo>
                    <a:lnTo>
                      <a:pt x="1668" y="50"/>
                    </a:lnTo>
                    <a:lnTo>
                      <a:pt x="1798" y="40"/>
                    </a:lnTo>
                    <a:lnTo>
                      <a:pt x="1932" y="31"/>
                    </a:lnTo>
                    <a:lnTo>
                      <a:pt x="2069" y="23"/>
                    </a:lnTo>
                    <a:lnTo>
                      <a:pt x="2208" y="16"/>
                    </a:lnTo>
                    <a:lnTo>
                      <a:pt x="2350" y="10"/>
                    </a:lnTo>
                    <a:lnTo>
                      <a:pt x="2496" y="6"/>
                    </a:lnTo>
                    <a:lnTo>
                      <a:pt x="2643" y="3"/>
                    </a:lnTo>
                    <a:lnTo>
                      <a:pt x="2792" y="1"/>
                    </a:lnTo>
                    <a:lnTo>
                      <a:pt x="2944" y="0"/>
                    </a:lnTo>
                    <a:lnTo>
                      <a:pt x="2944" y="0"/>
                    </a:lnTo>
                    <a:lnTo>
                      <a:pt x="3096" y="1"/>
                    </a:lnTo>
                    <a:lnTo>
                      <a:pt x="3246" y="3"/>
                    </a:lnTo>
                    <a:lnTo>
                      <a:pt x="3392" y="6"/>
                    </a:lnTo>
                    <a:lnTo>
                      <a:pt x="3538" y="10"/>
                    </a:lnTo>
                    <a:lnTo>
                      <a:pt x="3680" y="16"/>
                    </a:lnTo>
                    <a:lnTo>
                      <a:pt x="3819" y="23"/>
                    </a:lnTo>
                    <a:lnTo>
                      <a:pt x="3957" y="31"/>
                    </a:lnTo>
                    <a:lnTo>
                      <a:pt x="4090" y="40"/>
                    </a:lnTo>
                    <a:lnTo>
                      <a:pt x="4221" y="50"/>
                    </a:lnTo>
                    <a:lnTo>
                      <a:pt x="4348" y="61"/>
                    </a:lnTo>
                    <a:lnTo>
                      <a:pt x="4471" y="74"/>
                    </a:lnTo>
                    <a:lnTo>
                      <a:pt x="4591" y="88"/>
                    </a:lnTo>
                    <a:lnTo>
                      <a:pt x="4706" y="102"/>
                    </a:lnTo>
                    <a:lnTo>
                      <a:pt x="4818" y="117"/>
                    </a:lnTo>
                    <a:lnTo>
                      <a:pt x="4924" y="133"/>
                    </a:lnTo>
                    <a:lnTo>
                      <a:pt x="5027" y="149"/>
                    </a:lnTo>
                    <a:lnTo>
                      <a:pt x="5124" y="167"/>
                    </a:lnTo>
                    <a:lnTo>
                      <a:pt x="5217" y="185"/>
                    </a:lnTo>
                    <a:lnTo>
                      <a:pt x="5303" y="204"/>
                    </a:lnTo>
                    <a:lnTo>
                      <a:pt x="5386" y="224"/>
                    </a:lnTo>
                    <a:lnTo>
                      <a:pt x="5462" y="246"/>
                    </a:lnTo>
                    <a:lnTo>
                      <a:pt x="5534" y="267"/>
                    </a:lnTo>
                    <a:lnTo>
                      <a:pt x="5599" y="288"/>
                    </a:lnTo>
                    <a:lnTo>
                      <a:pt x="5658" y="311"/>
                    </a:lnTo>
                    <a:lnTo>
                      <a:pt x="5684" y="322"/>
                    </a:lnTo>
                    <a:lnTo>
                      <a:pt x="5710" y="334"/>
                    </a:lnTo>
                    <a:lnTo>
                      <a:pt x="5734" y="346"/>
                    </a:lnTo>
                    <a:lnTo>
                      <a:pt x="5757" y="358"/>
                    </a:lnTo>
                    <a:lnTo>
                      <a:pt x="5777" y="370"/>
                    </a:lnTo>
                    <a:lnTo>
                      <a:pt x="5796" y="382"/>
                    </a:lnTo>
                    <a:lnTo>
                      <a:pt x="5813" y="395"/>
                    </a:lnTo>
                    <a:lnTo>
                      <a:pt x="5829" y="406"/>
                    </a:lnTo>
                    <a:lnTo>
                      <a:pt x="5843" y="418"/>
                    </a:lnTo>
                    <a:lnTo>
                      <a:pt x="5854" y="431"/>
                    </a:lnTo>
                    <a:lnTo>
                      <a:pt x="5866" y="445"/>
                    </a:lnTo>
                    <a:lnTo>
                      <a:pt x="5873" y="457"/>
                    </a:lnTo>
                    <a:lnTo>
                      <a:pt x="5881" y="470"/>
                    </a:lnTo>
                    <a:lnTo>
                      <a:pt x="5885" y="482"/>
                    </a:lnTo>
                    <a:lnTo>
                      <a:pt x="5888" y="496"/>
                    </a:lnTo>
                    <a:lnTo>
                      <a:pt x="5888" y="509"/>
                    </a:lnTo>
                    <a:lnTo>
                      <a:pt x="5888" y="509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tx2">
                        <a:lumMod val="50000"/>
                      </a:schemeClr>
                    </a:gs>
                    <a:gs pos="50000">
                      <a:srgbClr val="FFFFFF">
                        <a:alpha val="0"/>
                      </a:srgbClr>
                    </a:gs>
                  </a:gsLst>
                  <a:lin ang="16200000" scaled="0"/>
                  <a:tileRect/>
                </a:gra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  <p:grpSp>
          <p:nvGrpSpPr>
            <p:cNvPr id="38" name="Group 83" title="Sound waves">
              <a:extLst>
                <a:ext uri="{FF2B5EF4-FFF2-40B4-BE49-F238E27FC236}">
                  <a16:creationId xmlns:a16="http://schemas.microsoft.com/office/drawing/2014/main" xmlns="" id="{9EC39944-F5AA-6A42-AFC3-C32E0AA94784}"/>
                </a:ext>
              </a:extLst>
            </p:cNvPr>
            <p:cNvGrpSpPr/>
            <p:nvPr/>
          </p:nvGrpSpPr>
          <p:grpSpPr>
            <a:xfrm>
              <a:off x="8154988" y="304800"/>
              <a:ext cx="3657598" cy="5429250"/>
              <a:chOff x="4194176" y="1588"/>
              <a:chExt cx="2087562" cy="3714750"/>
            </a:xfrm>
          </p:grpSpPr>
          <p:sp>
            <p:nvSpPr>
              <p:cNvPr id="39" name="Freeform 31">
                <a:extLst>
                  <a:ext uri="{FF2B5EF4-FFF2-40B4-BE49-F238E27FC236}">
                    <a16:creationId xmlns:a16="http://schemas.microsoft.com/office/drawing/2014/main" xmlns="" id="{386787D5-D3C9-A643-840E-B29E3B092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176" y="1576388"/>
                <a:ext cx="120650" cy="5635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2" y="1"/>
                  </a:cxn>
                  <a:cxn ang="0">
                    <a:pos x="23" y="2"/>
                  </a:cxn>
                  <a:cxn ang="0">
                    <a:pos x="35" y="6"/>
                  </a:cxn>
                  <a:cxn ang="0">
                    <a:pos x="47" y="11"/>
                  </a:cxn>
                  <a:cxn ang="0">
                    <a:pos x="57" y="17"/>
                  </a:cxn>
                  <a:cxn ang="0">
                    <a:pos x="68" y="23"/>
                  </a:cxn>
                  <a:cxn ang="0">
                    <a:pos x="78" y="32"/>
                  </a:cxn>
                  <a:cxn ang="0">
                    <a:pos x="89" y="41"/>
                  </a:cxn>
                  <a:cxn ang="0">
                    <a:pos x="100" y="52"/>
                  </a:cxn>
                  <a:cxn ang="0">
                    <a:pos x="109" y="65"/>
                  </a:cxn>
                  <a:cxn ang="0">
                    <a:pos x="119" y="77"/>
                  </a:cxn>
                  <a:cxn ang="0">
                    <a:pos x="128" y="91"/>
                  </a:cxn>
                  <a:cxn ang="0">
                    <a:pos x="137" y="106"/>
                  </a:cxn>
                  <a:cxn ang="0">
                    <a:pos x="145" y="122"/>
                  </a:cxn>
                  <a:cxn ang="0">
                    <a:pos x="154" y="138"/>
                  </a:cxn>
                  <a:cxn ang="0">
                    <a:pos x="161" y="156"/>
                  </a:cxn>
                  <a:cxn ang="0">
                    <a:pos x="169" y="175"/>
                  </a:cxn>
                  <a:cxn ang="0">
                    <a:pos x="176" y="194"/>
                  </a:cxn>
                  <a:cxn ang="0">
                    <a:pos x="190" y="235"/>
                  </a:cxn>
                  <a:cxn ang="0">
                    <a:pos x="200" y="279"/>
                  </a:cxn>
                  <a:cxn ang="0">
                    <a:pos x="210" y="325"/>
                  </a:cxn>
                  <a:cxn ang="0">
                    <a:pos x="218" y="374"/>
                  </a:cxn>
                  <a:cxn ang="0">
                    <a:pos x="224" y="425"/>
                  </a:cxn>
                  <a:cxn ang="0">
                    <a:pos x="227" y="478"/>
                  </a:cxn>
                  <a:cxn ang="0">
                    <a:pos x="228" y="533"/>
                  </a:cxn>
                  <a:cxn ang="0">
                    <a:pos x="228" y="533"/>
                  </a:cxn>
                  <a:cxn ang="0">
                    <a:pos x="227" y="587"/>
                  </a:cxn>
                  <a:cxn ang="0">
                    <a:pos x="224" y="640"/>
                  </a:cxn>
                  <a:cxn ang="0">
                    <a:pos x="218" y="691"/>
                  </a:cxn>
                  <a:cxn ang="0">
                    <a:pos x="210" y="740"/>
                  </a:cxn>
                  <a:cxn ang="0">
                    <a:pos x="200" y="787"/>
                  </a:cxn>
                  <a:cxn ang="0">
                    <a:pos x="190" y="831"/>
                  </a:cxn>
                  <a:cxn ang="0">
                    <a:pos x="176" y="871"/>
                  </a:cxn>
                  <a:cxn ang="0">
                    <a:pos x="169" y="892"/>
                  </a:cxn>
                  <a:cxn ang="0">
                    <a:pos x="161" y="910"/>
                  </a:cxn>
                  <a:cxn ang="0">
                    <a:pos x="154" y="928"/>
                  </a:cxn>
                  <a:cxn ang="0">
                    <a:pos x="145" y="945"/>
                  </a:cxn>
                  <a:cxn ang="0">
                    <a:pos x="137" y="959"/>
                  </a:cxn>
                  <a:cxn ang="0">
                    <a:pos x="128" y="974"/>
                  </a:cxn>
                  <a:cxn ang="0">
                    <a:pos x="119" y="989"/>
                  </a:cxn>
                  <a:cxn ang="0">
                    <a:pos x="109" y="1002"/>
                  </a:cxn>
                  <a:cxn ang="0">
                    <a:pos x="100" y="1013"/>
                  </a:cxn>
                  <a:cxn ang="0">
                    <a:pos x="89" y="1024"/>
                  </a:cxn>
                  <a:cxn ang="0">
                    <a:pos x="78" y="1034"/>
                  </a:cxn>
                  <a:cxn ang="0">
                    <a:pos x="68" y="1042"/>
                  </a:cxn>
                  <a:cxn ang="0">
                    <a:pos x="57" y="1050"/>
                  </a:cxn>
                  <a:cxn ang="0">
                    <a:pos x="47" y="1055"/>
                  </a:cxn>
                  <a:cxn ang="0">
                    <a:pos x="35" y="1060"/>
                  </a:cxn>
                  <a:cxn ang="0">
                    <a:pos x="23" y="1063"/>
                  </a:cxn>
                  <a:cxn ang="0">
                    <a:pos x="12" y="1065"/>
                  </a:cxn>
                  <a:cxn ang="0">
                    <a:pos x="0" y="1065"/>
                  </a:cxn>
                </a:cxnLst>
                <a:rect l="0" t="0" r="r" b="b"/>
                <a:pathLst>
                  <a:path w="228" h="1065">
                    <a:moveTo>
                      <a:pt x="0" y="0"/>
                    </a:moveTo>
                    <a:lnTo>
                      <a:pt x="0" y="0"/>
                    </a:lnTo>
                    <a:lnTo>
                      <a:pt x="12" y="1"/>
                    </a:lnTo>
                    <a:lnTo>
                      <a:pt x="23" y="2"/>
                    </a:lnTo>
                    <a:lnTo>
                      <a:pt x="35" y="6"/>
                    </a:lnTo>
                    <a:lnTo>
                      <a:pt x="47" y="11"/>
                    </a:lnTo>
                    <a:lnTo>
                      <a:pt x="57" y="17"/>
                    </a:lnTo>
                    <a:lnTo>
                      <a:pt x="68" y="23"/>
                    </a:lnTo>
                    <a:lnTo>
                      <a:pt x="78" y="32"/>
                    </a:lnTo>
                    <a:lnTo>
                      <a:pt x="89" y="41"/>
                    </a:lnTo>
                    <a:lnTo>
                      <a:pt x="100" y="52"/>
                    </a:lnTo>
                    <a:lnTo>
                      <a:pt x="109" y="65"/>
                    </a:lnTo>
                    <a:lnTo>
                      <a:pt x="119" y="77"/>
                    </a:lnTo>
                    <a:lnTo>
                      <a:pt x="128" y="91"/>
                    </a:lnTo>
                    <a:lnTo>
                      <a:pt x="137" y="106"/>
                    </a:lnTo>
                    <a:lnTo>
                      <a:pt x="145" y="122"/>
                    </a:lnTo>
                    <a:lnTo>
                      <a:pt x="154" y="138"/>
                    </a:lnTo>
                    <a:lnTo>
                      <a:pt x="161" y="156"/>
                    </a:lnTo>
                    <a:lnTo>
                      <a:pt x="169" y="175"/>
                    </a:lnTo>
                    <a:lnTo>
                      <a:pt x="176" y="194"/>
                    </a:lnTo>
                    <a:lnTo>
                      <a:pt x="190" y="235"/>
                    </a:lnTo>
                    <a:lnTo>
                      <a:pt x="200" y="279"/>
                    </a:lnTo>
                    <a:lnTo>
                      <a:pt x="210" y="325"/>
                    </a:lnTo>
                    <a:lnTo>
                      <a:pt x="218" y="374"/>
                    </a:lnTo>
                    <a:lnTo>
                      <a:pt x="224" y="425"/>
                    </a:lnTo>
                    <a:lnTo>
                      <a:pt x="227" y="478"/>
                    </a:lnTo>
                    <a:lnTo>
                      <a:pt x="228" y="533"/>
                    </a:lnTo>
                    <a:lnTo>
                      <a:pt x="228" y="533"/>
                    </a:lnTo>
                    <a:lnTo>
                      <a:pt x="227" y="587"/>
                    </a:lnTo>
                    <a:lnTo>
                      <a:pt x="224" y="640"/>
                    </a:lnTo>
                    <a:lnTo>
                      <a:pt x="218" y="691"/>
                    </a:lnTo>
                    <a:lnTo>
                      <a:pt x="210" y="740"/>
                    </a:lnTo>
                    <a:lnTo>
                      <a:pt x="200" y="787"/>
                    </a:lnTo>
                    <a:lnTo>
                      <a:pt x="190" y="831"/>
                    </a:lnTo>
                    <a:lnTo>
                      <a:pt x="176" y="871"/>
                    </a:lnTo>
                    <a:lnTo>
                      <a:pt x="169" y="892"/>
                    </a:lnTo>
                    <a:lnTo>
                      <a:pt x="161" y="910"/>
                    </a:lnTo>
                    <a:lnTo>
                      <a:pt x="154" y="928"/>
                    </a:lnTo>
                    <a:lnTo>
                      <a:pt x="145" y="945"/>
                    </a:lnTo>
                    <a:lnTo>
                      <a:pt x="137" y="959"/>
                    </a:lnTo>
                    <a:lnTo>
                      <a:pt x="128" y="974"/>
                    </a:lnTo>
                    <a:lnTo>
                      <a:pt x="119" y="989"/>
                    </a:lnTo>
                    <a:lnTo>
                      <a:pt x="109" y="1002"/>
                    </a:lnTo>
                    <a:lnTo>
                      <a:pt x="100" y="1013"/>
                    </a:lnTo>
                    <a:lnTo>
                      <a:pt x="89" y="1024"/>
                    </a:lnTo>
                    <a:lnTo>
                      <a:pt x="78" y="1034"/>
                    </a:lnTo>
                    <a:lnTo>
                      <a:pt x="68" y="1042"/>
                    </a:lnTo>
                    <a:lnTo>
                      <a:pt x="57" y="1050"/>
                    </a:lnTo>
                    <a:lnTo>
                      <a:pt x="47" y="1055"/>
                    </a:lnTo>
                    <a:lnTo>
                      <a:pt x="35" y="1060"/>
                    </a:lnTo>
                    <a:lnTo>
                      <a:pt x="23" y="1063"/>
                    </a:lnTo>
                    <a:lnTo>
                      <a:pt x="12" y="1065"/>
                    </a:lnTo>
                    <a:lnTo>
                      <a:pt x="0" y="1065"/>
                    </a:lnTo>
                  </a:path>
                </a:pathLst>
              </a:custGeom>
              <a:noFill/>
              <a:ln w="57150" cap="flat" cmpd="sng" algn="ctr">
                <a:gradFill flip="none" rotWithShape="1">
                  <a:gsLst>
                    <a:gs pos="5000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bg1">
                        <a:alpha val="10000"/>
                      </a:schemeClr>
                    </a:gs>
                    <a:gs pos="76000">
                      <a:schemeClr val="accent6">
                        <a:lumMod val="20000"/>
                        <a:lumOff val="80000"/>
                      </a:schemeClr>
                    </a:gs>
                    <a:gs pos="23000">
                      <a:schemeClr val="accent6">
                        <a:lumMod val="20000"/>
                        <a:lumOff val="80000"/>
                      </a:schemeClr>
                    </a:gs>
                    <a:gs pos="0">
                      <a:schemeClr val="bg1">
                        <a:alpha val="10000"/>
                      </a:schemeClr>
                    </a:gs>
                  </a:gsLst>
                  <a:lin ang="54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32">
                <a:extLst>
                  <a:ext uri="{FF2B5EF4-FFF2-40B4-BE49-F238E27FC236}">
                    <a16:creationId xmlns:a16="http://schemas.microsoft.com/office/drawing/2014/main" xmlns="" id="{3448959E-1D93-1643-BF0B-B940DDC79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0075" y="1314450"/>
                <a:ext cx="233363" cy="10890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" y="1"/>
                  </a:cxn>
                  <a:cxn ang="0">
                    <a:pos x="45" y="5"/>
                  </a:cxn>
                  <a:cxn ang="0">
                    <a:pos x="88" y="20"/>
                  </a:cxn>
                  <a:cxn ang="0">
                    <a:pos x="131" y="45"/>
                  </a:cxn>
                  <a:cxn ang="0">
                    <a:pos x="171" y="80"/>
                  </a:cxn>
                  <a:cxn ang="0">
                    <a:pos x="210" y="124"/>
                  </a:cxn>
                  <a:cxn ang="0">
                    <a:pos x="246" y="176"/>
                  </a:cxn>
                  <a:cxn ang="0">
                    <a:pos x="280" y="234"/>
                  </a:cxn>
                  <a:cxn ang="0">
                    <a:pos x="311" y="301"/>
                  </a:cxn>
                  <a:cxn ang="0">
                    <a:pos x="339" y="374"/>
                  </a:cxn>
                  <a:cxn ang="0">
                    <a:pos x="365" y="454"/>
                  </a:cxn>
                  <a:cxn ang="0">
                    <a:pos x="387" y="538"/>
                  </a:cxn>
                  <a:cxn ang="0">
                    <a:pos x="405" y="629"/>
                  </a:cxn>
                  <a:cxn ang="0">
                    <a:pos x="420" y="723"/>
                  </a:cxn>
                  <a:cxn ang="0">
                    <a:pos x="431" y="821"/>
                  </a:cxn>
                  <a:cxn ang="0">
                    <a:pos x="438" y="923"/>
                  </a:cxn>
                  <a:cxn ang="0">
                    <a:pos x="440" y="1029"/>
                  </a:cxn>
                  <a:cxn ang="0">
                    <a:pos x="439" y="1082"/>
                  </a:cxn>
                  <a:cxn ang="0">
                    <a:pos x="435" y="1185"/>
                  </a:cxn>
                  <a:cxn ang="0">
                    <a:pos x="426" y="1286"/>
                  </a:cxn>
                  <a:cxn ang="0">
                    <a:pos x="414" y="1382"/>
                  </a:cxn>
                  <a:cxn ang="0">
                    <a:pos x="397" y="1476"/>
                  </a:cxn>
                  <a:cxn ang="0">
                    <a:pos x="376" y="1562"/>
                  </a:cxn>
                  <a:cxn ang="0">
                    <a:pos x="352" y="1645"/>
                  </a:cxn>
                  <a:cxn ang="0">
                    <a:pos x="326" y="1720"/>
                  </a:cxn>
                  <a:cxn ang="0">
                    <a:pos x="296" y="1790"/>
                  </a:cxn>
                  <a:cxn ang="0">
                    <a:pos x="263" y="1854"/>
                  </a:cxn>
                  <a:cxn ang="0">
                    <a:pos x="228" y="1909"/>
                  </a:cxn>
                  <a:cxn ang="0">
                    <a:pos x="191" y="1957"/>
                  </a:cxn>
                  <a:cxn ang="0">
                    <a:pos x="152" y="1996"/>
                  </a:cxn>
                  <a:cxn ang="0">
                    <a:pos x="110" y="2026"/>
                  </a:cxn>
                  <a:cxn ang="0">
                    <a:pos x="67" y="2046"/>
                  </a:cxn>
                  <a:cxn ang="0">
                    <a:pos x="34" y="2055"/>
                  </a:cxn>
                  <a:cxn ang="0">
                    <a:pos x="12" y="2058"/>
                  </a:cxn>
                </a:cxnLst>
                <a:rect l="0" t="0" r="r" b="b"/>
                <a:pathLst>
                  <a:path w="440" h="2058">
                    <a:moveTo>
                      <a:pt x="0" y="0"/>
                    </a:moveTo>
                    <a:lnTo>
                      <a:pt x="0" y="0"/>
                    </a:lnTo>
                    <a:lnTo>
                      <a:pt x="12" y="0"/>
                    </a:lnTo>
                    <a:lnTo>
                      <a:pt x="22" y="1"/>
                    </a:lnTo>
                    <a:lnTo>
                      <a:pt x="34" y="3"/>
                    </a:lnTo>
                    <a:lnTo>
                      <a:pt x="45" y="5"/>
                    </a:lnTo>
                    <a:lnTo>
                      <a:pt x="67" y="12"/>
                    </a:lnTo>
                    <a:lnTo>
                      <a:pt x="88" y="20"/>
                    </a:lnTo>
                    <a:lnTo>
                      <a:pt x="110" y="32"/>
                    </a:lnTo>
                    <a:lnTo>
                      <a:pt x="131" y="45"/>
                    </a:lnTo>
                    <a:lnTo>
                      <a:pt x="152" y="62"/>
                    </a:lnTo>
                    <a:lnTo>
                      <a:pt x="171" y="80"/>
                    </a:lnTo>
                    <a:lnTo>
                      <a:pt x="191" y="101"/>
                    </a:lnTo>
                    <a:lnTo>
                      <a:pt x="210" y="124"/>
                    </a:lnTo>
                    <a:lnTo>
                      <a:pt x="228" y="148"/>
                    </a:lnTo>
                    <a:lnTo>
                      <a:pt x="246" y="176"/>
                    </a:lnTo>
                    <a:lnTo>
                      <a:pt x="263" y="204"/>
                    </a:lnTo>
                    <a:lnTo>
                      <a:pt x="280" y="234"/>
                    </a:lnTo>
                    <a:lnTo>
                      <a:pt x="296" y="267"/>
                    </a:lnTo>
                    <a:lnTo>
                      <a:pt x="311" y="301"/>
                    </a:lnTo>
                    <a:lnTo>
                      <a:pt x="326" y="337"/>
                    </a:lnTo>
                    <a:lnTo>
                      <a:pt x="339" y="374"/>
                    </a:lnTo>
                    <a:lnTo>
                      <a:pt x="352" y="413"/>
                    </a:lnTo>
                    <a:lnTo>
                      <a:pt x="365" y="454"/>
                    </a:lnTo>
                    <a:lnTo>
                      <a:pt x="376" y="495"/>
                    </a:lnTo>
                    <a:lnTo>
                      <a:pt x="387" y="538"/>
                    </a:lnTo>
                    <a:lnTo>
                      <a:pt x="397" y="583"/>
                    </a:lnTo>
                    <a:lnTo>
                      <a:pt x="405" y="629"/>
                    </a:lnTo>
                    <a:lnTo>
                      <a:pt x="414" y="675"/>
                    </a:lnTo>
                    <a:lnTo>
                      <a:pt x="420" y="723"/>
                    </a:lnTo>
                    <a:lnTo>
                      <a:pt x="426" y="772"/>
                    </a:lnTo>
                    <a:lnTo>
                      <a:pt x="431" y="821"/>
                    </a:lnTo>
                    <a:lnTo>
                      <a:pt x="435" y="872"/>
                    </a:lnTo>
                    <a:lnTo>
                      <a:pt x="438" y="923"/>
                    </a:lnTo>
                    <a:lnTo>
                      <a:pt x="439" y="976"/>
                    </a:lnTo>
                    <a:lnTo>
                      <a:pt x="440" y="1029"/>
                    </a:lnTo>
                    <a:lnTo>
                      <a:pt x="440" y="1029"/>
                    </a:lnTo>
                    <a:lnTo>
                      <a:pt x="439" y="1082"/>
                    </a:lnTo>
                    <a:lnTo>
                      <a:pt x="438" y="1134"/>
                    </a:lnTo>
                    <a:lnTo>
                      <a:pt x="435" y="1185"/>
                    </a:lnTo>
                    <a:lnTo>
                      <a:pt x="431" y="1236"/>
                    </a:lnTo>
                    <a:lnTo>
                      <a:pt x="426" y="1286"/>
                    </a:lnTo>
                    <a:lnTo>
                      <a:pt x="420" y="1335"/>
                    </a:lnTo>
                    <a:lnTo>
                      <a:pt x="414" y="1382"/>
                    </a:lnTo>
                    <a:lnTo>
                      <a:pt x="405" y="1430"/>
                    </a:lnTo>
                    <a:lnTo>
                      <a:pt x="397" y="1476"/>
                    </a:lnTo>
                    <a:lnTo>
                      <a:pt x="387" y="1519"/>
                    </a:lnTo>
                    <a:lnTo>
                      <a:pt x="376" y="1562"/>
                    </a:lnTo>
                    <a:lnTo>
                      <a:pt x="365" y="1604"/>
                    </a:lnTo>
                    <a:lnTo>
                      <a:pt x="352" y="1645"/>
                    </a:lnTo>
                    <a:lnTo>
                      <a:pt x="339" y="1683"/>
                    </a:lnTo>
                    <a:lnTo>
                      <a:pt x="326" y="1720"/>
                    </a:lnTo>
                    <a:lnTo>
                      <a:pt x="311" y="1756"/>
                    </a:lnTo>
                    <a:lnTo>
                      <a:pt x="296" y="1790"/>
                    </a:lnTo>
                    <a:lnTo>
                      <a:pt x="280" y="1823"/>
                    </a:lnTo>
                    <a:lnTo>
                      <a:pt x="263" y="1854"/>
                    </a:lnTo>
                    <a:lnTo>
                      <a:pt x="246" y="1883"/>
                    </a:lnTo>
                    <a:lnTo>
                      <a:pt x="228" y="1909"/>
                    </a:lnTo>
                    <a:lnTo>
                      <a:pt x="210" y="1934"/>
                    </a:lnTo>
                    <a:lnTo>
                      <a:pt x="191" y="1957"/>
                    </a:lnTo>
                    <a:lnTo>
                      <a:pt x="171" y="1977"/>
                    </a:lnTo>
                    <a:lnTo>
                      <a:pt x="152" y="1996"/>
                    </a:lnTo>
                    <a:lnTo>
                      <a:pt x="131" y="2012"/>
                    </a:lnTo>
                    <a:lnTo>
                      <a:pt x="110" y="2026"/>
                    </a:lnTo>
                    <a:lnTo>
                      <a:pt x="88" y="2037"/>
                    </a:lnTo>
                    <a:lnTo>
                      <a:pt x="67" y="2046"/>
                    </a:lnTo>
                    <a:lnTo>
                      <a:pt x="45" y="2052"/>
                    </a:lnTo>
                    <a:lnTo>
                      <a:pt x="34" y="2055"/>
                    </a:lnTo>
                    <a:lnTo>
                      <a:pt x="22" y="2057"/>
                    </a:lnTo>
                    <a:lnTo>
                      <a:pt x="12" y="2058"/>
                    </a:lnTo>
                    <a:lnTo>
                      <a:pt x="0" y="2058"/>
                    </a:lnTo>
                  </a:path>
                </a:pathLst>
              </a:custGeom>
              <a:noFill/>
              <a:ln w="57150" cap="flat" cmpd="sng" algn="ctr">
                <a:gradFill flip="none" rotWithShape="1">
                  <a:gsLst>
                    <a:gs pos="5000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bg1">
                        <a:alpha val="10000"/>
                      </a:schemeClr>
                    </a:gs>
                    <a:gs pos="76000">
                      <a:schemeClr val="accent6">
                        <a:lumMod val="20000"/>
                        <a:lumOff val="80000"/>
                      </a:schemeClr>
                    </a:gs>
                    <a:gs pos="23000">
                      <a:schemeClr val="accent6">
                        <a:lumMod val="20000"/>
                        <a:lumOff val="80000"/>
                      </a:schemeClr>
                    </a:gs>
                    <a:gs pos="0">
                      <a:schemeClr val="bg1">
                        <a:alpha val="10000"/>
                      </a:schemeClr>
                    </a:gs>
                  </a:gsLst>
                  <a:lin ang="54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33">
                <a:extLst>
                  <a:ext uri="{FF2B5EF4-FFF2-40B4-BE49-F238E27FC236}">
                    <a16:creationId xmlns:a16="http://schemas.microsoft.com/office/drawing/2014/main" xmlns="" id="{E7E31238-E1F0-EF43-9306-49C35C9ED3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5975" y="1052513"/>
                <a:ext cx="344488" cy="1614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4" y="1"/>
                  </a:cxn>
                  <a:cxn ang="0">
                    <a:pos x="67" y="7"/>
                  </a:cxn>
                  <a:cxn ang="0">
                    <a:pos x="100" y="17"/>
                  </a:cxn>
                  <a:cxn ang="0">
                    <a:pos x="132" y="30"/>
                  </a:cxn>
                  <a:cxn ang="0">
                    <a:pos x="163" y="47"/>
                  </a:cxn>
                  <a:cxn ang="0">
                    <a:pos x="194" y="68"/>
                  </a:cxn>
                  <a:cxn ang="0">
                    <a:pos x="225" y="92"/>
                  </a:cxn>
                  <a:cxn ang="0">
                    <a:pos x="255" y="120"/>
                  </a:cxn>
                  <a:cxn ang="0">
                    <a:pos x="283" y="150"/>
                  </a:cxn>
                  <a:cxn ang="0">
                    <a:pos x="311" y="183"/>
                  </a:cxn>
                  <a:cxn ang="0">
                    <a:pos x="365" y="259"/>
                  </a:cxn>
                  <a:cxn ang="0">
                    <a:pos x="415" y="347"/>
                  </a:cxn>
                  <a:cxn ang="0">
                    <a:pos x="461" y="446"/>
                  </a:cxn>
                  <a:cxn ang="0">
                    <a:pos x="504" y="554"/>
                  </a:cxn>
                  <a:cxn ang="0">
                    <a:pos x="541" y="672"/>
                  </a:cxn>
                  <a:cxn ang="0">
                    <a:pos x="574" y="798"/>
                  </a:cxn>
                  <a:cxn ang="0">
                    <a:pos x="601" y="931"/>
                  </a:cxn>
                  <a:cxn ang="0">
                    <a:pos x="624" y="1072"/>
                  </a:cxn>
                  <a:cxn ang="0">
                    <a:pos x="639" y="1218"/>
                  </a:cxn>
                  <a:cxn ang="0">
                    <a:pos x="649" y="1368"/>
                  </a:cxn>
                  <a:cxn ang="0">
                    <a:pos x="652" y="1525"/>
                  </a:cxn>
                  <a:cxn ang="0">
                    <a:pos x="651" y="1604"/>
                  </a:cxn>
                  <a:cxn ang="0">
                    <a:pos x="645" y="1757"/>
                  </a:cxn>
                  <a:cxn ang="0">
                    <a:pos x="632" y="1906"/>
                  </a:cxn>
                  <a:cxn ang="0">
                    <a:pos x="613" y="2049"/>
                  </a:cxn>
                  <a:cxn ang="0">
                    <a:pos x="589" y="2186"/>
                  </a:cxn>
                  <a:cxn ang="0">
                    <a:pos x="558" y="2316"/>
                  </a:cxn>
                  <a:cxn ang="0">
                    <a:pos x="523" y="2438"/>
                  </a:cxn>
                  <a:cxn ang="0">
                    <a:pos x="484" y="2550"/>
                  </a:cxn>
                  <a:cxn ang="0">
                    <a:pos x="439" y="2654"/>
                  </a:cxn>
                  <a:cxn ang="0">
                    <a:pos x="390" y="2748"/>
                  </a:cxn>
                  <a:cxn ang="0">
                    <a:pos x="338" y="2829"/>
                  </a:cxn>
                  <a:cxn ang="0">
                    <a:pos x="297" y="2883"/>
                  </a:cxn>
                  <a:cxn ang="0">
                    <a:pos x="268" y="2916"/>
                  </a:cxn>
                  <a:cxn ang="0">
                    <a:pos x="240" y="2945"/>
                  </a:cxn>
                  <a:cxn ang="0">
                    <a:pos x="210" y="2970"/>
                  </a:cxn>
                  <a:cxn ang="0">
                    <a:pos x="179" y="2992"/>
                  </a:cxn>
                  <a:cxn ang="0">
                    <a:pos x="148" y="3012"/>
                  </a:cxn>
                  <a:cxn ang="0">
                    <a:pos x="116" y="3026"/>
                  </a:cxn>
                  <a:cxn ang="0">
                    <a:pos x="84" y="3038"/>
                  </a:cxn>
                  <a:cxn ang="0">
                    <a:pos x="51" y="3045"/>
                  </a:cxn>
                  <a:cxn ang="0">
                    <a:pos x="17" y="3050"/>
                  </a:cxn>
                </a:cxnLst>
                <a:rect l="0" t="0" r="r" b="b"/>
                <a:pathLst>
                  <a:path w="652" h="3051">
                    <a:moveTo>
                      <a:pt x="0" y="0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34" y="1"/>
                    </a:lnTo>
                    <a:lnTo>
                      <a:pt x="51" y="4"/>
                    </a:lnTo>
                    <a:lnTo>
                      <a:pt x="67" y="7"/>
                    </a:lnTo>
                    <a:lnTo>
                      <a:pt x="84" y="11"/>
                    </a:lnTo>
                    <a:lnTo>
                      <a:pt x="100" y="17"/>
                    </a:lnTo>
                    <a:lnTo>
                      <a:pt x="116" y="23"/>
                    </a:lnTo>
                    <a:lnTo>
                      <a:pt x="132" y="30"/>
                    </a:lnTo>
                    <a:lnTo>
                      <a:pt x="148" y="38"/>
                    </a:lnTo>
                    <a:lnTo>
                      <a:pt x="163" y="47"/>
                    </a:lnTo>
                    <a:lnTo>
                      <a:pt x="179" y="57"/>
                    </a:lnTo>
                    <a:lnTo>
                      <a:pt x="194" y="68"/>
                    </a:lnTo>
                    <a:lnTo>
                      <a:pt x="210" y="79"/>
                    </a:lnTo>
                    <a:lnTo>
                      <a:pt x="225" y="92"/>
                    </a:lnTo>
                    <a:lnTo>
                      <a:pt x="240" y="105"/>
                    </a:lnTo>
                    <a:lnTo>
                      <a:pt x="255" y="120"/>
                    </a:lnTo>
                    <a:lnTo>
                      <a:pt x="268" y="134"/>
                    </a:lnTo>
                    <a:lnTo>
                      <a:pt x="283" y="150"/>
                    </a:lnTo>
                    <a:lnTo>
                      <a:pt x="297" y="166"/>
                    </a:lnTo>
                    <a:lnTo>
                      <a:pt x="311" y="183"/>
                    </a:lnTo>
                    <a:lnTo>
                      <a:pt x="338" y="220"/>
                    </a:lnTo>
                    <a:lnTo>
                      <a:pt x="365" y="259"/>
                    </a:lnTo>
                    <a:lnTo>
                      <a:pt x="390" y="302"/>
                    </a:lnTo>
                    <a:lnTo>
                      <a:pt x="415" y="347"/>
                    </a:lnTo>
                    <a:lnTo>
                      <a:pt x="439" y="395"/>
                    </a:lnTo>
                    <a:lnTo>
                      <a:pt x="461" y="446"/>
                    </a:lnTo>
                    <a:lnTo>
                      <a:pt x="484" y="499"/>
                    </a:lnTo>
                    <a:lnTo>
                      <a:pt x="504" y="554"/>
                    </a:lnTo>
                    <a:lnTo>
                      <a:pt x="523" y="612"/>
                    </a:lnTo>
                    <a:lnTo>
                      <a:pt x="541" y="672"/>
                    </a:lnTo>
                    <a:lnTo>
                      <a:pt x="558" y="733"/>
                    </a:lnTo>
                    <a:lnTo>
                      <a:pt x="574" y="798"/>
                    </a:lnTo>
                    <a:lnTo>
                      <a:pt x="589" y="864"/>
                    </a:lnTo>
                    <a:lnTo>
                      <a:pt x="601" y="931"/>
                    </a:lnTo>
                    <a:lnTo>
                      <a:pt x="613" y="1000"/>
                    </a:lnTo>
                    <a:lnTo>
                      <a:pt x="624" y="1072"/>
                    </a:lnTo>
                    <a:lnTo>
                      <a:pt x="632" y="1144"/>
                    </a:lnTo>
                    <a:lnTo>
                      <a:pt x="639" y="1218"/>
                    </a:lnTo>
                    <a:lnTo>
                      <a:pt x="645" y="1292"/>
                    </a:lnTo>
                    <a:lnTo>
                      <a:pt x="649" y="1368"/>
                    </a:lnTo>
                    <a:lnTo>
                      <a:pt x="651" y="1447"/>
                    </a:lnTo>
                    <a:lnTo>
                      <a:pt x="652" y="1525"/>
                    </a:lnTo>
                    <a:lnTo>
                      <a:pt x="652" y="1525"/>
                    </a:lnTo>
                    <a:lnTo>
                      <a:pt x="651" y="1604"/>
                    </a:lnTo>
                    <a:lnTo>
                      <a:pt x="649" y="1681"/>
                    </a:lnTo>
                    <a:lnTo>
                      <a:pt x="645" y="1757"/>
                    </a:lnTo>
                    <a:lnTo>
                      <a:pt x="639" y="1833"/>
                    </a:lnTo>
                    <a:lnTo>
                      <a:pt x="632" y="1906"/>
                    </a:lnTo>
                    <a:lnTo>
                      <a:pt x="624" y="1979"/>
                    </a:lnTo>
                    <a:lnTo>
                      <a:pt x="613" y="2049"/>
                    </a:lnTo>
                    <a:lnTo>
                      <a:pt x="601" y="2119"/>
                    </a:lnTo>
                    <a:lnTo>
                      <a:pt x="589" y="2186"/>
                    </a:lnTo>
                    <a:lnTo>
                      <a:pt x="574" y="2252"/>
                    </a:lnTo>
                    <a:lnTo>
                      <a:pt x="558" y="2316"/>
                    </a:lnTo>
                    <a:lnTo>
                      <a:pt x="541" y="2378"/>
                    </a:lnTo>
                    <a:lnTo>
                      <a:pt x="523" y="2438"/>
                    </a:lnTo>
                    <a:lnTo>
                      <a:pt x="504" y="2495"/>
                    </a:lnTo>
                    <a:lnTo>
                      <a:pt x="484" y="2550"/>
                    </a:lnTo>
                    <a:lnTo>
                      <a:pt x="461" y="2603"/>
                    </a:lnTo>
                    <a:lnTo>
                      <a:pt x="439" y="2654"/>
                    </a:lnTo>
                    <a:lnTo>
                      <a:pt x="415" y="2702"/>
                    </a:lnTo>
                    <a:lnTo>
                      <a:pt x="390" y="2748"/>
                    </a:lnTo>
                    <a:lnTo>
                      <a:pt x="365" y="2790"/>
                    </a:lnTo>
                    <a:lnTo>
                      <a:pt x="338" y="2829"/>
                    </a:lnTo>
                    <a:lnTo>
                      <a:pt x="311" y="2866"/>
                    </a:lnTo>
                    <a:lnTo>
                      <a:pt x="297" y="2883"/>
                    </a:lnTo>
                    <a:lnTo>
                      <a:pt x="283" y="2900"/>
                    </a:lnTo>
                    <a:lnTo>
                      <a:pt x="268" y="2916"/>
                    </a:lnTo>
                    <a:lnTo>
                      <a:pt x="255" y="2931"/>
                    </a:lnTo>
                    <a:lnTo>
                      <a:pt x="240" y="2945"/>
                    </a:lnTo>
                    <a:lnTo>
                      <a:pt x="225" y="2957"/>
                    </a:lnTo>
                    <a:lnTo>
                      <a:pt x="210" y="2970"/>
                    </a:lnTo>
                    <a:lnTo>
                      <a:pt x="194" y="2982"/>
                    </a:lnTo>
                    <a:lnTo>
                      <a:pt x="179" y="2992"/>
                    </a:lnTo>
                    <a:lnTo>
                      <a:pt x="163" y="3002"/>
                    </a:lnTo>
                    <a:lnTo>
                      <a:pt x="148" y="3012"/>
                    </a:lnTo>
                    <a:lnTo>
                      <a:pt x="132" y="3019"/>
                    </a:lnTo>
                    <a:lnTo>
                      <a:pt x="116" y="3026"/>
                    </a:lnTo>
                    <a:lnTo>
                      <a:pt x="100" y="3033"/>
                    </a:lnTo>
                    <a:lnTo>
                      <a:pt x="84" y="3038"/>
                    </a:lnTo>
                    <a:lnTo>
                      <a:pt x="67" y="3042"/>
                    </a:lnTo>
                    <a:lnTo>
                      <a:pt x="51" y="3045"/>
                    </a:lnTo>
                    <a:lnTo>
                      <a:pt x="34" y="3049"/>
                    </a:lnTo>
                    <a:lnTo>
                      <a:pt x="17" y="3050"/>
                    </a:lnTo>
                    <a:lnTo>
                      <a:pt x="0" y="3051"/>
                    </a:lnTo>
                  </a:path>
                </a:pathLst>
              </a:custGeom>
              <a:noFill/>
              <a:ln w="57150" cap="flat" cmpd="sng" algn="ctr">
                <a:gradFill flip="none" rotWithShape="1">
                  <a:gsLst>
                    <a:gs pos="5000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bg1">
                        <a:alpha val="10000"/>
                      </a:schemeClr>
                    </a:gs>
                    <a:gs pos="76000">
                      <a:schemeClr val="accent6">
                        <a:lumMod val="20000"/>
                        <a:lumOff val="80000"/>
                      </a:schemeClr>
                    </a:gs>
                    <a:gs pos="23000">
                      <a:schemeClr val="accent6">
                        <a:lumMod val="20000"/>
                        <a:lumOff val="80000"/>
                      </a:schemeClr>
                    </a:gs>
                    <a:gs pos="0">
                      <a:schemeClr val="bg1">
                        <a:alpha val="10000"/>
                      </a:schemeClr>
                    </a:gs>
                  </a:gsLst>
                  <a:lin ang="54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34">
                <a:extLst>
                  <a:ext uri="{FF2B5EF4-FFF2-40B4-BE49-F238E27FC236}">
                    <a16:creationId xmlns:a16="http://schemas.microsoft.com/office/drawing/2014/main" xmlns="" id="{D709833B-EE12-904E-B13D-09C863903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788988"/>
                <a:ext cx="457200" cy="2139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5" y="3"/>
                  </a:cxn>
                  <a:cxn ang="0">
                    <a:pos x="88" y="10"/>
                  </a:cxn>
                  <a:cxn ang="0">
                    <a:pos x="132" y="23"/>
                  </a:cxn>
                  <a:cxn ang="0">
                    <a:pos x="174" y="41"/>
                  </a:cxn>
                  <a:cxn ang="0">
                    <a:pos x="216" y="64"/>
                  </a:cxn>
                  <a:cxn ang="0">
                    <a:pos x="257" y="91"/>
                  </a:cxn>
                  <a:cxn ang="0">
                    <a:pos x="297" y="123"/>
                  </a:cxn>
                  <a:cxn ang="0">
                    <a:pos x="336" y="159"/>
                  </a:cxn>
                  <a:cxn ang="0">
                    <a:pos x="375" y="200"/>
                  </a:cxn>
                  <a:cxn ang="0">
                    <a:pos x="412" y="244"/>
                  </a:cxn>
                  <a:cxn ang="0">
                    <a:pos x="448" y="293"/>
                  </a:cxn>
                  <a:cxn ang="0">
                    <a:pos x="483" y="345"/>
                  </a:cxn>
                  <a:cxn ang="0">
                    <a:pos x="517" y="401"/>
                  </a:cxn>
                  <a:cxn ang="0">
                    <a:pos x="549" y="462"/>
                  </a:cxn>
                  <a:cxn ang="0">
                    <a:pos x="581" y="525"/>
                  </a:cxn>
                  <a:cxn ang="0">
                    <a:pos x="611" y="592"/>
                  </a:cxn>
                  <a:cxn ang="0">
                    <a:pos x="667" y="735"/>
                  </a:cxn>
                  <a:cxn ang="0">
                    <a:pos x="717" y="891"/>
                  </a:cxn>
                  <a:cxn ang="0">
                    <a:pos x="759" y="1059"/>
                  </a:cxn>
                  <a:cxn ang="0">
                    <a:pos x="796" y="1235"/>
                  </a:cxn>
                  <a:cxn ang="0">
                    <a:pos x="825" y="1420"/>
                  </a:cxn>
                  <a:cxn ang="0">
                    <a:pos x="846" y="1614"/>
                  </a:cxn>
                  <a:cxn ang="0">
                    <a:pos x="860" y="1816"/>
                  </a:cxn>
                  <a:cxn ang="0">
                    <a:pos x="864" y="2022"/>
                  </a:cxn>
                  <a:cxn ang="0">
                    <a:pos x="863" y="2126"/>
                  </a:cxn>
                  <a:cxn ang="0">
                    <a:pos x="854" y="2330"/>
                  </a:cxn>
                  <a:cxn ang="0">
                    <a:pos x="837" y="2527"/>
                  </a:cxn>
                  <a:cxn ang="0">
                    <a:pos x="811" y="2717"/>
                  </a:cxn>
                  <a:cxn ang="0">
                    <a:pos x="778" y="2898"/>
                  </a:cxn>
                  <a:cxn ang="0">
                    <a:pos x="739" y="3071"/>
                  </a:cxn>
                  <a:cxn ang="0">
                    <a:pos x="693" y="3232"/>
                  </a:cxn>
                  <a:cxn ang="0">
                    <a:pos x="640" y="3381"/>
                  </a:cxn>
                  <a:cxn ang="0">
                    <a:pos x="596" y="3485"/>
                  </a:cxn>
                  <a:cxn ang="0">
                    <a:pos x="565" y="3551"/>
                  </a:cxn>
                  <a:cxn ang="0">
                    <a:pos x="534" y="3612"/>
                  </a:cxn>
                  <a:cxn ang="0">
                    <a:pos x="501" y="3671"/>
                  </a:cxn>
                  <a:cxn ang="0">
                    <a:pos x="466" y="3725"/>
                  </a:cxn>
                  <a:cxn ang="0">
                    <a:pos x="430" y="3776"/>
                  </a:cxn>
                  <a:cxn ang="0">
                    <a:pos x="394" y="3822"/>
                  </a:cxn>
                  <a:cxn ang="0">
                    <a:pos x="355" y="3865"/>
                  </a:cxn>
                  <a:cxn ang="0">
                    <a:pos x="317" y="3903"/>
                  </a:cxn>
                  <a:cxn ang="0">
                    <a:pos x="277" y="3938"/>
                  </a:cxn>
                  <a:cxn ang="0">
                    <a:pos x="237" y="3967"/>
                  </a:cxn>
                  <a:cxn ang="0">
                    <a:pos x="195" y="3992"/>
                  </a:cxn>
                  <a:cxn ang="0">
                    <a:pos x="153" y="4012"/>
                  </a:cxn>
                  <a:cxn ang="0">
                    <a:pos x="111" y="4027"/>
                  </a:cxn>
                  <a:cxn ang="0">
                    <a:pos x="67" y="4038"/>
                  </a:cxn>
                  <a:cxn ang="0">
                    <a:pos x="23" y="4043"/>
                  </a:cxn>
                </a:cxnLst>
                <a:rect l="0" t="0" r="r" b="b"/>
                <a:pathLst>
                  <a:path w="864" h="4044">
                    <a:moveTo>
                      <a:pt x="0" y="0"/>
                    </a:moveTo>
                    <a:lnTo>
                      <a:pt x="0" y="0"/>
                    </a:lnTo>
                    <a:lnTo>
                      <a:pt x="23" y="1"/>
                    </a:lnTo>
                    <a:lnTo>
                      <a:pt x="45" y="3"/>
                    </a:lnTo>
                    <a:lnTo>
                      <a:pt x="67" y="6"/>
                    </a:lnTo>
                    <a:lnTo>
                      <a:pt x="88" y="10"/>
                    </a:lnTo>
                    <a:lnTo>
                      <a:pt x="111" y="16"/>
                    </a:lnTo>
                    <a:lnTo>
                      <a:pt x="132" y="23"/>
                    </a:lnTo>
                    <a:lnTo>
                      <a:pt x="153" y="31"/>
                    </a:lnTo>
                    <a:lnTo>
                      <a:pt x="174" y="41"/>
                    </a:lnTo>
                    <a:lnTo>
                      <a:pt x="195" y="51"/>
                    </a:lnTo>
                    <a:lnTo>
                      <a:pt x="216" y="64"/>
                    </a:lnTo>
                    <a:lnTo>
                      <a:pt x="237" y="77"/>
                    </a:lnTo>
                    <a:lnTo>
                      <a:pt x="257" y="91"/>
                    </a:lnTo>
                    <a:lnTo>
                      <a:pt x="277" y="107"/>
                    </a:lnTo>
                    <a:lnTo>
                      <a:pt x="297" y="123"/>
                    </a:lnTo>
                    <a:lnTo>
                      <a:pt x="317" y="141"/>
                    </a:lnTo>
                    <a:lnTo>
                      <a:pt x="336" y="159"/>
                    </a:lnTo>
                    <a:lnTo>
                      <a:pt x="355" y="179"/>
                    </a:lnTo>
                    <a:lnTo>
                      <a:pt x="375" y="200"/>
                    </a:lnTo>
                    <a:lnTo>
                      <a:pt x="394" y="221"/>
                    </a:lnTo>
                    <a:lnTo>
                      <a:pt x="412" y="244"/>
                    </a:lnTo>
                    <a:lnTo>
                      <a:pt x="430" y="268"/>
                    </a:lnTo>
                    <a:lnTo>
                      <a:pt x="448" y="293"/>
                    </a:lnTo>
                    <a:lnTo>
                      <a:pt x="466" y="319"/>
                    </a:lnTo>
                    <a:lnTo>
                      <a:pt x="483" y="345"/>
                    </a:lnTo>
                    <a:lnTo>
                      <a:pt x="501" y="373"/>
                    </a:lnTo>
                    <a:lnTo>
                      <a:pt x="517" y="401"/>
                    </a:lnTo>
                    <a:lnTo>
                      <a:pt x="534" y="431"/>
                    </a:lnTo>
                    <a:lnTo>
                      <a:pt x="549" y="462"/>
                    </a:lnTo>
                    <a:lnTo>
                      <a:pt x="565" y="494"/>
                    </a:lnTo>
                    <a:lnTo>
                      <a:pt x="581" y="525"/>
                    </a:lnTo>
                    <a:lnTo>
                      <a:pt x="596" y="558"/>
                    </a:lnTo>
                    <a:lnTo>
                      <a:pt x="611" y="592"/>
                    </a:lnTo>
                    <a:lnTo>
                      <a:pt x="640" y="662"/>
                    </a:lnTo>
                    <a:lnTo>
                      <a:pt x="667" y="735"/>
                    </a:lnTo>
                    <a:lnTo>
                      <a:pt x="693" y="813"/>
                    </a:lnTo>
                    <a:lnTo>
                      <a:pt x="717" y="891"/>
                    </a:lnTo>
                    <a:lnTo>
                      <a:pt x="739" y="974"/>
                    </a:lnTo>
                    <a:lnTo>
                      <a:pt x="759" y="1059"/>
                    </a:lnTo>
                    <a:lnTo>
                      <a:pt x="778" y="1146"/>
                    </a:lnTo>
                    <a:lnTo>
                      <a:pt x="796" y="1235"/>
                    </a:lnTo>
                    <a:lnTo>
                      <a:pt x="811" y="1327"/>
                    </a:lnTo>
                    <a:lnTo>
                      <a:pt x="825" y="1420"/>
                    </a:lnTo>
                    <a:lnTo>
                      <a:pt x="837" y="1517"/>
                    </a:lnTo>
                    <a:lnTo>
                      <a:pt x="846" y="1614"/>
                    </a:lnTo>
                    <a:lnTo>
                      <a:pt x="854" y="1714"/>
                    </a:lnTo>
                    <a:lnTo>
                      <a:pt x="860" y="1816"/>
                    </a:lnTo>
                    <a:lnTo>
                      <a:pt x="863" y="1917"/>
                    </a:lnTo>
                    <a:lnTo>
                      <a:pt x="864" y="2022"/>
                    </a:lnTo>
                    <a:lnTo>
                      <a:pt x="864" y="2022"/>
                    </a:lnTo>
                    <a:lnTo>
                      <a:pt x="863" y="2126"/>
                    </a:lnTo>
                    <a:lnTo>
                      <a:pt x="860" y="2229"/>
                    </a:lnTo>
                    <a:lnTo>
                      <a:pt x="854" y="2330"/>
                    </a:lnTo>
                    <a:lnTo>
                      <a:pt x="846" y="2429"/>
                    </a:lnTo>
                    <a:lnTo>
                      <a:pt x="837" y="2527"/>
                    </a:lnTo>
                    <a:lnTo>
                      <a:pt x="825" y="2623"/>
                    </a:lnTo>
                    <a:lnTo>
                      <a:pt x="811" y="2717"/>
                    </a:lnTo>
                    <a:lnTo>
                      <a:pt x="796" y="2809"/>
                    </a:lnTo>
                    <a:lnTo>
                      <a:pt x="778" y="2898"/>
                    </a:lnTo>
                    <a:lnTo>
                      <a:pt x="759" y="2986"/>
                    </a:lnTo>
                    <a:lnTo>
                      <a:pt x="739" y="3071"/>
                    </a:lnTo>
                    <a:lnTo>
                      <a:pt x="717" y="3152"/>
                    </a:lnTo>
                    <a:lnTo>
                      <a:pt x="693" y="3232"/>
                    </a:lnTo>
                    <a:lnTo>
                      <a:pt x="667" y="3308"/>
                    </a:lnTo>
                    <a:lnTo>
                      <a:pt x="640" y="3381"/>
                    </a:lnTo>
                    <a:lnTo>
                      <a:pt x="611" y="3451"/>
                    </a:lnTo>
                    <a:lnTo>
                      <a:pt x="596" y="3485"/>
                    </a:lnTo>
                    <a:lnTo>
                      <a:pt x="581" y="3518"/>
                    </a:lnTo>
                    <a:lnTo>
                      <a:pt x="565" y="3551"/>
                    </a:lnTo>
                    <a:lnTo>
                      <a:pt x="549" y="3582"/>
                    </a:lnTo>
                    <a:lnTo>
                      <a:pt x="534" y="3612"/>
                    </a:lnTo>
                    <a:lnTo>
                      <a:pt x="517" y="3642"/>
                    </a:lnTo>
                    <a:lnTo>
                      <a:pt x="501" y="3671"/>
                    </a:lnTo>
                    <a:lnTo>
                      <a:pt x="483" y="3698"/>
                    </a:lnTo>
                    <a:lnTo>
                      <a:pt x="466" y="3725"/>
                    </a:lnTo>
                    <a:lnTo>
                      <a:pt x="448" y="3751"/>
                    </a:lnTo>
                    <a:lnTo>
                      <a:pt x="430" y="3776"/>
                    </a:lnTo>
                    <a:lnTo>
                      <a:pt x="412" y="3800"/>
                    </a:lnTo>
                    <a:lnTo>
                      <a:pt x="394" y="3822"/>
                    </a:lnTo>
                    <a:lnTo>
                      <a:pt x="375" y="3845"/>
                    </a:lnTo>
                    <a:lnTo>
                      <a:pt x="355" y="3865"/>
                    </a:lnTo>
                    <a:lnTo>
                      <a:pt x="336" y="3885"/>
                    </a:lnTo>
                    <a:lnTo>
                      <a:pt x="317" y="3903"/>
                    </a:lnTo>
                    <a:lnTo>
                      <a:pt x="297" y="3921"/>
                    </a:lnTo>
                    <a:lnTo>
                      <a:pt x="277" y="3938"/>
                    </a:lnTo>
                    <a:lnTo>
                      <a:pt x="257" y="3953"/>
                    </a:lnTo>
                    <a:lnTo>
                      <a:pt x="237" y="3967"/>
                    </a:lnTo>
                    <a:lnTo>
                      <a:pt x="216" y="3980"/>
                    </a:lnTo>
                    <a:lnTo>
                      <a:pt x="195" y="3992"/>
                    </a:lnTo>
                    <a:lnTo>
                      <a:pt x="174" y="4003"/>
                    </a:lnTo>
                    <a:lnTo>
                      <a:pt x="153" y="4012"/>
                    </a:lnTo>
                    <a:lnTo>
                      <a:pt x="132" y="4021"/>
                    </a:lnTo>
                    <a:lnTo>
                      <a:pt x="111" y="4027"/>
                    </a:lnTo>
                    <a:lnTo>
                      <a:pt x="88" y="4033"/>
                    </a:lnTo>
                    <a:lnTo>
                      <a:pt x="67" y="4038"/>
                    </a:lnTo>
                    <a:lnTo>
                      <a:pt x="45" y="4041"/>
                    </a:lnTo>
                    <a:lnTo>
                      <a:pt x="23" y="4043"/>
                    </a:lnTo>
                    <a:lnTo>
                      <a:pt x="0" y="4044"/>
                    </a:lnTo>
                  </a:path>
                </a:pathLst>
              </a:custGeom>
              <a:noFill/>
              <a:ln w="57150" cap="flat" cmpd="sng" algn="ctr">
                <a:gradFill flip="none" rotWithShape="1">
                  <a:gsLst>
                    <a:gs pos="5000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bg1">
                        <a:alpha val="10000"/>
                      </a:schemeClr>
                    </a:gs>
                    <a:gs pos="76000">
                      <a:schemeClr val="accent6">
                        <a:lumMod val="20000"/>
                        <a:lumOff val="80000"/>
                      </a:schemeClr>
                    </a:gs>
                    <a:gs pos="23000">
                      <a:schemeClr val="accent6">
                        <a:lumMod val="20000"/>
                        <a:lumOff val="80000"/>
                      </a:schemeClr>
                    </a:gs>
                    <a:gs pos="0">
                      <a:schemeClr val="bg1">
                        <a:alpha val="10000"/>
                      </a:schemeClr>
                    </a:gs>
                  </a:gsLst>
                  <a:lin ang="54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35">
                <a:extLst>
                  <a:ext uri="{FF2B5EF4-FFF2-40B4-BE49-F238E27FC236}">
                    <a16:creationId xmlns:a16="http://schemas.microsoft.com/office/drawing/2014/main" xmlns="" id="{B31DDA50-C30A-1D48-801B-42423C47E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188" y="525463"/>
                <a:ext cx="569913" cy="2665413"/>
              </a:xfrm>
              <a:custGeom>
                <a:avLst/>
                <a:gdLst/>
                <a:ahLst/>
                <a:cxnLst>
                  <a:cxn ang="0">
                    <a:pos x="29" y="1"/>
                  </a:cxn>
                  <a:cxn ang="0">
                    <a:pos x="111" y="14"/>
                  </a:cxn>
                  <a:cxn ang="0">
                    <a:pos x="191" y="40"/>
                  </a:cxn>
                  <a:cxn ang="0">
                    <a:pos x="270" y="80"/>
                  </a:cxn>
                  <a:cxn ang="0">
                    <a:pos x="346" y="133"/>
                  </a:cxn>
                  <a:cxn ang="0">
                    <a:pos x="419" y="199"/>
                  </a:cxn>
                  <a:cxn ang="0">
                    <a:pos x="490" y="276"/>
                  </a:cxn>
                  <a:cxn ang="0">
                    <a:pos x="559" y="365"/>
                  </a:cxn>
                  <a:cxn ang="0">
                    <a:pos x="624" y="466"/>
                  </a:cxn>
                  <a:cxn ang="0">
                    <a:pos x="685" y="576"/>
                  </a:cxn>
                  <a:cxn ang="0">
                    <a:pos x="744" y="696"/>
                  </a:cxn>
                  <a:cxn ang="0">
                    <a:pos x="798" y="826"/>
                  </a:cxn>
                  <a:cxn ang="0">
                    <a:pos x="847" y="964"/>
                  </a:cxn>
                  <a:cxn ang="0">
                    <a:pos x="893" y="1111"/>
                  </a:cxn>
                  <a:cxn ang="0">
                    <a:pos x="934" y="1265"/>
                  </a:cxn>
                  <a:cxn ang="0">
                    <a:pos x="970" y="1427"/>
                  </a:cxn>
                  <a:cxn ang="0">
                    <a:pos x="1002" y="1596"/>
                  </a:cxn>
                  <a:cxn ang="0">
                    <a:pos x="1029" y="1770"/>
                  </a:cxn>
                  <a:cxn ang="0">
                    <a:pos x="1049" y="1950"/>
                  </a:cxn>
                  <a:cxn ang="0">
                    <a:pos x="1065" y="2135"/>
                  </a:cxn>
                  <a:cxn ang="0">
                    <a:pos x="1073" y="2325"/>
                  </a:cxn>
                  <a:cxn ang="0">
                    <a:pos x="1076" y="2519"/>
                  </a:cxn>
                  <a:cxn ang="0">
                    <a:pos x="1075" y="2649"/>
                  </a:cxn>
                  <a:cxn ang="0">
                    <a:pos x="1068" y="2839"/>
                  </a:cxn>
                  <a:cxn ang="0">
                    <a:pos x="1055" y="3026"/>
                  </a:cxn>
                  <a:cxn ang="0">
                    <a:pos x="1036" y="3208"/>
                  </a:cxn>
                  <a:cxn ang="0">
                    <a:pos x="1012" y="3384"/>
                  </a:cxn>
                  <a:cxn ang="0">
                    <a:pos x="982" y="3555"/>
                  </a:cxn>
                  <a:cxn ang="0">
                    <a:pos x="947" y="3719"/>
                  </a:cxn>
                  <a:cxn ang="0">
                    <a:pos x="907" y="3876"/>
                  </a:cxn>
                  <a:cxn ang="0">
                    <a:pos x="863" y="4026"/>
                  </a:cxn>
                  <a:cxn ang="0">
                    <a:pos x="815" y="4167"/>
                  </a:cxn>
                  <a:cxn ang="0">
                    <a:pos x="762" y="4299"/>
                  </a:cxn>
                  <a:cxn ang="0">
                    <a:pos x="705" y="4423"/>
                  </a:cxn>
                  <a:cxn ang="0">
                    <a:pos x="645" y="4537"/>
                  </a:cxn>
                  <a:cxn ang="0">
                    <a:pos x="580" y="4641"/>
                  </a:cxn>
                  <a:cxn ang="0">
                    <a:pos x="513" y="4733"/>
                  </a:cxn>
                  <a:cxn ang="0">
                    <a:pos x="444" y="4814"/>
                  </a:cxn>
                  <a:cxn ang="0">
                    <a:pos x="370" y="4884"/>
                  </a:cxn>
                  <a:cxn ang="0">
                    <a:pos x="295" y="4942"/>
                  </a:cxn>
                  <a:cxn ang="0">
                    <a:pos x="218" y="4986"/>
                  </a:cxn>
                  <a:cxn ang="0">
                    <a:pos x="138" y="5017"/>
                  </a:cxn>
                  <a:cxn ang="0">
                    <a:pos x="57" y="5034"/>
                  </a:cxn>
                </a:cxnLst>
                <a:rect l="0" t="0" r="r" b="b"/>
                <a:pathLst>
                  <a:path w="1076" h="5037">
                    <a:moveTo>
                      <a:pt x="0" y="0"/>
                    </a:moveTo>
                    <a:lnTo>
                      <a:pt x="0" y="0"/>
                    </a:lnTo>
                    <a:lnTo>
                      <a:pt x="29" y="1"/>
                    </a:lnTo>
                    <a:lnTo>
                      <a:pt x="57" y="4"/>
                    </a:lnTo>
                    <a:lnTo>
                      <a:pt x="83" y="8"/>
                    </a:lnTo>
                    <a:lnTo>
                      <a:pt x="111" y="14"/>
                    </a:lnTo>
                    <a:lnTo>
                      <a:pt x="138" y="21"/>
                    </a:lnTo>
                    <a:lnTo>
                      <a:pt x="165" y="30"/>
                    </a:lnTo>
                    <a:lnTo>
                      <a:pt x="191" y="40"/>
                    </a:lnTo>
                    <a:lnTo>
                      <a:pt x="218" y="52"/>
                    </a:lnTo>
                    <a:lnTo>
                      <a:pt x="244" y="65"/>
                    </a:lnTo>
                    <a:lnTo>
                      <a:pt x="270" y="80"/>
                    </a:lnTo>
                    <a:lnTo>
                      <a:pt x="295" y="96"/>
                    </a:lnTo>
                    <a:lnTo>
                      <a:pt x="321" y="114"/>
                    </a:lnTo>
                    <a:lnTo>
                      <a:pt x="346" y="133"/>
                    </a:lnTo>
                    <a:lnTo>
                      <a:pt x="370" y="153"/>
                    </a:lnTo>
                    <a:lnTo>
                      <a:pt x="395" y="175"/>
                    </a:lnTo>
                    <a:lnTo>
                      <a:pt x="419" y="199"/>
                    </a:lnTo>
                    <a:lnTo>
                      <a:pt x="444" y="223"/>
                    </a:lnTo>
                    <a:lnTo>
                      <a:pt x="467" y="250"/>
                    </a:lnTo>
                    <a:lnTo>
                      <a:pt x="490" y="276"/>
                    </a:lnTo>
                    <a:lnTo>
                      <a:pt x="513" y="305"/>
                    </a:lnTo>
                    <a:lnTo>
                      <a:pt x="536" y="334"/>
                    </a:lnTo>
                    <a:lnTo>
                      <a:pt x="559" y="365"/>
                    </a:lnTo>
                    <a:lnTo>
                      <a:pt x="580" y="398"/>
                    </a:lnTo>
                    <a:lnTo>
                      <a:pt x="603" y="431"/>
                    </a:lnTo>
                    <a:lnTo>
                      <a:pt x="624" y="466"/>
                    </a:lnTo>
                    <a:lnTo>
                      <a:pt x="645" y="501"/>
                    </a:lnTo>
                    <a:lnTo>
                      <a:pt x="665" y="538"/>
                    </a:lnTo>
                    <a:lnTo>
                      <a:pt x="685" y="576"/>
                    </a:lnTo>
                    <a:lnTo>
                      <a:pt x="705" y="615"/>
                    </a:lnTo>
                    <a:lnTo>
                      <a:pt x="724" y="654"/>
                    </a:lnTo>
                    <a:lnTo>
                      <a:pt x="744" y="696"/>
                    </a:lnTo>
                    <a:lnTo>
                      <a:pt x="762" y="738"/>
                    </a:lnTo>
                    <a:lnTo>
                      <a:pt x="780" y="782"/>
                    </a:lnTo>
                    <a:lnTo>
                      <a:pt x="798" y="826"/>
                    </a:lnTo>
                    <a:lnTo>
                      <a:pt x="815" y="871"/>
                    </a:lnTo>
                    <a:lnTo>
                      <a:pt x="830" y="917"/>
                    </a:lnTo>
                    <a:lnTo>
                      <a:pt x="847" y="964"/>
                    </a:lnTo>
                    <a:lnTo>
                      <a:pt x="863" y="1012"/>
                    </a:lnTo>
                    <a:lnTo>
                      <a:pt x="878" y="1062"/>
                    </a:lnTo>
                    <a:lnTo>
                      <a:pt x="893" y="1111"/>
                    </a:lnTo>
                    <a:lnTo>
                      <a:pt x="907" y="1161"/>
                    </a:lnTo>
                    <a:lnTo>
                      <a:pt x="921" y="1213"/>
                    </a:lnTo>
                    <a:lnTo>
                      <a:pt x="934" y="1265"/>
                    </a:lnTo>
                    <a:lnTo>
                      <a:pt x="947" y="1318"/>
                    </a:lnTo>
                    <a:lnTo>
                      <a:pt x="959" y="1372"/>
                    </a:lnTo>
                    <a:lnTo>
                      <a:pt x="970" y="1427"/>
                    </a:lnTo>
                    <a:lnTo>
                      <a:pt x="982" y="1482"/>
                    </a:lnTo>
                    <a:lnTo>
                      <a:pt x="992" y="1539"/>
                    </a:lnTo>
                    <a:lnTo>
                      <a:pt x="1002" y="1596"/>
                    </a:lnTo>
                    <a:lnTo>
                      <a:pt x="1012" y="1653"/>
                    </a:lnTo>
                    <a:lnTo>
                      <a:pt x="1020" y="1711"/>
                    </a:lnTo>
                    <a:lnTo>
                      <a:pt x="1029" y="1770"/>
                    </a:lnTo>
                    <a:lnTo>
                      <a:pt x="1036" y="1829"/>
                    </a:lnTo>
                    <a:lnTo>
                      <a:pt x="1042" y="1890"/>
                    </a:lnTo>
                    <a:lnTo>
                      <a:pt x="1049" y="1950"/>
                    </a:lnTo>
                    <a:lnTo>
                      <a:pt x="1055" y="2011"/>
                    </a:lnTo>
                    <a:lnTo>
                      <a:pt x="1059" y="2073"/>
                    </a:lnTo>
                    <a:lnTo>
                      <a:pt x="1065" y="2135"/>
                    </a:lnTo>
                    <a:lnTo>
                      <a:pt x="1068" y="2198"/>
                    </a:lnTo>
                    <a:lnTo>
                      <a:pt x="1071" y="2262"/>
                    </a:lnTo>
                    <a:lnTo>
                      <a:pt x="1073" y="2325"/>
                    </a:lnTo>
                    <a:lnTo>
                      <a:pt x="1075" y="2389"/>
                    </a:lnTo>
                    <a:lnTo>
                      <a:pt x="1076" y="2454"/>
                    </a:lnTo>
                    <a:lnTo>
                      <a:pt x="1076" y="2519"/>
                    </a:lnTo>
                    <a:lnTo>
                      <a:pt x="1076" y="2519"/>
                    </a:lnTo>
                    <a:lnTo>
                      <a:pt x="1076" y="2584"/>
                    </a:lnTo>
                    <a:lnTo>
                      <a:pt x="1075" y="2649"/>
                    </a:lnTo>
                    <a:lnTo>
                      <a:pt x="1073" y="2712"/>
                    </a:lnTo>
                    <a:lnTo>
                      <a:pt x="1071" y="2776"/>
                    </a:lnTo>
                    <a:lnTo>
                      <a:pt x="1068" y="2839"/>
                    </a:lnTo>
                    <a:lnTo>
                      <a:pt x="1065" y="2902"/>
                    </a:lnTo>
                    <a:lnTo>
                      <a:pt x="1059" y="2964"/>
                    </a:lnTo>
                    <a:lnTo>
                      <a:pt x="1055" y="3026"/>
                    </a:lnTo>
                    <a:lnTo>
                      <a:pt x="1049" y="3087"/>
                    </a:lnTo>
                    <a:lnTo>
                      <a:pt x="1042" y="3148"/>
                    </a:lnTo>
                    <a:lnTo>
                      <a:pt x="1036" y="3208"/>
                    </a:lnTo>
                    <a:lnTo>
                      <a:pt x="1029" y="3268"/>
                    </a:lnTo>
                    <a:lnTo>
                      <a:pt x="1020" y="3326"/>
                    </a:lnTo>
                    <a:lnTo>
                      <a:pt x="1012" y="3384"/>
                    </a:lnTo>
                    <a:lnTo>
                      <a:pt x="1002" y="3443"/>
                    </a:lnTo>
                    <a:lnTo>
                      <a:pt x="992" y="3499"/>
                    </a:lnTo>
                    <a:lnTo>
                      <a:pt x="982" y="3555"/>
                    </a:lnTo>
                    <a:lnTo>
                      <a:pt x="970" y="3610"/>
                    </a:lnTo>
                    <a:lnTo>
                      <a:pt x="959" y="3665"/>
                    </a:lnTo>
                    <a:lnTo>
                      <a:pt x="947" y="3719"/>
                    </a:lnTo>
                    <a:lnTo>
                      <a:pt x="934" y="3772"/>
                    </a:lnTo>
                    <a:lnTo>
                      <a:pt x="921" y="3824"/>
                    </a:lnTo>
                    <a:lnTo>
                      <a:pt x="907" y="3876"/>
                    </a:lnTo>
                    <a:lnTo>
                      <a:pt x="893" y="3927"/>
                    </a:lnTo>
                    <a:lnTo>
                      <a:pt x="878" y="3977"/>
                    </a:lnTo>
                    <a:lnTo>
                      <a:pt x="863" y="4026"/>
                    </a:lnTo>
                    <a:lnTo>
                      <a:pt x="847" y="4073"/>
                    </a:lnTo>
                    <a:lnTo>
                      <a:pt x="830" y="4121"/>
                    </a:lnTo>
                    <a:lnTo>
                      <a:pt x="815" y="4167"/>
                    </a:lnTo>
                    <a:lnTo>
                      <a:pt x="798" y="4212"/>
                    </a:lnTo>
                    <a:lnTo>
                      <a:pt x="780" y="4256"/>
                    </a:lnTo>
                    <a:lnTo>
                      <a:pt x="762" y="4299"/>
                    </a:lnTo>
                    <a:lnTo>
                      <a:pt x="744" y="4342"/>
                    </a:lnTo>
                    <a:lnTo>
                      <a:pt x="724" y="4383"/>
                    </a:lnTo>
                    <a:lnTo>
                      <a:pt x="705" y="4423"/>
                    </a:lnTo>
                    <a:lnTo>
                      <a:pt x="685" y="4462"/>
                    </a:lnTo>
                    <a:lnTo>
                      <a:pt x="665" y="4500"/>
                    </a:lnTo>
                    <a:lnTo>
                      <a:pt x="645" y="4537"/>
                    </a:lnTo>
                    <a:lnTo>
                      <a:pt x="624" y="4573"/>
                    </a:lnTo>
                    <a:lnTo>
                      <a:pt x="603" y="4607"/>
                    </a:lnTo>
                    <a:lnTo>
                      <a:pt x="580" y="4641"/>
                    </a:lnTo>
                    <a:lnTo>
                      <a:pt x="559" y="4672"/>
                    </a:lnTo>
                    <a:lnTo>
                      <a:pt x="536" y="4703"/>
                    </a:lnTo>
                    <a:lnTo>
                      <a:pt x="513" y="4733"/>
                    </a:lnTo>
                    <a:lnTo>
                      <a:pt x="490" y="4761"/>
                    </a:lnTo>
                    <a:lnTo>
                      <a:pt x="467" y="4789"/>
                    </a:lnTo>
                    <a:lnTo>
                      <a:pt x="444" y="4814"/>
                    </a:lnTo>
                    <a:lnTo>
                      <a:pt x="419" y="4839"/>
                    </a:lnTo>
                    <a:lnTo>
                      <a:pt x="395" y="4862"/>
                    </a:lnTo>
                    <a:lnTo>
                      <a:pt x="370" y="4884"/>
                    </a:lnTo>
                    <a:lnTo>
                      <a:pt x="346" y="4905"/>
                    </a:lnTo>
                    <a:lnTo>
                      <a:pt x="321" y="4924"/>
                    </a:lnTo>
                    <a:lnTo>
                      <a:pt x="295" y="4942"/>
                    </a:lnTo>
                    <a:lnTo>
                      <a:pt x="270" y="4958"/>
                    </a:lnTo>
                    <a:lnTo>
                      <a:pt x="244" y="4972"/>
                    </a:lnTo>
                    <a:lnTo>
                      <a:pt x="218" y="4986"/>
                    </a:lnTo>
                    <a:lnTo>
                      <a:pt x="191" y="4998"/>
                    </a:lnTo>
                    <a:lnTo>
                      <a:pt x="165" y="5008"/>
                    </a:lnTo>
                    <a:lnTo>
                      <a:pt x="138" y="5017"/>
                    </a:lnTo>
                    <a:lnTo>
                      <a:pt x="111" y="5024"/>
                    </a:lnTo>
                    <a:lnTo>
                      <a:pt x="83" y="5030"/>
                    </a:lnTo>
                    <a:lnTo>
                      <a:pt x="57" y="5034"/>
                    </a:lnTo>
                    <a:lnTo>
                      <a:pt x="29" y="5036"/>
                    </a:lnTo>
                    <a:lnTo>
                      <a:pt x="0" y="5037"/>
                    </a:lnTo>
                  </a:path>
                </a:pathLst>
              </a:custGeom>
              <a:noFill/>
              <a:ln w="57150" cap="flat" cmpd="sng" algn="ctr">
                <a:gradFill flip="none" rotWithShape="1">
                  <a:gsLst>
                    <a:gs pos="5000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bg1">
                        <a:alpha val="10000"/>
                      </a:schemeClr>
                    </a:gs>
                    <a:gs pos="76000">
                      <a:schemeClr val="accent6">
                        <a:lumMod val="20000"/>
                        <a:lumOff val="80000"/>
                      </a:schemeClr>
                    </a:gs>
                    <a:gs pos="23000">
                      <a:schemeClr val="accent6">
                        <a:lumMod val="20000"/>
                        <a:lumOff val="80000"/>
                      </a:schemeClr>
                    </a:gs>
                    <a:gs pos="0">
                      <a:schemeClr val="bg1">
                        <a:alpha val="10000"/>
                      </a:schemeClr>
                    </a:gs>
                  </a:gsLst>
                  <a:lin ang="54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36">
                <a:extLst>
                  <a:ext uri="{FF2B5EF4-FFF2-40B4-BE49-F238E27FC236}">
                    <a16:creationId xmlns:a16="http://schemas.microsoft.com/office/drawing/2014/main" xmlns="" id="{B23CF3A3-87BF-EC4D-8244-B507F6E6A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675" y="263525"/>
                <a:ext cx="681038" cy="3190875"/>
              </a:xfrm>
              <a:custGeom>
                <a:avLst/>
                <a:gdLst/>
                <a:ahLst/>
                <a:cxnLst>
                  <a:cxn ang="0">
                    <a:pos x="32" y="1"/>
                  </a:cxn>
                  <a:cxn ang="0">
                    <a:pos x="131" y="16"/>
                  </a:cxn>
                  <a:cxn ang="0">
                    <a:pos x="227" y="48"/>
                  </a:cxn>
                  <a:cxn ang="0">
                    <a:pos x="321" y="96"/>
                  </a:cxn>
                  <a:cxn ang="0">
                    <a:pos x="412" y="159"/>
                  </a:cxn>
                  <a:cxn ang="0">
                    <a:pos x="501" y="238"/>
                  </a:cxn>
                  <a:cxn ang="0">
                    <a:pos x="586" y="330"/>
                  </a:cxn>
                  <a:cxn ang="0">
                    <a:pos x="667" y="437"/>
                  </a:cxn>
                  <a:cxn ang="0">
                    <a:pos x="745" y="557"/>
                  </a:cxn>
                  <a:cxn ang="0">
                    <a:pos x="819" y="688"/>
                  </a:cxn>
                  <a:cxn ang="0">
                    <a:pos x="888" y="832"/>
                  </a:cxn>
                  <a:cxn ang="0">
                    <a:pos x="953" y="988"/>
                  </a:cxn>
                  <a:cxn ang="0">
                    <a:pos x="1013" y="1154"/>
                  </a:cxn>
                  <a:cxn ang="0">
                    <a:pos x="1067" y="1330"/>
                  </a:cxn>
                  <a:cxn ang="0">
                    <a:pos x="1117" y="1514"/>
                  </a:cxn>
                  <a:cxn ang="0">
                    <a:pos x="1160" y="1708"/>
                  </a:cxn>
                  <a:cxn ang="0">
                    <a:pos x="1197" y="1910"/>
                  </a:cxn>
                  <a:cxn ang="0">
                    <a:pos x="1229" y="2118"/>
                  </a:cxn>
                  <a:cxn ang="0">
                    <a:pos x="1255" y="2334"/>
                  </a:cxn>
                  <a:cxn ang="0">
                    <a:pos x="1273" y="2556"/>
                  </a:cxn>
                  <a:cxn ang="0">
                    <a:pos x="1283" y="2783"/>
                  </a:cxn>
                  <a:cxn ang="0">
                    <a:pos x="1288" y="3015"/>
                  </a:cxn>
                  <a:cxn ang="0">
                    <a:pos x="1285" y="3170"/>
                  </a:cxn>
                  <a:cxn ang="0">
                    <a:pos x="1277" y="3399"/>
                  </a:cxn>
                  <a:cxn ang="0">
                    <a:pos x="1261" y="3623"/>
                  </a:cxn>
                  <a:cxn ang="0">
                    <a:pos x="1239" y="3840"/>
                  </a:cxn>
                  <a:cxn ang="0">
                    <a:pos x="1209" y="4051"/>
                  </a:cxn>
                  <a:cxn ang="0">
                    <a:pos x="1173" y="4256"/>
                  </a:cxn>
                  <a:cxn ang="0">
                    <a:pos x="1132" y="4452"/>
                  </a:cxn>
                  <a:cxn ang="0">
                    <a:pos x="1084" y="4639"/>
                  </a:cxn>
                  <a:cxn ang="0">
                    <a:pos x="1031" y="4819"/>
                  </a:cxn>
                  <a:cxn ang="0">
                    <a:pos x="973" y="4987"/>
                  </a:cxn>
                  <a:cxn ang="0">
                    <a:pos x="910" y="5146"/>
                  </a:cxn>
                  <a:cxn ang="0">
                    <a:pos x="842" y="5295"/>
                  </a:cxn>
                  <a:cxn ang="0">
                    <a:pos x="770" y="5430"/>
                  </a:cxn>
                  <a:cxn ang="0">
                    <a:pos x="694" y="5554"/>
                  </a:cxn>
                  <a:cxn ang="0">
                    <a:pos x="613" y="5666"/>
                  </a:cxn>
                  <a:cxn ang="0">
                    <a:pos x="530" y="5763"/>
                  </a:cxn>
                  <a:cxn ang="0">
                    <a:pos x="443" y="5847"/>
                  </a:cxn>
                  <a:cxn ang="0">
                    <a:pos x="351" y="5915"/>
                  </a:cxn>
                  <a:cxn ang="0">
                    <a:pos x="259" y="5968"/>
                  </a:cxn>
                  <a:cxn ang="0">
                    <a:pos x="164" y="6005"/>
                  </a:cxn>
                  <a:cxn ang="0">
                    <a:pos x="65" y="6025"/>
                  </a:cxn>
                </a:cxnLst>
                <a:rect l="0" t="0" r="r" b="b"/>
                <a:pathLst>
                  <a:path w="1288" h="6029">
                    <a:moveTo>
                      <a:pt x="0" y="0"/>
                    </a:moveTo>
                    <a:lnTo>
                      <a:pt x="0" y="0"/>
                    </a:lnTo>
                    <a:lnTo>
                      <a:pt x="32" y="1"/>
                    </a:lnTo>
                    <a:lnTo>
                      <a:pt x="65" y="4"/>
                    </a:lnTo>
                    <a:lnTo>
                      <a:pt x="98" y="9"/>
                    </a:lnTo>
                    <a:lnTo>
                      <a:pt x="131" y="16"/>
                    </a:lnTo>
                    <a:lnTo>
                      <a:pt x="164" y="25"/>
                    </a:lnTo>
                    <a:lnTo>
                      <a:pt x="196" y="35"/>
                    </a:lnTo>
                    <a:lnTo>
                      <a:pt x="227" y="48"/>
                    </a:lnTo>
                    <a:lnTo>
                      <a:pt x="259" y="62"/>
                    </a:lnTo>
                    <a:lnTo>
                      <a:pt x="290" y="78"/>
                    </a:lnTo>
                    <a:lnTo>
                      <a:pt x="321" y="96"/>
                    </a:lnTo>
                    <a:lnTo>
                      <a:pt x="351" y="115"/>
                    </a:lnTo>
                    <a:lnTo>
                      <a:pt x="382" y="136"/>
                    </a:lnTo>
                    <a:lnTo>
                      <a:pt x="412" y="159"/>
                    </a:lnTo>
                    <a:lnTo>
                      <a:pt x="443" y="184"/>
                    </a:lnTo>
                    <a:lnTo>
                      <a:pt x="471" y="209"/>
                    </a:lnTo>
                    <a:lnTo>
                      <a:pt x="501" y="238"/>
                    </a:lnTo>
                    <a:lnTo>
                      <a:pt x="530" y="266"/>
                    </a:lnTo>
                    <a:lnTo>
                      <a:pt x="558" y="298"/>
                    </a:lnTo>
                    <a:lnTo>
                      <a:pt x="586" y="330"/>
                    </a:lnTo>
                    <a:lnTo>
                      <a:pt x="613" y="364"/>
                    </a:lnTo>
                    <a:lnTo>
                      <a:pt x="641" y="400"/>
                    </a:lnTo>
                    <a:lnTo>
                      <a:pt x="667" y="437"/>
                    </a:lnTo>
                    <a:lnTo>
                      <a:pt x="694" y="475"/>
                    </a:lnTo>
                    <a:lnTo>
                      <a:pt x="719" y="515"/>
                    </a:lnTo>
                    <a:lnTo>
                      <a:pt x="745" y="557"/>
                    </a:lnTo>
                    <a:lnTo>
                      <a:pt x="770" y="599"/>
                    </a:lnTo>
                    <a:lnTo>
                      <a:pt x="795" y="644"/>
                    </a:lnTo>
                    <a:lnTo>
                      <a:pt x="819" y="688"/>
                    </a:lnTo>
                    <a:lnTo>
                      <a:pt x="842" y="736"/>
                    </a:lnTo>
                    <a:lnTo>
                      <a:pt x="866" y="784"/>
                    </a:lnTo>
                    <a:lnTo>
                      <a:pt x="888" y="832"/>
                    </a:lnTo>
                    <a:lnTo>
                      <a:pt x="910" y="883"/>
                    </a:lnTo>
                    <a:lnTo>
                      <a:pt x="931" y="935"/>
                    </a:lnTo>
                    <a:lnTo>
                      <a:pt x="953" y="988"/>
                    </a:lnTo>
                    <a:lnTo>
                      <a:pt x="973" y="1042"/>
                    </a:lnTo>
                    <a:lnTo>
                      <a:pt x="993" y="1097"/>
                    </a:lnTo>
                    <a:lnTo>
                      <a:pt x="1013" y="1154"/>
                    </a:lnTo>
                    <a:lnTo>
                      <a:pt x="1031" y="1211"/>
                    </a:lnTo>
                    <a:lnTo>
                      <a:pt x="1050" y="1270"/>
                    </a:lnTo>
                    <a:lnTo>
                      <a:pt x="1067" y="1330"/>
                    </a:lnTo>
                    <a:lnTo>
                      <a:pt x="1084" y="1390"/>
                    </a:lnTo>
                    <a:lnTo>
                      <a:pt x="1101" y="1452"/>
                    </a:lnTo>
                    <a:lnTo>
                      <a:pt x="1117" y="1514"/>
                    </a:lnTo>
                    <a:lnTo>
                      <a:pt x="1132" y="1578"/>
                    </a:lnTo>
                    <a:lnTo>
                      <a:pt x="1147" y="1642"/>
                    </a:lnTo>
                    <a:lnTo>
                      <a:pt x="1160" y="1708"/>
                    </a:lnTo>
                    <a:lnTo>
                      <a:pt x="1173" y="1774"/>
                    </a:lnTo>
                    <a:lnTo>
                      <a:pt x="1186" y="1842"/>
                    </a:lnTo>
                    <a:lnTo>
                      <a:pt x="1197" y="1910"/>
                    </a:lnTo>
                    <a:lnTo>
                      <a:pt x="1209" y="1978"/>
                    </a:lnTo>
                    <a:lnTo>
                      <a:pt x="1220" y="2048"/>
                    </a:lnTo>
                    <a:lnTo>
                      <a:pt x="1229" y="2118"/>
                    </a:lnTo>
                    <a:lnTo>
                      <a:pt x="1239" y="2189"/>
                    </a:lnTo>
                    <a:lnTo>
                      <a:pt x="1247" y="2261"/>
                    </a:lnTo>
                    <a:lnTo>
                      <a:pt x="1255" y="2334"/>
                    </a:lnTo>
                    <a:lnTo>
                      <a:pt x="1261" y="2408"/>
                    </a:lnTo>
                    <a:lnTo>
                      <a:pt x="1267" y="2481"/>
                    </a:lnTo>
                    <a:lnTo>
                      <a:pt x="1273" y="2556"/>
                    </a:lnTo>
                    <a:lnTo>
                      <a:pt x="1277" y="2630"/>
                    </a:lnTo>
                    <a:lnTo>
                      <a:pt x="1280" y="2707"/>
                    </a:lnTo>
                    <a:lnTo>
                      <a:pt x="1283" y="2783"/>
                    </a:lnTo>
                    <a:lnTo>
                      <a:pt x="1285" y="2859"/>
                    </a:lnTo>
                    <a:lnTo>
                      <a:pt x="1286" y="2937"/>
                    </a:lnTo>
                    <a:lnTo>
                      <a:pt x="1288" y="3015"/>
                    </a:lnTo>
                    <a:lnTo>
                      <a:pt x="1288" y="3015"/>
                    </a:lnTo>
                    <a:lnTo>
                      <a:pt x="1286" y="3093"/>
                    </a:lnTo>
                    <a:lnTo>
                      <a:pt x="1285" y="3170"/>
                    </a:lnTo>
                    <a:lnTo>
                      <a:pt x="1283" y="3246"/>
                    </a:lnTo>
                    <a:lnTo>
                      <a:pt x="1280" y="3323"/>
                    </a:lnTo>
                    <a:lnTo>
                      <a:pt x="1277" y="3399"/>
                    </a:lnTo>
                    <a:lnTo>
                      <a:pt x="1273" y="3474"/>
                    </a:lnTo>
                    <a:lnTo>
                      <a:pt x="1267" y="3548"/>
                    </a:lnTo>
                    <a:lnTo>
                      <a:pt x="1261" y="3623"/>
                    </a:lnTo>
                    <a:lnTo>
                      <a:pt x="1255" y="3696"/>
                    </a:lnTo>
                    <a:lnTo>
                      <a:pt x="1247" y="3768"/>
                    </a:lnTo>
                    <a:lnTo>
                      <a:pt x="1239" y="3840"/>
                    </a:lnTo>
                    <a:lnTo>
                      <a:pt x="1229" y="3911"/>
                    </a:lnTo>
                    <a:lnTo>
                      <a:pt x="1220" y="3982"/>
                    </a:lnTo>
                    <a:lnTo>
                      <a:pt x="1209" y="4051"/>
                    </a:lnTo>
                    <a:lnTo>
                      <a:pt x="1197" y="4120"/>
                    </a:lnTo>
                    <a:lnTo>
                      <a:pt x="1186" y="4188"/>
                    </a:lnTo>
                    <a:lnTo>
                      <a:pt x="1173" y="4256"/>
                    </a:lnTo>
                    <a:lnTo>
                      <a:pt x="1160" y="4321"/>
                    </a:lnTo>
                    <a:lnTo>
                      <a:pt x="1147" y="4387"/>
                    </a:lnTo>
                    <a:lnTo>
                      <a:pt x="1132" y="4452"/>
                    </a:lnTo>
                    <a:lnTo>
                      <a:pt x="1117" y="4515"/>
                    </a:lnTo>
                    <a:lnTo>
                      <a:pt x="1101" y="4578"/>
                    </a:lnTo>
                    <a:lnTo>
                      <a:pt x="1084" y="4639"/>
                    </a:lnTo>
                    <a:lnTo>
                      <a:pt x="1067" y="4700"/>
                    </a:lnTo>
                    <a:lnTo>
                      <a:pt x="1050" y="4760"/>
                    </a:lnTo>
                    <a:lnTo>
                      <a:pt x="1031" y="4819"/>
                    </a:lnTo>
                    <a:lnTo>
                      <a:pt x="1013" y="4876"/>
                    </a:lnTo>
                    <a:lnTo>
                      <a:pt x="993" y="4932"/>
                    </a:lnTo>
                    <a:lnTo>
                      <a:pt x="973" y="4987"/>
                    </a:lnTo>
                    <a:lnTo>
                      <a:pt x="953" y="5041"/>
                    </a:lnTo>
                    <a:lnTo>
                      <a:pt x="931" y="5094"/>
                    </a:lnTo>
                    <a:lnTo>
                      <a:pt x="910" y="5146"/>
                    </a:lnTo>
                    <a:lnTo>
                      <a:pt x="888" y="5197"/>
                    </a:lnTo>
                    <a:lnTo>
                      <a:pt x="866" y="5246"/>
                    </a:lnTo>
                    <a:lnTo>
                      <a:pt x="842" y="5295"/>
                    </a:lnTo>
                    <a:lnTo>
                      <a:pt x="819" y="5341"/>
                    </a:lnTo>
                    <a:lnTo>
                      <a:pt x="795" y="5387"/>
                    </a:lnTo>
                    <a:lnTo>
                      <a:pt x="770" y="5430"/>
                    </a:lnTo>
                    <a:lnTo>
                      <a:pt x="745" y="5473"/>
                    </a:lnTo>
                    <a:lnTo>
                      <a:pt x="719" y="5514"/>
                    </a:lnTo>
                    <a:lnTo>
                      <a:pt x="694" y="5554"/>
                    </a:lnTo>
                    <a:lnTo>
                      <a:pt x="667" y="5592"/>
                    </a:lnTo>
                    <a:lnTo>
                      <a:pt x="641" y="5630"/>
                    </a:lnTo>
                    <a:lnTo>
                      <a:pt x="613" y="5666"/>
                    </a:lnTo>
                    <a:lnTo>
                      <a:pt x="586" y="5699"/>
                    </a:lnTo>
                    <a:lnTo>
                      <a:pt x="558" y="5732"/>
                    </a:lnTo>
                    <a:lnTo>
                      <a:pt x="530" y="5763"/>
                    </a:lnTo>
                    <a:lnTo>
                      <a:pt x="501" y="5793"/>
                    </a:lnTo>
                    <a:lnTo>
                      <a:pt x="471" y="5820"/>
                    </a:lnTo>
                    <a:lnTo>
                      <a:pt x="443" y="5847"/>
                    </a:lnTo>
                    <a:lnTo>
                      <a:pt x="412" y="5871"/>
                    </a:lnTo>
                    <a:lnTo>
                      <a:pt x="382" y="5893"/>
                    </a:lnTo>
                    <a:lnTo>
                      <a:pt x="351" y="5915"/>
                    </a:lnTo>
                    <a:lnTo>
                      <a:pt x="321" y="5935"/>
                    </a:lnTo>
                    <a:lnTo>
                      <a:pt x="290" y="5952"/>
                    </a:lnTo>
                    <a:lnTo>
                      <a:pt x="259" y="5968"/>
                    </a:lnTo>
                    <a:lnTo>
                      <a:pt x="227" y="5983"/>
                    </a:lnTo>
                    <a:lnTo>
                      <a:pt x="196" y="5994"/>
                    </a:lnTo>
                    <a:lnTo>
                      <a:pt x="164" y="6005"/>
                    </a:lnTo>
                    <a:lnTo>
                      <a:pt x="131" y="6013"/>
                    </a:lnTo>
                    <a:lnTo>
                      <a:pt x="98" y="6021"/>
                    </a:lnTo>
                    <a:lnTo>
                      <a:pt x="65" y="6025"/>
                    </a:lnTo>
                    <a:lnTo>
                      <a:pt x="32" y="6028"/>
                    </a:lnTo>
                    <a:lnTo>
                      <a:pt x="0" y="6029"/>
                    </a:lnTo>
                  </a:path>
                </a:pathLst>
              </a:custGeom>
              <a:noFill/>
              <a:ln w="57150" cap="flat" cmpd="sng" algn="ctr">
                <a:gradFill flip="none" rotWithShape="1">
                  <a:gsLst>
                    <a:gs pos="5000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bg1">
                        <a:alpha val="10000"/>
                      </a:schemeClr>
                    </a:gs>
                    <a:gs pos="76000">
                      <a:schemeClr val="accent6">
                        <a:lumMod val="20000"/>
                        <a:lumOff val="80000"/>
                      </a:schemeClr>
                    </a:gs>
                    <a:gs pos="23000">
                      <a:schemeClr val="accent6">
                        <a:lumMod val="20000"/>
                        <a:lumOff val="80000"/>
                      </a:schemeClr>
                    </a:gs>
                    <a:gs pos="0">
                      <a:schemeClr val="bg1">
                        <a:alpha val="10000"/>
                      </a:schemeClr>
                    </a:gs>
                  </a:gsLst>
                  <a:lin ang="54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37">
                <a:extLst>
                  <a:ext uri="{FF2B5EF4-FFF2-40B4-BE49-F238E27FC236}">
                    <a16:creationId xmlns:a16="http://schemas.microsoft.com/office/drawing/2014/main" xmlns="" id="{DE3391C5-486A-CA49-B240-B1A95AB9D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7988" y="1588"/>
                <a:ext cx="793750" cy="3714750"/>
              </a:xfrm>
              <a:custGeom>
                <a:avLst/>
                <a:gdLst/>
                <a:ahLst/>
                <a:cxnLst>
                  <a:cxn ang="0">
                    <a:pos x="39" y="1"/>
                  </a:cxn>
                  <a:cxn ang="0">
                    <a:pos x="153" y="18"/>
                  </a:cxn>
                  <a:cxn ang="0">
                    <a:pos x="266" y="55"/>
                  </a:cxn>
                  <a:cxn ang="0">
                    <a:pos x="375" y="110"/>
                  </a:cxn>
                  <a:cxn ang="0">
                    <a:pos x="481" y="185"/>
                  </a:cxn>
                  <a:cxn ang="0">
                    <a:pos x="584" y="276"/>
                  </a:cxn>
                  <a:cxn ang="0">
                    <a:pos x="682" y="384"/>
                  </a:cxn>
                  <a:cxn ang="0">
                    <a:pos x="778" y="508"/>
                  </a:cxn>
                  <a:cxn ang="0">
                    <a:pos x="868" y="648"/>
                  </a:cxn>
                  <a:cxn ang="0">
                    <a:pos x="954" y="802"/>
                  </a:cxn>
                  <a:cxn ang="0">
                    <a:pos x="1035" y="969"/>
                  </a:cxn>
                  <a:cxn ang="0">
                    <a:pos x="1111" y="1150"/>
                  </a:cxn>
                  <a:cxn ang="0">
                    <a:pos x="1179" y="1343"/>
                  </a:cxn>
                  <a:cxn ang="0">
                    <a:pos x="1244" y="1548"/>
                  </a:cxn>
                  <a:cxn ang="0">
                    <a:pos x="1301" y="1763"/>
                  </a:cxn>
                  <a:cxn ang="0">
                    <a:pos x="1352" y="1989"/>
                  </a:cxn>
                  <a:cxn ang="0">
                    <a:pos x="1396" y="2223"/>
                  </a:cxn>
                  <a:cxn ang="0">
                    <a:pos x="1433" y="2467"/>
                  </a:cxn>
                  <a:cxn ang="0">
                    <a:pos x="1461" y="2718"/>
                  </a:cxn>
                  <a:cxn ang="0">
                    <a:pos x="1483" y="2976"/>
                  </a:cxn>
                  <a:cxn ang="0">
                    <a:pos x="1495" y="3241"/>
                  </a:cxn>
                  <a:cxn ang="0">
                    <a:pos x="1500" y="3511"/>
                  </a:cxn>
                  <a:cxn ang="0">
                    <a:pos x="1497" y="3691"/>
                  </a:cxn>
                  <a:cxn ang="0">
                    <a:pos x="1488" y="3958"/>
                  </a:cxn>
                  <a:cxn ang="0">
                    <a:pos x="1470" y="4218"/>
                  </a:cxn>
                  <a:cxn ang="0">
                    <a:pos x="1443" y="4472"/>
                  </a:cxn>
                  <a:cxn ang="0">
                    <a:pos x="1408" y="4718"/>
                  </a:cxn>
                  <a:cxn ang="0">
                    <a:pos x="1367" y="4955"/>
                  </a:cxn>
                  <a:cxn ang="0">
                    <a:pos x="1318" y="5184"/>
                  </a:cxn>
                  <a:cxn ang="0">
                    <a:pos x="1263" y="5404"/>
                  </a:cxn>
                  <a:cxn ang="0">
                    <a:pos x="1202" y="5611"/>
                  </a:cxn>
                  <a:cxn ang="0">
                    <a:pos x="1134" y="5809"/>
                  </a:cxn>
                  <a:cxn ang="0">
                    <a:pos x="1061" y="5993"/>
                  </a:cxn>
                  <a:cxn ang="0">
                    <a:pos x="981" y="6166"/>
                  </a:cxn>
                  <a:cxn ang="0">
                    <a:pos x="897" y="6324"/>
                  </a:cxn>
                  <a:cxn ang="0">
                    <a:pos x="808" y="6469"/>
                  </a:cxn>
                  <a:cxn ang="0">
                    <a:pos x="715" y="6598"/>
                  </a:cxn>
                  <a:cxn ang="0">
                    <a:pos x="618" y="6712"/>
                  </a:cxn>
                  <a:cxn ang="0">
                    <a:pos x="516" y="6808"/>
                  </a:cxn>
                  <a:cxn ang="0">
                    <a:pos x="411" y="6889"/>
                  </a:cxn>
                  <a:cxn ang="0">
                    <a:pos x="302" y="6950"/>
                  </a:cxn>
                  <a:cxn ang="0">
                    <a:pos x="190" y="6994"/>
                  </a:cxn>
                  <a:cxn ang="0">
                    <a:pos x="77" y="7017"/>
                  </a:cxn>
                </a:cxnLst>
                <a:rect l="0" t="0" r="r" b="b"/>
                <a:pathLst>
                  <a:path w="1500" h="7021">
                    <a:moveTo>
                      <a:pt x="0" y="0"/>
                    </a:moveTo>
                    <a:lnTo>
                      <a:pt x="0" y="0"/>
                    </a:lnTo>
                    <a:lnTo>
                      <a:pt x="39" y="1"/>
                    </a:lnTo>
                    <a:lnTo>
                      <a:pt x="77" y="4"/>
                    </a:lnTo>
                    <a:lnTo>
                      <a:pt x="115" y="11"/>
                    </a:lnTo>
                    <a:lnTo>
                      <a:pt x="153" y="18"/>
                    </a:lnTo>
                    <a:lnTo>
                      <a:pt x="190" y="29"/>
                    </a:lnTo>
                    <a:lnTo>
                      <a:pt x="229" y="40"/>
                    </a:lnTo>
                    <a:lnTo>
                      <a:pt x="266" y="55"/>
                    </a:lnTo>
                    <a:lnTo>
                      <a:pt x="302" y="71"/>
                    </a:lnTo>
                    <a:lnTo>
                      <a:pt x="339" y="90"/>
                    </a:lnTo>
                    <a:lnTo>
                      <a:pt x="375" y="110"/>
                    </a:lnTo>
                    <a:lnTo>
                      <a:pt x="411" y="134"/>
                    </a:lnTo>
                    <a:lnTo>
                      <a:pt x="446" y="158"/>
                    </a:lnTo>
                    <a:lnTo>
                      <a:pt x="481" y="185"/>
                    </a:lnTo>
                    <a:lnTo>
                      <a:pt x="516" y="213"/>
                    </a:lnTo>
                    <a:lnTo>
                      <a:pt x="550" y="244"/>
                    </a:lnTo>
                    <a:lnTo>
                      <a:pt x="584" y="276"/>
                    </a:lnTo>
                    <a:lnTo>
                      <a:pt x="618" y="311"/>
                    </a:lnTo>
                    <a:lnTo>
                      <a:pt x="650" y="347"/>
                    </a:lnTo>
                    <a:lnTo>
                      <a:pt x="682" y="384"/>
                    </a:lnTo>
                    <a:lnTo>
                      <a:pt x="715" y="424"/>
                    </a:lnTo>
                    <a:lnTo>
                      <a:pt x="747" y="466"/>
                    </a:lnTo>
                    <a:lnTo>
                      <a:pt x="778" y="508"/>
                    </a:lnTo>
                    <a:lnTo>
                      <a:pt x="808" y="554"/>
                    </a:lnTo>
                    <a:lnTo>
                      <a:pt x="838" y="600"/>
                    </a:lnTo>
                    <a:lnTo>
                      <a:pt x="868" y="648"/>
                    </a:lnTo>
                    <a:lnTo>
                      <a:pt x="897" y="698"/>
                    </a:lnTo>
                    <a:lnTo>
                      <a:pt x="926" y="749"/>
                    </a:lnTo>
                    <a:lnTo>
                      <a:pt x="954" y="802"/>
                    </a:lnTo>
                    <a:lnTo>
                      <a:pt x="981" y="857"/>
                    </a:lnTo>
                    <a:lnTo>
                      <a:pt x="1009" y="912"/>
                    </a:lnTo>
                    <a:lnTo>
                      <a:pt x="1035" y="969"/>
                    </a:lnTo>
                    <a:lnTo>
                      <a:pt x="1061" y="1028"/>
                    </a:lnTo>
                    <a:lnTo>
                      <a:pt x="1086" y="1089"/>
                    </a:lnTo>
                    <a:lnTo>
                      <a:pt x="1111" y="1150"/>
                    </a:lnTo>
                    <a:lnTo>
                      <a:pt x="1134" y="1213"/>
                    </a:lnTo>
                    <a:lnTo>
                      <a:pt x="1157" y="1278"/>
                    </a:lnTo>
                    <a:lnTo>
                      <a:pt x="1179" y="1343"/>
                    </a:lnTo>
                    <a:lnTo>
                      <a:pt x="1202" y="1410"/>
                    </a:lnTo>
                    <a:lnTo>
                      <a:pt x="1223" y="1479"/>
                    </a:lnTo>
                    <a:lnTo>
                      <a:pt x="1244" y="1548"/>
                    </a:lnTo>
                    <a:lnTo>
                      <a:pt x="1263" y="1619"/>
                    </a:lnTo>
                    <a:lnTo>
                      <a:pt x="1282" y="1690"/>
                    </a:lnTo>
                    <a:lnTo>
                      <a:pt x="1301" y="1763"/>
                    </a:lnTo>
                    <a:lnTo>
                      <a:pt x="1318" y="1837"/>
                    </a:lnTo>
                    <a:lnTo>
                      <a:pt x="1335" y="1913"/>
                    </a:lnTo>
                    <a:lnTo>
                      <a:pt x="1352" y="1989"/>
                    </a:lnTo>
                    <a:lnTo>
                      <a:pt x="1367" y="2066"/>
                    </a:lnTo>
                    <a:lnTo>
                      <a:pt x="1382" y="2145"/>
                    </a:lnTo>
                    <a:lnTo>
                      <a:pt x="1396" y="2223"/>
                    </a:lnTo>
                    <a:lnTo>
                      <a:pt x="1408" y="2304"/>
                    </a:lnTo>
                    <a:lnTo>
                      <a:pt x="1421" y="2385"/>
                    </a:lnTo>
                    <a:lnTo>
                      <a:pt x="1433" y="2467"/>
                    </a:lnTo>
                    <a:lnTo>
                      <a:pt x="1443" y="2550"/>
                    </a:lnTo>
                    <a:lnTo>
                      <a:pt x="1453" y="2633"/>
                    </a:lnTo>
                    <a:lnTo>
                      <a:pt x="1461" y="2718"/>
                    </a:lnTo>
                    <a:lnTo>
                      <a:pt x="1470" y="2803"/>
                    </a:lnTo>
                    <a:lnTo>
                      <a:pt x="1476" y="2889"/>
                    </a:lnTo>
                    <a:lnTo>
                      <a:pt x="1483" y="2976"/>
                    </a:lnTo>
                    <a:lnTo>
                      <a:pt x="1488" y="3064"/>
                    </a:lnTo>
                    <a:lnTo>
                      <a:pt x="1492" y="3152"/>
                    </a:lnTo>
                    <a:lnTo>
                      <a:pt x="1495" y="3241"/>
                    </a:lnTo>
                    <a:lnTo>
                      <a:pt x="1497" y="3330"/>
                    </a:lnTo>
                    <a:lnTo>
                      <a:pt x="1500" y="3420"/>
                    </a:lnTo>
                    <a:lnTo>
                      <a:pt x="1500" y="3511"/>
                    </a:lnTo>
                    <a:lnTo>
                      <a:pt x="1500" y="3511"/>
                    </a:lnTo>
                    <a:lnTo>
                      <a:pt x="1500" y="3601"/>
                    </a:lnTo>
                    <a:lnTo>
                      <a:pt x="1497" y="3691"/>
                    </a:lnTo>
                    <a:lnTo>
                      <a:pt x="1495" y="3781"/>
                    </a:lnTo>
                    <a:lnTo>
                      <a:pt x="1492" y="3870"/>
                    </a:lnTo>
                    <a:lnTo>
                      <a:pt x="1488" y="3958"/>
                    </a:lnTo>
                    <a:lnTo>
                      <a:pt x="1483" y="4046"/>
                    </a:lnTo>
                    <a:lnTo>
                      <a:pt x="1476" y="4132"/>
                    </a:lnTo>
                    <a:lnTo>
                      <a:pt x="1470" y="4218"/>
                    </a:lnTo>
                    <a:lnTo>
                      <a:pt x="1461" y="4304"/>
                    </a:lnTo>
                    <a:lnTo>
                      <a:pt x="1453" y="4388"/>
                    </a:lnTo>
                    <a:lnTo>
                      <a:pt x="1443" y="4472"/>
                    </a:lnTo>
                    <a:lnTo>
                      <a:pt x="1433" y="4554"/>
                    </a:lnTo>
                    <a:lnTo>
                      <a:pt x="1421" y="4637"/>
                    </a:lnTo>
                    <a:lnTo>
                      <a:pt x="1408" y="4718"/>
                    </a:lnTo>
                    <a:lnTo>
                      <a:pt x="1396" y="4798"/>
                    </a:lnTo>
                    <a:lnTo>
                      <a:pt x="1382" y="4878"/>
                    </a:lnTo>
                    <a:lnTo>
                      <a:pt x="1367" y="4955"/>
                    </a:lnTo>
                    <a:lnTo>
                      <a:pt x="1352" y="5033"/>
                    </a:lnTo>
                    <a:lnTo>
                      <a:pt x="1335" y="5109"/>
                    </a:lnTo>
                    <a:lnTo>
                      <a:pt x="1318" y="5184"/>
                    </a:lnTo>
                    <a:lnTo>
                      <a:pt x="1301" y="5258"/>
                    </a:lnTo>
                    <a:lnTo>
                      <a:pt x="1282" y="5331"/>
                    </a:lnTo>
                    <a:lnTo>
                      <a:pt x="1263" y="5404"/>
                    </a:lnTo>
                    <a:lnTo>
                      <a:pt x="1244" y="5474"/>
                    </a:lnTo>
                    <a:lnTo>
                      <a:pt x="1223" y="5544"/>
                    </a:lnTo>
                    <a:lnTo>
                      <a:pt x="1202" y="5611"/>
                    </a:lnTo>
                    <a:lnTo>
                      <a:pt x="1179" y="5678"/>
                    </a:lnTo>
                    <a:lnTo>
                      <a:pt x="1157" y="5744"/>
                    </a:lnTo>
                    <a:lnTo>
                      <a:pt x="1134" y="5809"/>
                    </a:lnTo>
                    <a:lnTo>
                      <a:pt x="1111" y="5871"/>
                    </a:lnTo>
                    <a:lnTo>
                      <a:pt x="1086" y="5933"/>
                    </a:lnTo>
                    <a:lnTo>
                      <a:pt x="1061" y="5993"/>
                    </a:lnTo>
                    <a:lnTo>
                      <a:pt x="1035" y="6052"/>
                    </a:lnTo>
                    <a:lnTo>
                      <a:pt x="1009" y="6110"/>
                    </a:lnTo>
                    <a:lnTo>
                      <a:pt x="981" y="6166"/>
                    </a:lnTo>
                    <a:lnTo>
                      <a:pt x="954" y="6220"/>
                    </a:lnTo>
                    <a:lnTo>
                      <a:pt x="926" y="6273"/>
                    </a:lnTo>
                    <a:lnTo>
                      <a:pt x="897" y="6324"/>
                    </a:lnTo>
                    <a:lnTo>
                      <a:pt x="868" y="6374"/>
                    </a:lnTo>
                    <a:lnTo>
                      <a:pt x="838" y="6422"/>
                    </a:lnTo>
                    <a:lnTo>
                      <a:pt x="808" y="6469"/>
                    </a:lnTo>
                    <a:lnTo>
                      <a:pt x="778" y="6514"/>
                    </a:lnTo>
                    <a:lnTo>
                      <a:pt x="747" y="6556"/>
                    </a:lnTo>
                    <a:lnTo>
                      <a:pt x="715" y="6598"/>
                    </a:lnTo>
                    <a:lnTo>
                      <a:pt x="682" y="6638"/>
                    </a:lnTo>
                    <a:lnTo>
                      <a:pt x="650" y="6676"/>
                    </a:lnTo>
                    <a:lnTo>
                      <a:pt x="618" y="6712"/>
                    </a:lnTo>
                    <a:lnTo>
                      <a:pt x="584" y="6746"/>
                    </a:lnTo>
                    <a:lnTo>
                      <a:pt x="550" y="6779"/>
                    </a:lnTo>
                    <a:lnTo>
                      <a:pt x="516" y="6808"/>
                    </a:lnTo>
                    <a:lnTo>
                      <a:pt x="481" y="6837"/>
                    </a:lnTo>
                    <a:lnTo>
                      <a:pt x="446" y="6863"/>
                    </a:lnTo>
                    <a:lnTo>
                      <a:pt x="411" y="6889"/>
                    </a:lnTo>
                    <a:lnTo>
                      <a:pt x="375" y="6911"/>
                    </a:lnTo>
                    <a:lnTo>
                      <a:pt x="339" y="6931"/>
                    </a:lnTo>
                    <a:lnTo>
                      <a:pt x="302" y="6950"/>
                    </a:lnTo>
                    <a:lnTo>
                      <a:pt x="266" y="6966"/>
                    </a:lnTo>
                    <a:lnTo>
                      <a:pt x="229" y="6981"/>
                    </a:lnTo>
                    <a:lnTo>
                      <a:pt x="190" y="6994"/>
                    </a:lnTo>
                    <a:lnTo>
                      <a:pt x="153" y="7003"/>
                    </a:lnTo>
                    <a:lnTo>
                      <a:pt x="115" y="7012"/>
                    </a:lnTo>
                    <a:lnTo>
                      <a:pt x="77" y="7017"/>
                    </a:lnTo>
                    <a:lnTo>
                      <a:pt x="39" y="7020"/>
                    </a:lnTo>
                    <a:lnTo>
                      <a:pt x="0" y="7021"/>
                    </a:lnTo>
                  </a:path>
                </a:pathLst>
              </a:custGeom>
              <a:noFill/>
              <a:ln w="57150" cap="flat" cmpd="sng" algn="ctr">
                <a:gradFill flip="none" rotWithShape="1">
                  <a:gsLst>
                    <a:gs pos="5000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bg1">
                        <a:alpha val="10000"/>
                      </a:schemeClr>
                    </a:gs>
                    <a:gs pos="76000">
                      <a:schemeClr val="accent6">
                        <a:lumMod val="20000"/>
                        <a:lumOff val="80000"/>
                      </a:schemeClr>
                    </a:gs>
                    <a:gs pos="23000">
                      <a:schemeClr val="accent6">
                        <a:lumMod val="20000"/>
                        <a:lumOff val="80000"/>
                      </a:schemeClr>
                    </a:gs>
                    <a:gs pos="0">
                      <a:schemeClr val="bg1">
                        <a:alpha val="10000"/>
                      </a:schemeClr>
                    </a:gs>
                  </a:gsLst>
                  <a:lin ang="54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47" name="AutoShape 110" title="Arrow pointing to the right">
            <a:extLst>
              <a:ext uri="{FF2B5EF4-FFF2-40B4-BE49-F238E27FC236}">
                <a16:creationId xmlns:a16="http://schemas.microsoft.com/office/drawing/2014/main" xmlns="" id="{8363DF69-F987-8E4F-93DA-41C1C2C1DD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663" y="1456546"/>
            <a:ext cx="2213710" cy="3679854"/>
          </a:xfrm>
          <a:prstGeom prst="rightArrow">
            <a:avLst>
              <a:gd name="adj1" fmla="val 72186"/>
              <a:gd name="adj2" fmla="val 25647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830434" y="2434699"/>
            <a:ext cx="1704422" cy="172354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altLang="ko-KR" sz="1400" b="1" cap="sm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Our professional PowerPoint design team is able to assist you in all areas when it comes to creating your PowerPoint </a:t>
            </a:r>
            <a:r>
              <a:rPr lang="en-IN" altLang="ko-KR" sz="1400" b="1" cap="sm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presentation</a:t>
            </a:r>
            <a:endParaRPr lang="ko-KR" altLang="en-US" sz="1400" b="1" cap="sm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 rot="16200000">
            <a:off x="5336253" y="2996324"/>
            <a:ext cx="742191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IN" altLang="ko-KR" sz="1800" b="1" cap="small" dirty="0" smtClean="0">
                <a:latin typeface="+mn-lt"/>
                <a:cs typeface="Arial" pitchFamily="34" charset="0"/>
              </a:rPr>
              <a:t>Design</a:t>
            </a:r>
            <a:br>
              <a:rPr lang="en-IN" altLang="ko-KR" sz="1800" b="1" cap="small" dirty="0" smtClean="0">
                <a:latin typeface="+mn-lt"/>
                <a:cs typeface="Arial" pitchFamily="34" charset="0"/>
              </a:rPr>
            </a:br>
            <a:r>
              <a:rPr lang="en-IN" altLang="ko-KR" sz="1800" b="1" cap="small" dirty="0" smtClean="0">
                <a:latin typeface="+mn-lt"/>
                <a:cs typeface="Arial" pitchFamily="34" charset="0"/>
              </a:rPr>
              <a:t>word</a:t>
            </a:r>
            <a:endParaRPr lang="ko-KR" altLang="en-US" sz="1800" b="1" cap="small" dirty="0">
              <a:latin typeface="+mn-lt"/>
              <a:cs typeface="Arial" pitchFamily="34" charset="0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2445882" y="2487908"/>
            <a:ext cx="1597482" cy="1597482"/>
          </a:xfrm>
          <a:prstGeom prst="ellipse">
            <a:avLst/>
          </a:prstGeom>
          <a:solidFill>
            <a:srgbClr val="EE7612"/>
          </a:solidFill>
          <a:ln w="571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DITIONAL</a:t>
            </a:r>
            <a:br>
              <a:rPr lang="en-US" sz="1800" b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800" b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ICES</a:t>
            </a:r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TextBox 51"/>
          <p:cNvSpPr txBox="1"/>
          <p:nvPr/>
        </p:nvSpPr>
        <p:spPr>
          <a:xfrm rot="16200000">
            <a:off x="6257764" y="2996324"/>
            <a:ext cx="742191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IN" altLang="ko-KR" sz="1800" b="1" cap="small" dirty="0" smtClean="0">
                <a:latin typeface="+mn-lt"/>
                <a:cs typeface="Arial" pitchFamily="34" charset="0"/>
              </a:rPr>
              <a:t>Design</a:t>
            </a:r>
            <a:r>
              <a:rPr lang="en-IN" altLang="ko-KR" sz="1800" b="1" cap="small" smtClean="0">
                <a:latin typeface="+mn-lt"/>
                <a:cs typeface="Arial" pitchFamily="34" charset="0"/>
              </a:rPr>
              <a:t/>
            </a:r>
            <a:br>
              <a:rPr lang="en-IN" altLang="ko-KR" sz="1800" b="1" cap="small" smtClean="0">
                <a:latin typeface="+mn-lt"/>
                <a:cs typeface="Arial" pitchFamily="34" charset="0"/>
              </a:rPr>
            </a:br>
            <a:r>
              <a:rPr lang="en-IN" altLang="ko-KR" sz="1800" b="1" cap="small" smtClean="0">
                <a:latin typeface="+mn-lt"/>
                <a:cs typeface="Arial" pitchFamily="34" charset="0"/>
              </a:rPr>
              <a:t>excel</a:t>
            </a:r>
            <a:endParaRPr lang="ko-KR" altLang="en-US" sz="1800" b="1" cap="small" dirty="0">
              <a:latin typeface="+mn-lt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 rot="16200000">
            <a:off x="6681183" y="3134824"/>
            <a:ext cx="165910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IN" altLang="ko-KR" sz="1800" b="1" cap="small" dirty="0" smtClean="0">
                <a:latin typeface="+mn-lt"/>
                <a:cs typeface="Arial" pitchFamily="34" charset="0"/>
              </a:rPr>
              <a:t>Graphic design</a:t>
            </a:r>
            <a:endParaRPr lang="ko-KR" altLang="en-US" sz="1800" b="1" cap="small" dirty="0">
              <a:latin typeface="+mn-lt"/>
              <a:cs typeface="Arial" pitchFamily="34" charset="0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7510735" y="1581486"/>
            <a:ext cx="406428" cy="406428"/>
            <a:chOff x="7509106" y="1400288"/>
            <a:chExt cx="715540" cy="715540"/>
          </a:xfrm>
        </p:grpSpPr>
        <p:sp>
          <p:nvSpPr>
            <p:cNvPr id="61" name="Oval 60"/>
            <p:cNvSpPr/>
            <p:nvPr/>
          </p:nvSpPr>
          <p:spPr>
            <a:xfrm>
              <a:off x="7509106" y="1400288"/>
              <a:ext cx="715540" cy="71554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7608801" y="1529647"/>
              <a:ext cx="516150" cy="456822"/>
              <a:chOff x="6616700" y="1654175"/>
              <a:chExt cx="552450" cy="488950"/>
            </a:xfrm>
            <a:solidFill>
              <a:srgbClr val="EE7612"/>
            </a:solidFill>
          </p:grpSpPr>
          <p:sp>
            <p:nvSpPr>
              <p:cNvPr id="55" name="Rectangle 49"/>
              <p:cNvSpPr>
                <a:spLocks noChangeArrowheads="1"/>
              </p:cNvSpPr>
              <p:nvPr/>
            </p:nvSpPr>
            <p:spPr bwMode="auto">
              <a:xfrm>
                <a:off x="6819900" y="2093913"/>
                <a:ext cx="146050" cy="3016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56" name="Freeform 50"/>
              <p:cNvSpPr>
                <a:spLocks/>
              </p:cNvSpPr>
              <p:nvPr/>
            </p:nvSpPr>
            <p:spPr bwMode="auto">
              <a:xfrm>
                <a:off x="6777038" y="2128838"/>
                <a:ext cx="231775" cy="14287"/>
              </a:xfrm>
              <a:custGeom>
                <a:avLst/>
                <a:gdLst>
                  <a:gd name="T0" fmla="*/ 141 w 146"/>
                  <a:gd name="T1" fmla="*/ 0 h 9"/>
                  <a:gd name="T2" fmla="*/ 5 w 146"/>
                  <a:gd name="T3" fmla="*/ 0 h 9"/>
                  <a:gd name="T4" fmla="*/ 5 w 146"/>
                  <a:gd name="T5" fmla="*/ 0 h 9"/>
                  <a:gd name="T6" fmla="*/ 1 w 146"/>
                  <a:gd name="T7" fmla="*/ 2 h 9"/>
                  <a:gd name="T8" fmla="*/ 0 w 146"/>
                  <a:gd name="T9" fmla="*/ 8 h 9"/>
                  <a:gd name="T10" fmla="*/ 0 w 146"/>
                  <a:gd name="T11" fmla="*/ 9 h 9"/>
                  <a:gd name="T12" fmla="*/ 146 w 146"/>
                  <a:gd name="T13" fmla="*/ 9 h 9"/>
                  <a:gd name="T14" fmla="*/ 146 w 146"/>
                  <a:gd name="T15" fmla="*/ 8 h 9"/>
                  <a:gd name="T16" fmla="*/ 146 w 146"/>
                  <a:gd name="T17" fmla="*/ 8 h 9"/>
                  <a:gd name="T18" fmla="*/ 145 w 146"/>
                  <a:gd name="T19" fmla="*/ 2 h 9"/>
                  <a:gd name="T20" fmla="*/ 141 w 146"/>
                  <a:gd name="T21" fmla="*/ 0 h 9"/>
                  <a:gd name="T22" fmla="*/ 141 w 146"/>
                  <a:gd name="T2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6" h="9">
                    <a:moveTo>
                      <a:pt x="141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1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46" y="9"/>
                    </a:lnTo>
                    <a:lnTo>
                      <a:pt x="146" y="8"/>
                    </a:lnTo>
                    <a:lnTo>
                      <a:pt x="146" y="8"/>
                    </a:lnTo>
                    <a:lnTo>
                      <a:pt x="145" y="2"/>
                    </a:lnTo>
                    <a:lnTo>
                      <a:pt x="141" y="0"/>
                    </a:lnTo>
                    <a:lnTo>
                      <a:pt x="14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57" name="Freeform 51"/>
              <p:cNvSpPr>
                <a:spLocks/>
              </p:cNvSpPr>
              <p:nvPr/>
            </p:nvSpPr>
            <p:spPr bwMode="auto">
              <a:xfrm>
                <a:off x="6616700" y="1682750"/>
                <a:ext cx="552450" cy="403225"/>
              </a:xfrm>
              <a:custGeom>
                <a:avLst/>
                <a:gdLst>
                  <a:gd name="T0" fmla="*/ 339 w 348"/>
                  <a:gd name="T1" fmla="*/ 0 h 254"/>
                  <a:gd name="T2" fmla="*/ 306 w 348"/>
                  <a:gd name="T3" fmla="*/ 0 h 254"/>
                  <a:gd name="T4" fmla="*/ 306 w 348"/>
                  <a:gd name="T5" fmla="*/ 0 h 254"/>
                  <a:gd name="T6" fmla="*/ 297 w 348"/>
                  <a:gd name="T7" fmla="*/ 13 h 254"/>
                  <a:gd name="T8" fmla="*/ 290 w 348"/>
                  <a:gd name="T9" fmla="*/ 22 h 254"/>
                  <a:gd name="T10" fmla="*/ 326 w 348"/>
                  <a:gd name="T11" fmla="*/ 22 h 254"/>
                  <a:gd name="T12" fmla="*/ 326 w 348"/>
                  <a:gd name="T13" fmla="*/ 199 h 254"/>
                  <a:gd name="T14" fmla="*/ 22 w 348"/>
                  <a:gd name="T15" fmla="*/ 199 h 254"/>
                  <a:gd name="T16" fmla="*/ 22 w 348"/>
                  <a:gd name="T17" fmla="*/ 22 h 254"/>
                  <a:gd name="T18" fmla="*/ 209 w 348"/>
                  <a:gd name="T19" fmla="*/ 22 h 254"/>
                  <a:gd name="T20" fmla="*/ 238 w 348"/>
                  <a:gd name="T21" fmla="*/ 0 h 254"/>
                  <a:gd name="T22" fmla="*/ 9 w 348"/>
                  <a:gd name="T23" fmla="*/ 0 h 254"/>
                  <a:gd name="T24" fmla="*/ 9 w 348"/>
                  <a:gd name="T25" fmla="*/ 0 h 254"/>
                  <a:gd name="T26" fmla="*/ 5 w 348"/>
                  <a:gd name="T27" fmla="*/ 2 h 254"/>
                  <a:gd name="T28" fmla="*/ 3 w 348"/>
                  <a:gd name="T29" fmla="*/ 4 h 254"/>
                  <a:gd name="T30" fmla="*/ 1 w 348"/>
                  <a:gd name="T31" fmla="*/ 6 h 254"/>
                  <a:gd name="T32" fmla="*/ 0 w 348"/>
                  <a:gd name="T33" fmla="*/ 10 h 254"/>
                  <a:gd name="T34" fmla="*/ 0 w 348"/>
                  <a:gd name="T35" fmla="*/ 245 h 254"/>
                  <a:gd name="T36" fmla="*/ 0 w 348"/>
                  <a:gd name="T37" fmla="*/ 245 h 254"/>
                  <a:gd name="T38" fmla="*/ 1 w 348"/>
                  <a:gd name="T39" fmla="*/ 248 h 254"/>
                  <a:gd name="T40" fmla="*/ 3 w 348"/>
                  <a:gd name="T41" fmla="*/ 252 h 254"/>
                  <a:gd name="T42" fmla="*/ 5 w 348"/>
                  <a:gd name="T43" fmla="*/ 254 h 254"/>
                  <a:gd name="T44" fmla="*/ 9 w 348"/>
                  <a:gd name="T45" fmla="*/ 254 h 254"/>
                  <a:gd name="T46" fmla="*/ 339 w 348"/>
                  <a:gd name="T47" fmla="*/ 254 h 254"/>
                  <a:gd name="T48" fmla="*/ 339 w 348"/>
                  <a:gd name="T49" fmla="*/ 254 h 254"/>
                  <a:gd name="T50" fmla="*/ 343 w 348"/>
                  <a:gd name="T51" fmla="*/ 254 h 254"/>
                  <a:gd name="T52" fmla="*/ 345 w 348"/>
                  <a:gd name="T53" fmla="*/ 252 h 254"/>
                  <a:gd name="T54" fmla="*/ 347 w 348"/>
                  <a:gd name="T55" fmla="*/ 248 h 254"/>
                  <a:gd name="T56" fmla="*/ 348 w 348"/>
                  <a:gd name="T57" fmla="*/ 245 h 254"/>
                  <a:gd name="T58" fmla="*/ 348 w 348"/>
                  <a:gd name="T59" fmla="*/ 10 h 254"/>
                  <a:gd name="T60" fmla="*/ 348 w 348"/>
                  <a:gd name="T61" fmla="*/ 10 h 254"/>
                  <a:gd name="T62" fmla="*/ 347 w 348"/>
                  <a:gd name="T63" fmla="*/ 6 h 254"/>
                  <a:gd name="T64" fmla="*/ 345 w 348"/>
                  <a:gd name="T65" fmla="*/ 4 h 254"/>
                  <a:gd name="T66" fmla="*/ 343 w 348"/>
                  <a:gd name="T67" fmla="*/ 2 h 254"/>
                  <a:gd name="T68" fmla="*/ 339 w 348"/>
                  <a:gd name="T69" fmla="*/ 0 h 254"/>
                  <a:gd name="T70" fmla="*/ 339 w 348"/>
                  <a:gd name="T71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48" h="254">
                    <a:moveTo>
                      <a:pt x="339" y="0"/>
                    </a:moveTo>
                    <a:lnTo>
                      <a:pt x="306" y="0"/>
                    </a:lnTo>
                    <a:lnTo>
                      <a:pt x="306" y="0"/>
                    </a:lnTo>
                    <a:lnTo>
                      <a:pt x="297" y="13"/>
                    </a:lnTo>
                    <a:lnTo>
                      <a:pt x="290" y="22"/>
                    </a:lnTo>
                    <a:lnTo>
                      <a:pt x="326" y="22"/>
                    </a:lnTo>
                    <a:lnTo>
                      <a:pt x="326" y="199"/>
                    </a:lnTo>
                    <a:lnTo>
                      <a:pt x="22" y="199"/>
                    </a:lnTo>
                    <a:lnTo>
                      <a:pt x="22" y="22"/>
                    </a:lnTo>
                    <a:lnTo>
                      <a:pt x="209" y="22"/>
                    </a:lnTo>
                    <a:lnTo>
                      <a:pt x="23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245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3" y="252"/>
                    </a:lnTo>
                    <a:lnTo>
                      <a:pt x="5" y="254"/>
                    </a:lnTo>
                    <a:lnTo>
                      <a:pt x="9" y="254"/>
                    </a:lnTo>
                    <a:lnTo>
                      <a:pt x="339" y="254"/>
                    </a:lnTo>
                    <a:lnTo>
                      <a:pt x="339" y="254"/>
                    </a:lnTo>
                    <a:lnTo>
                      <a:pt x="343" y="254"/>
                    </a:lnTo>
                    <a:lnTo>
                      <a:pt x="345" y="252"/>
                    </a:lnTo>
                    <a:lnTo>
                      <a:pt x="347" y="248"/>
                    </a:lnTo>
                    <a:lnTo>
                      <a:pt x="348" y="245"/>
                    </a:lnTo>
                    <a:lnTo>
                      <a:pt x="348" y="10"/>
                    </a:lnTo>
                    <a:lnTo>
                      <a:pt x="348" y="10"/>
                    </a:lnTo>
                    <a:lnTo>
                      <a:pt x="347" y="6"/>
                    </a:lnTo>
                    <a:lnTo>
                      <a:pt x="345" y="4"/>
                    </a:lnTo>
                    <a:lnTo>
                      <a:pt x="343" y="2"/>
                    </a:lnTo>
                    <a:lnTo>
                      <a:pt x="339" y="0"/>
                    </a:lnTo>
                    <a:lnTo>
                      <a:pt x="33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58" name="Freeform 52"/>
              <p:cNvSpPr>
                <a:spLocks/>
              </p:cNvSpPr>
              <p:nvPr/>
            </p:nvSpPr>
            <p:spPr bwMode="auto">
              <a:xfrm>
                <a:off x="6729413" y="1866900"/>
                <a:ext cx="122237" cy="98425"/>
              </a:xfrm>
              <a:custGeom>
                <a:avLst/>
                <a:gdLst>
                  <a:gd name="T0" fmla="*/ 24 w 77"/>
                  <a:gd name="T1" fmla="*/ 17 h 62"/>
                  <a:gd name="T2" fmla="*/ 24 w 77"/>
                  <a:gd name="T3" fmla="*/ 17 h 62"/>
                  <a:gd name="T4" fmla="*/ 20 w 77"/>
                  <a:gd name="T5" fmla="*/ 24 h 62"/>
                  <a:gd name="T6" fmla="*/ 19 w 77"/>
                  <a:gd name="T7" fmla="*/ 31 h 62"/>
                  <a:gd name="T8" fmla="*/ 15 w 77"/>
                  <a:gd name="T9" fmla="*/ 44 h 62"/>
                  <a:gd name="T10" fmla="*/ 15 w 77"/>
                  <a:gd name="T11" fmla="*/ 50 h 62"/>
                  <a:gd name="T12" fmla="*/ 11 w 77"/>
                  <a:gd name="T13" fmla="*/ 55 h 62"/>
                  <a:gd name="T14" fmla="*/ 8 w 77"/>
                  <a:gd name="T15" fmla="*/ 57 h 62"/>
                  <a:gd name="T16" fmla="*/ 0 w 77"/>
                  <a:gd name="T17" fmla="*/ 59 h 62"/>
                  <a:gd name="T18" fmla="*/ 0 w 77"/>
                  <a:gd name="T19" fmla="*/ 59 h 62"/>
                  <a:gd name="T20" fmla="*/ 8 w 77"/>
                  <a:gd name="T21" fmla="*/ 61 h 62"/>
                  <a:gd name="T22" fmla="*/ 8 w 77"/>
                  <a:gd name="T23" fmla="*/ 61 h 62"/>
                  <a:gd name="T24" fmla="*/ 15 w 77"/>
                  <a:gd name="T25" fmla="*/ 61 h 62"/>
                  <a:gd name="T26" fmla="*/ 20 w 77"/>
                  <a:gd name="T27" fmla="*/ 59 h 62"/>
                  <a:gd name="T28" fmla="*/ 24 w 77"/>
                  <a:gd name="T29" fmla="*/ 53 h 62"/>
                  <a:gd name="T30" fmla="*/ 26 w 77"/>
                  <a:gd name="T31" fmla="*/ 46 h 62"/>
                  <a:gd name="T32" fmla="*/ 26 w 77"/>
                  <a:gd name="T33" fmla="*/ 46 h 62"/>
                  <a:gd name="T34" fmla="*/ 26 w 77"/>
                  <a:gd name="T35" fmla="*/ 51 h 62"/>
                  <a:gd name="T36" fmla="*/ 24 w 77"/>
                  <a:gd name="T37" fmla="*/ 57 h 62"/>
                  <a:gd name="T38" fmla="*/ 22 w 77"/>
                  <a:gd name="T39" fmla="*/ 62 h 62"/>
                  <a:gd name="T40" fmla="*/ 22 w 77"/>
                  <a:gd name="T41" fmla="*/ 62 h 62"/>
                  <a:gd name="T42" fmla="*/ 30 w 77"/>
                  <a:gd name="T43" fmla="*/ 62 h 62"/>
                  <a:gd name="T44" fmla="*/ 39 w 77"/>
                  <a:gd name="T45" fmla="*/ 61 h 62"/>
                  <a:gd name="T46" fmla="*/ 48 w 77"/>
                  <a:gd name="T47" fmla="*/ 57 h 62"/>
                  <a:gd name="T48" fmla="*/ 55 w 77"/>
                  <a:gd name="T49" fmla="*/ 53 h 62"/>
                  <a:gd name="T50" fmla="*/ 55 w 77"/>
                  <a:gd name="T51" fmla="*/ 53 h 62"/>
                  <a:gd name="T52" fmla="*/ 66 w 77"/>
                  <a:gd name="T53" fmla="*/ 44 h 62"/>
                  <a:gd name="T54" fmla="*/ 74 w 77"/>
                  <a:gd name="T55" fmla="*/ 35 h 62"/>
                  <a:gd name="T56" fmla="*/ 77 w 77"/>
                  <a:gd name="T57" fmla="*/ 26 h 62"/>
                  <a:gd name="T58" fmla="*/ 55 w 77"/>
                  <a:gd name="T59" fmla="*/ 0 h 62"/>
                  <a:gd name="T60" fmla="*/ 55 w 77"/>
                  <a:gd name="T61" fmla="*/ 0 h 62"/>
                  <a:gd name="T62" fmla="*/ 44 w 77"/>
                  <a:gd name="T63" fmla="*/ 4 h 62"/>
                  <a:gd name="T64" fmla="*/ 33 w 77"/>
                  <a:gd name="T65" fmla="*/ 9 h 62"/>
                  <a:gd name="T66" fmla="*/ 28 w 77"/>
                  <a:gd name="T67" fmla="*/ 13 h 62"/>
                  <a:gd name="T68" fmla="*/ 24 w 77"/>
                  <a:gd name="T69" fmla="*/ 17 h 62"/>
                  <a:gd name="T70" fmla="*/ 24 w 77"/>
                  <a:gd name="T71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7" h="62">
                    <a:moveTo>
                      <a:pt x="24" y="17"/>
                    </a:moveTo>
                    <a:lnTo>
                      <a:pt x="24" y="17"/>
                    </a:lnTo>
                    <a:lnTo>
                      <a:pt x="20" y="24"/>
                    </a:lnTo>
                    <a:lnTo>
                      <a:pt x="19" y="31"/>
                    </a:lnTo>
                    <a:lnTo>
                      <a:pt x="15" y="44"/>
                    </a:lnTo>
                    <a:lnTo>
                      <a:pt x="15" y="50"/>
                    </a:lnTo>
                    <a:lnTo>
                      <a:pt x="11" y="55"/>
                    </a:lnTo>
                    <a:lnTo>
                      <a:pt x="8" y="57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15" y="61"/>
                    </a:lnTo>
                    <a:lnTo>
                      <a:pt x="20" y="59"/>
                    </a:lnTo>
                    <a:lnTo>
                      <a:pt x="24" y="53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1"/>
                    </a:lnTo>
                    <a:lnTo>
                      <a:pt x="24" y="57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0" y="62"/>
                    </a:lnTo>
                    <a:lnTo>
                      <a:pt x="39" y="61"/>
                    </a:lnTo>
                    <a:lnTo>
                      <a:pt x="48" y="57"/>
                    </a:lnTo>
                    <a:lnTo>
                      <a:pt x="55" y="53"/>
                    </a:lnTo>
                    <a:lnTo>
                      <a:pt x="55" y="53"/>
                    </a:lnTo>
                    <a:lnTo>
                      <a:pt x="66" y="44"/>
                    </a:lnTo>
                    <a:lnTo>
                      <a:pt x="74" y="35"/>
                    </a:lnTo>
                    <a:lnTo>
                      <a:pt x="77" y="26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44" y="4"/>
                    </a:lnTo>
                    <a:lnTo>
                      <a:pt x="33" y="9"/>
                    </a:lnTo>
                    <a:lnTo>
                      <a:pt x="28" y="13"/>
                    </a:lnTo>
                    <a:lnTo>
                      <a:pt x="24" y="17"/>
                    </a:lnTo>
                    <a:lnTo>
                      <a:pt x="24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59" name="Freeform 53"/>
              <p:cNvSpPr>
                <a:spLocks/>
              </p:cNvSpPr>
              <p:nvPr/>
            </p:nvSpPr>
            <p:spPr bwMode="auto">
              <a:xfrm>
                <a:off x="6846888" y="1654175"/>
                <a:ext cx="244475" cy="223837"/>
              </a:xfrm>
              <a:custGeom>
                <a:avLst/>
                <a:gdLst>
                  <a:gd name="T0" fmla="*/ 132 w 154"/>
                  <a:gd name="T1" fmla="*/ 11 h 141"/>
                  <a:gd name="T2" fmla="*/ 132 w 154"/>
                  <a:gd name="T3" fmla="*/ 11 h 141"/>
                  <a:gd name="T4" fmla="*/ 36 w 154"/>
                  <a:gd name="T5" fmla="*/ 77 h 141"/>
                  <a:gd name="T6" fmla="*/ 36 w 154"/>
                  <a:gd name="T7" fmla="*/ 77 h 141"/>
                  <a:gd name="T8" fmla="*/ 20 w 154"/>
                  <a:gd name="T9" fmla="*/ 90 h 141"/>
                  <a:gd name="T10" fmla="*/ 7 w 154"/>
                  <a:gd name="T11" fmla="*/ 103 h 141"/>
                  <a:gd name="T12" fmla="*/ 0 w 154"/>
                  <a:gd name="T13" fmla="*/ 112 h 141"/>
                  <a:gd name="T14" fmla="*/ 0 w 154"/>
                  <a:gd name="T15" fmla="*/ 116 h 141"/>
                  <a:gd name="T16" fmla="*/ 0 w 154"/>
                  <a:gd name="T17" fmla="*/ 119 h 141"/>
                  <a:gd name="T18" fmla="*/ 0 w 154"/>
                  <a:gd name="T19" fmla="*/ 119 h 141"/>
                  <a:gd name="T20" fmla="*/ 18 w 154"/>
                  <a:gd name="T21" fmla="*/ 141 h 141"/>
                  <a:gd name="T22" fmla="*/ 18 w 154"/>
                  <a:gd name="T23" fmla="*/ 141 h 141"/>
                  <a:gd name="T24" fmla="*/ 22 w 154"/>
                  <a:gd name="T25" fmla="*/ 141 h 141"/>
                  <a:gd name="T26" fmla="*/ 25 w 154"/>
                  <a:gd name="T27" fmla="*/ 141 h 141"/>
                  <a:gd name="T28" fmla="*/ 36 w 154"/>
                  <a:gd name="T29" fmla="*/ 136 h 141"/>
                  <a:gd name="T30" fmla="*/ 51 w 154"/>
                  <a:gd name="T31" fmla="*/ 125 h 141"/>
                  <a:gd name="T32" fmla="*/ 66 w 154"/>
                  <a:gd name="T33" fmla="*/ 108 h 141"/>
                  <a:gd name="T34" fmla="*/ 66 w 154"/>
                  <a:gd name="T35" fmla="*/ 108 h 141"/>
                  <a:gd name="T36" fmla="*/ 141 w 154"/>
                  <a:gd name="T37" fmla="*/ 22 h 141"/>
                  <a:gd name="T38" fmla="*/ 141 w 154"/>
                  <a:gd name="T39" fmla="*/ 22 h 141"/>
                  <a:gd name="T40" fmla="*/ 152 w 154"/>
                  <a:gd name="T41" fmla="*/ 7 h 141"/>
                  <a:gd name="T42" fmla="*/ 154 w 154"/>
                  <a:gd name="T43" fmla="*/ 4 h 141"/>
                  <a:gd name="T44" fmla="*/ 154 w 154"/>
                  <a:gd name="T45" fmla="*/ 2 h 141"/>
                  <a:gd name="T46" fmla="*/ 150 w 154"/>
                  <a:gd name="T47" fmla="*/ 0 h 141"/>
                  <a:gd name="T48" fmla="*/ 146 w 154"/>
                  <a:gd name="T49" fmla="*/ 2 h 141"/>
                  <a:gd name="T50" fmla="*/ 132 w 154"/>
                  <a:gd name="T51" fmla="*/ 11 h 141"/>
                  <a:gd name="T52" fmla="*/ 132 w 154"/>
                  <a:gd name="T53" fmla="*/ 1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4" h="141">
                    <a:moveTo>
                      <a:pt x="132" y="11"/>
                    </a:moveTo>
                    <a:lnTo>
                      <a:pt x="132" y="11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20" y="90"/>
                    </a:lnTo>
                    <a:lnTo>
                      <a:pt x="7" y="103"/>
                    </a:lnTo>
                    <a:lnTo>
                      <a:pt x="0" y="112"/>
                    </a:lnTo>
                    <a:lnTo>
                      <a:pt x="0" y="116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18" y="141"/>
                    </a:lnTo>
                    <a:lnTo>
                      <a:pt x="18" y="141"/>
                    </a:lnTo>
                    <a:lnTo>
                      <a:pt x="22" y="141"/>
                    </a:lnTo>
                    <a:lnTo>
                      <a:pt x="25" y="141"/>
                    </a:lnTo>
                    <a:lnTo>
                      <a:pt x="36" y="136"/>
                    </a:lnTo>
                    <a:lnTo>
                      <a:pt x="51" y="125"/>
                    </a:lnTo>
                    <a:lnTo>
                      <a:pt x="66" y="108"/>
                    </a:lnTo>
                    <a:lnTo>
                      <a:pt x="66" y="108"/>
                    </a:lnTo>
                    <a:lnTo>
                      <a:pt x="141" y="22"/>
                    </a:lnTo>
                    <a:lnTo>
                      <a:pt x="141" y="22"/>
                    </a:lnTo>
                    <a:lnTo>
                      <a:pt x="152" y="7"/>
                    </a:lnTo>
                    <a:lnTo>
                      <a:pt x="154" y="4"/>
                    </a:lnTo>
                    <a:lnTo>
                      <a:pt x="154" y="2"/>
                    </a:lnTo>
                    <a:lnTo>
                      <a:pt x="150" y="0"/>
                    </a:lnTo>
                    <a:lnTo>
                      <a:pt x="146" y="2"/>
                    </a:lnTo>
                    <a:lnTo>
                      <a:pt x="132" y="11"/>
                    </a:lnTo>
                    <a:lnTo>
                      <a:pt x="13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60" name="Freeform 54"/>
              <p:cNvSpPr>
                <a:spLocks/>
              </p:cNvSpPr>
              <p:nvPr/>
            </p:nvSpPr>
            <p:spPr bwMode="auto">
              <a:xfrm>
                <a:off x="6819900" y="1843088"/>
                <a:ext cx="55562" cy="55562"/>
              </a:xfrm>
              <a:custGeom>
                <a:avLst/>
                <a:gdLst>
                  <a:gd name="T0" fmla="*/ 13 w 35"/>
                  <a:gd name="T1" fmla="*/ 2 h 35"/>
                  <a:gd name="T2" fmla="*/ 13 w 35"/>
                  <a:gd name="T3" fmla="*/ 2 h 35"/>
                  <a:gd name="T4" fmla="*/ 9 w 35"/>
                  <a:gd name="T5" fmla="*/ 0 h 35"/>
                  <a:gd name="T6" fmla="*/ 6 w 35"/>
                  <a:gd name="T7" fmla="*/ 2 h 35"/>
                  <a:gd name="T8" fmla="*/ 6 w 35"/>
                  <a:gd name="T9" fmla="*/ 2 h 35"/>
                  <a:gd name="T10" fmla="*/ 4 w 35"/>
                  <a:gd name="T11" fmla="*/ 4 h 35"/>
                  <a:gd name="T12" fmla="*/ 4 w 35"/>
                  <a:gd name="T13" fmla="*/ 8 h 35"/>
                  <a:gd name="T14" fmla="*/ 4 w 35"/>
                  <a:gd name="T15" fmla="*/ 8 h 35"/>
                  <a:gd name="T16" fmla="*/ 2 w 35"/>
                  <a:gd name="T17" fmla="*/ 8 h 35"/>
                  <a:gd name="T18" fmla="*/ 2 w 35"/>
                  <a:gd name="T19" fmla="*/ 8 h 35"/>
                  <a:gd name="T20" fmla="*/ 0 w 35"/>
                  <a:gd name="T21" fmla="*/ 11 h 35"/>
                  <a:gd name="T22" fmla="*/ 2 w 35"/>
                  <a:gd name="T23" fmla="*/ 13 h 35"/>
                  <a:gd name="T24" fmla="*/ 20 w 35"/>
                  <a:gd name="T25" fmla="*/ 35 h 35"/>
                  <a:gd name="T26" fmla="*/ 20 w 35"/>
                  <a:gd name="T27" fmla="*/ 35 h 35"/>
                  <a:gd name="T28" fmla="*/ 24 w 35"/>
                  <a:gd name="T29" fmla="*/ 35 h 35"/>
                  <a:gd name="T30" fmla="*/ 28 w 35"/>
                  <a:gd name="T31" fmla="*/ 35 h 35"/>
                  <a:gd name="T32" fmla="*/ 28 w 35"/>
                  <a:gd name="T33" fmla="*/ 35 h 35"/>
                  <a:gd name="T34" fmla="*/ 28 w 35"/>
                  <a:gd name="T35" fmla="*/ 33 h 35"/>
                  <a:gd name="T36" fmla="*/ 28 w 35"/>
                  <a:gd name="T37" fmla="*/ 33 h 35"/>
                  <a:gd name="T38" fmla="*/ 29 w 35"/>
                  <a:gd name="T39" fmla="*/ 33 h 35"/>
                  <a:gd name="T40" fmla="*/ 33 w 35"/>
                  <a:gd name="T41" fmla="*/ 32 h 35"/>
                  <a:gd name="T42" fmla="*/ 33 w 35"/>
                  <a:gd name="T43" fmla="*/ 32 h 35"/>
                  <a:gd name="T44" fmla="*/ 35 w 35"/>
                  <a:gd name="T45" fmla="*/ 30 h 35"/>
                  <a:gd name="T46" fmla="*/ 33 w 35"/>
                  <a:gd name="T47" fmla="*/ 26 h 35"/>
                  <a:gd name="T48" fmla="*/ 13 w 35"/>
                  <a:gd name="T49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35">
                    <a:moveTo>
                      <a:pt x="13" y="2"/>
                    </a:moveTo>
                    <a:lnTo>
                      <a:pt x="13" y="2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20" y="35"/>
                    </a:lnTo>
                    <a:lnTo>
                      <a:pt x="20" y="35"/>
                    </a:lnTo>
                    <a:lnTo>
                      <a:pt x="24" y="35"/>
                    </a:lnTo>
                    <a:lnTo>
                      <a:pt x="28" y="35"/>
                    </a:lnTo>
                    <a:lnTo>
                      <a:pt x="28" y="35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3" y="32"/>
                    </a:lnTo>
                    <a:lnTo>
                      <a:pt x="33" y="32"/>
                    </a:lnTo>
                    <a:lnTo>
                      <a:pt x="35" y="30"/>
                    </a:lnTo>
                    <a:lnTo>
                      <a:pt x="33" y="26"/>
                    </a:lnTo>
                    <a:lnTo>
                      <a:pt x="1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sp>
        <p:nvSpPr>
          <p:cNvPr id="64" name="Oval 63"/>
          <p:cNvSpPr/>
          <p:nvPr/>
        </p:nvSpPr>
        <p:spPr>
          <a:xfrm>
            <a:off x="6425645" y="2028271"/>
            <a:ext cx="406428" cy="40642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3" name="Oval 72"/>
          <p:cNvSpPr/>
          <p:nvPr/>
        </p:nvSpPr>
        <p:spPr>
          <a:xfrm>
            <a:off x="5568653" y="2224535"/>
            <a:ext cx="406428" cy="40642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9" name="Picture 3" descr="\\server\D\Mail folder\excel-png-office-xlsx-icon-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624" y="2058724"/>
            <a:ext cx="345522" cy="34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\\server\D\Mail folder\images (1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854" y="2310961"/>
            <a:ext cx="252026" cy="25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50170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506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"/>
              <a:sym typeface="Arial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7BE063-69D9-4DE9-A028-46E00C9DA6B3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RAPHIC </a:t>
            </a:r>
            <a:r>
              <a:rPr lang="en-US" dirty="0"/>
              <a:t>DESIGN SERVICES</a:t>
            </a:r>
          </a:p>
        </p:txBody>
      </p:sp>
      <p:grpSp>
        <p:nvGrpSpPr>
          <p:cNvPr id="4106" name="Group 4105"/>
          <p:cNvGrpSpPr/>
          <p:nvPr/>
        </p:nvGrpSpPr>
        <p:grpSpPr>
          <a:xfrm>
            <a:off x="890068" y="1346259"/>
            <a:ext cx="10410277" cy="4661001"/>
            <a:chOff x="825614" y="1346259"/>
            <a:chExt cx="10410277" cy="4661001"/>
          </a:xfrm>
        </p:grpSpPr>
        <p:grpSp>
          <p:nvGrpSpPr>
            <p:cNvPr id="65" name="Group 64"/>
            <p:cNvGrpSpPr/>
            <p:nvPr/>
          </p:nvGrpSpPr>
          <p:grpSpPr>
            <a:xfrm>
              <a:off x="4520785" y="2759063"/>
              <a:ext cx="3637405" cy="2009707"/>
              <a:chOff x="4226145" y="2759063"/>
              <a:chExt cx="3637405" cy="20097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xmlns="" id="{A465BABB-7B67-064C-8DD8-C8CCA2CBB43C}"/>
                  </a:ext>
                </a:extLst>
              </p:cNvPr>
              <p:cNvCxnSpPr/>
              <p:nvPr/>
            </p:nvCxnSpPr>
            <p:spPr>
              <a:xfrm>
                <a:off x="6045845" y="3956576"/>
                <a:ext cx="0" cy="812194"/>
              </a:xfrm>
              <a:prstGeom prst="line">
                <a:avLst/>
              </a:prstGeom>
              <a:noFill/>
              <a:ln w="260350" cap="rnd" cmpd="sng" algn="ctr">
                <a:gradFill flip="none" rotWithShape="1">
                  <a:gsLst>
                    <a:gs pos="0">
                      <a:schemeClr val="accent4">
                        <a:lumMod val="50000"/>
                      </a:schemeClr>
                    </a:gs>
                    <a:gs pos="100000">
                      <a:schemeClr val="accent2">
                        <a:lumMod val="50000"/>
                      </a:schemeClr>
                    </a:gs>
                    <a:gs pos="35000">
                      <a:schemeClr val="accent5">
                        <a:lumMod val="50000"/>
                      </a:schemeClr>
                    </a:gs>
                    <a:gs pos="68000">
                      <a:schemeClr val="accent6">
                        <a:lumMod val="50000"/>
                      </a:schemeClr>
                    </a:gs>
                  </a:gsLst>
                  <a:lin ang="11700000" scaled="0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</p:spPr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xmlns="" id="{578E6F8D-19A8-4248-8DBA-2F92C5DA8B3E}"/>
                  </a:ext>
                </a:extLst>
              </p:cNvPr>
              <p:cNvGrpSpPr/>
              <p:nvPr/>
            </p:nvGrpSpPr>
            <p:grpSpPr>
              <a:xfrm>
                <a:off x="4226145" y="2759063"/>
                <a:ext cx="3637405" cy="1227711"/>
                <a:chOff x="3200403" y="3124201"/>
                <a:chExt cx="5791198" cy="1954667"/>
              </a:xfrm>
            </p:grpSpPr>
            <p:sp>
              <p:nvSpPr>
                <p:cNvPr id="75" name="Freeform 5">
                  <a:extLst>
                    <a:ext uri="{FF2B5EF4-FFF2-40B4-BE49-F238E27FC236}">
                      <a16:creationId xmlns:a16="http://schemas.microsoft.com/office/drawing/2014/main" xmlns="" id="{311CFDF7-E47A-B945-920B-CA71B29A5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2766" y="4514897"/>
                  <a:ext cx="1146473" cy="563971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15"/>
                    </a:cxn>
                    <a:cxn ang="0">
                      <a:pos x="17" y="41"/>
                    </a:cxn>
                    <a:cxn ang="0">
                      <a:pos x="47" y="67"/>
                    </a:cxn>
                    <a:cxn ang="0">
                      <a:pos x="89" y="91"/>
                    </a:cxn>
                    <a:cxn ang="0">
                      <a:pos x="146" y="115"/>
                    </a:cxn>
                    <a:cxn ang="0">
                      <a:pos x="215" y="137"/>
                    </a:cxn>
                    <a:cxn ang="0">
                      <a:pos x="339" y="167"/>
                    </a:cxn>
                    <a:cxn ang="0">
                      <a:pos x="542" y="204"/>
                    </a:cxn>
                    <a:cxn ang="0">
                      <a:pos x="779" y="231"/>
                    </a:cxn>
                    <a:cxn ang="0">
                      <a:pos x="1047" y="252"/>
                    </a:cxn>
                    <a:cxn ang="0">
                      <a:pos x="1339" y="263"/>
                    </a:cxn>
                    <a:cxn ang="0">
                      <a:pos x="1494" y="265"/>
                    </a:cxn>
                    <a:cxn ang="0">
                      <a:pos x="1799" y="261"/>
                    </a:cxn>
                    <a:cxn ang="0">
                      <a:pos x="2088" y="246"/>
                    </a:cxn>
                    <a:cxn ang="0">
                      <a:pos x="2348" y="222"/>
                    </a:cxn>
                    <a:cxn ang="0">
                      <a:pos x="2576" y="191"/>
                    </a:cxn>
                    <a:cxn ang="0">
                      <a:pos x="2764" y="152"/>
                    </a:cxn>
                    <a:cxn ang="0">
                      <a:pos x="2844" y="131"/>
                    </a:cxn>
                    <a:cxn ang="0">
                      <a:pos x="2910" y="107"/>
                    </a:cxn>
                    <a:cxn ang="0">
                      <a:pos x="2964" y="83"/>
                    </a:cxn>
                    <a:cxn ang="0">
                      <a:pos x="3003" y="59"/>
                    </a:cxn>
                    <a:cxn ang="0">
                      <a:pos x="3029" y="33"/>
                    </a:cxn>
                    <a:cxn ang="0">
                      <a:pos x="3040" y="6"/>
                    </a:cxn>
                    <a:cxn ang="0">
                      <a:pos x="3040" y="0"/>
                    </a:cxn>
                    <a:cxn ang="0">
                      <a:pos x="2735" y="2154"/>
                    </a:cxn>
                    <a:cxn ang="0">
                      <a:pos x="2735" y="2158"/>
                    </a:cxn>
                    <a:cxn ang="0">
                      <a:pos x="2727" y="2186"/>
                    </a:cxn>
                    <a:cxn ang="0">
                      <a:pos x="2712" y="2212"/>
                    </a:cxn>
                    <a:cxn ang="0">
                      <a:pos x="2687" y="2236"/>
                    </a:cxn>
                    <a:cxn ang="0">
                      <a:pos x="2653" y="2260"/>
                    </a:cxn>
                    <a:cxn ang="0">
                      <a:pos x="2609" y="2284"/>
                    </a:cxn>
                    <a:cxn ang="0">
                      <a:pos x="2557" y="2306"/>
                    </a:cxn>
                    <a:cxn ang="0">
                      <a:pos x="2424" y="2343"/>
                    </a:cxn>
                    <a:cxn ang="0">
                      <a:pos x="2250" y="2374"/>
                    </a:cxn>
                    <a:cxn ang="0">
                      <a:pos x="2040" y="2399"/>
                    </a:cxn>
                    <a:cxn ang="0">
                      <a:pos x="1786" y="2413"/>
                    </a:cxn>
                    <a:cxn ang="0">
                      <a:pos x="1494" y="2417"/>
                    </a:cxn>
                    <a:cxn ang="0">
                      <a:pos x="1343" y="2415"/>
                    </a:cxn>
                    <a:cxn ang="0">
                      <a:pos x="1074" y="2404"/>
                    </a:cxn>
                    <a:cxn ang="0">
                      <a:pos x="849" y="2384"/>
                    </a:cxn>
                    <a:cxn ang="0">
                      <a:pos x="666" y="2356"/>
                    </a:cxn>
                    <a:cxn ang="0">
                      <a:pos x="520" y="2321"/>
                    </a:cxn>
                    <a:cxn ang="0">
                      <a:pos x="462" y="2301"/>
                    </a:cxn>
                    <a:cxn ang="0">
                      <a:pos x="413" y="2278"/>
                    </a:cxn>
                    <a:cxn ang="0">
                      <a:pos x="374" y="2256"/>
                    </a:cxn>
                    <a:cxn ang="0">
                      <a:pos x="342" y="2232"/>
                    </a:cxn>
                    <a:cxn ang="0">
                      <a:pos x="322" y="2206"/>
                    </a:cxn>
                    <a:cxn ang="0">
                      <a:pos x="309" y="2180"/>
                    </a:cxn>
                    <a:cxn ang="0">
                      <a:pos x="305" y="2154"/>
                    </a:cxn>
                  </a:cxnLst>
                  <a:rect l="0" t="0" r="r" b="b"/>
                  <a:pathLst>
                    <a:path w="3040" h="2417">
                      <a:moveTo>
                        <a:pt x="305" y="2154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15"/>
                      </a:lnTo>
                      <a:lnTo>
                        <a:pt x="8" y="28"/>
                      </a:lnTo>
                      <a:lnTo>
                        <a:pt x="17" y="41"/>
                      </a:lnTo>
                      <a:lnTo>
                        <a:pt x="30" y="54"/>
                      </a:lnTo>
                      <a:lnTo>
                        <a:pt x="47" y="67"/>
                      </a:lnTo>
                      <a:lnTo>
                        <a:pt x="67" y="78"/>
                      </a:lnTo>
                      <a:lnTo>
                        <a:pt x="89" y="91"/>
                      </a:lnTo>
                      <a:lnTo>
                        <a:pt x="117" y="102"/>
                      </a:lnTo>
                      <a:lnTo>
                        <a:pt x="146" y="115"/>
                      </a:lnTo>
                      <a:lnTo>
                        <a:pt x="180" y="126"/>
                      </a:lnTo>
                      <a:lnTo>
                        <a:pt x="215" y="137"/>
                      </a:lnTo>
                      <a:lnTo>
                        <a:pt x="254" y="146"/>
                      </a:lnTo>
                      <a:lnTo>
                        <a:pt x="339" y="167"/>
                      </a:lnTo>
                      <a:lnTo>
                        <a:pt x="435" y="185"/>
                      </a:lnTo>
                      <a:lnTo>
                        <a:pt x="542" y="204"/>
                      </a:lnTo>
                      <a:lnTo>
                        <a:pt x="657" y="218"/>
                      </a:lnTo>
                      <a:lnTo>
                        <a:pt x="779" y="231"/>
                      </a:lnTo>
                      <a:lnTo>
                        <a:pt x="910" y="242"/>
                      </a:lnTo>
                      <a:lnTo>
                        <a:pt x="1047" y="252"/>
                      </a:lnTo>
                      <a:lnTo>
                        <a:pt x="1191" y="259"/>
                      </a:lnTo>
                      <a:lnTo>
                        <a:pt x="1339" y="263"/>
                      </a:lnTo>
                      <a:lnTo>
                        <a:pt x="1494" y="265"/>
                      </a:lnTo>
                      <a:lnTo>
                        <a:pt x="1494" y="265"/>
                      </a:lnTo>
                      <a:lnTo>
                        <a:pt x="1649" y="265"/>
                      </a:lnTo>
                      <a:lnTo>
                        <a:pt x="1799" y="261"/>
                      </a:lnTo>
                      <a:lnTo>
                        <a:pt x="1947" y="255"/>
                      </a:lnTo>
                      <a:lnTo>
                        <a:pt x="2088" y="246"/>
                      </a:lnTo>
                      <a:lnTo>
                        <a:pt x="2221" y="235"/>
                      </a:lnTo>
                      <a:lnTo>
                        <a:pt x="2348" y="222"/>
                      </a:lnTo>
                      <a:lnTo>
                        <a:pt x="2467" y="207"/>
                      </a:lnTo>
                      <a:lnTo>
                        <a:pt x="2576" y="191"/>
                      </a:lnTo>
                      <a:lnTo>
                        <a:pt x="2675" y="172"/>
                      </a:lnTo>
                      <a:lnTo>
                        <a:pt x="2764" y="152"/>
                      </a:lnTo>
                      <a:lnTo>
                        <a:pt x="2805" y="143"/>
                      </a:lnTo>
                      <a:lnTo>
                        <a:pt x="2844" y="131"/>
                      </a:lnTo>
                      <a:lnTo>
                        <a:pt x="2879" y="120"/>
                      </a:lnTo>
                      <a:lnTo>
                        <a:pt x="2910" y="107"/>
                      </a:lnTo>
                      <a:lnTo>
                        <a:pt x="2938" y="96"/>
                      </a:lnTo>
                      <a:lnTo>
                        <a:pt x="2964" y="83"/>
                      </a:lnTo>
                      <a:lnTo>
                        <a:pt x="2984" y="72"/>
                      </a:lnTo>
                      <a:lnTo>
                        <a:pt x="3003" y="59"/>
                      </a:lnTo>
                      <a:lnTo>
                        <a:pt x="3018" y="46"/>
                      </a:lnTo>
                      <a:lnTo>
                        <a:pt x="3029" y="33"/>
                      </a:lnTo>
                      <a:lnTo>
                        <a:pt x="3036" y="19"/>
                      </a:lnTo>
                      <a:lnTo>
                        <a:pt x="3040" y="6"/>
                      </a:lnTo>
                      <a:lnTo>
                        <a:pt x="3040" y="6"/>
                      </a:lnTo>
                      <a:lnTo>
                        <a:pt x="3040" y="0"/>
                      </a:lnTo>
                      <a:lnTo>
                        <a:pt x="2735" y="2154"/>
                      </a:lnTo>
                      <a:lnTo>
                        <a:pt x="2735" y="2154"/>
                      </a:lnTo>
                      <a:lnTo>
                        <a:pt x="2735" y="2158"/>
                      </a:lnTo>
                      <a:lnTo>
                        <a:pt x="2735" y="2158"/>
                      </a:lnTo>
                      <a:lnTo>
                        <a:pt x="2733" y="2171"/>
                      </a:lnTo>
                      <a:lnTo>
                        <a:pt x="2727" y="2186"/>
                      </a:lnTo>
                      <a:lnTo>
                        <a:pt x="2722" y="2199"/>
                      </a:lnTo>
                      <a:lnTo>
                        <a:pt x="2712" y="2212"/>
                      </a:lnTo>
                      <a:lnTo>
                        <a:pt x="2700" y="2225"/>
                      </a:lnTo>
                      <a:lnTo>
                        <a:pt x="2687" y="2236"/>
                      </a:lnTo>
                      <a:lnTo>
                        <a:pt x="2672" y="2249"/>
                      </a:lnTo>
                      <a:lnTo>
                        <a:pt x="2653" y="2260"/>
                      </a:lnTo>
                      <a:lnTo>
                        <a:pt x="2633" y="2273"/>
                      </a:lnTo>
                      <a:lnTo>
                        <a:pt x="2609" y="2284"/>
                      </a:lnTo>
                      <a:lnTo>
                        <a:pt x="2585" y="2295"/>
                      </a:lnTo>
                      <a:lnTo>
                        <a:pt x="2557" y="2306"/>
                      </a:lnTo>
                      <a:lnTo>
                        <a:pt x="2494" y="2325"/>
                      </a:lnTo>
                      <a:lnTo>
                        <a:pt x="2424" y="2343"/>
                      </a:lnTo>
                      <a:lnTo>
                        <a:pt x="2343" y="2360"/>
                      </a:lnTo>
                      <a:lnTo>
                        <a:pt x="2250" y="2374"/>
                      </a:lnTo>
                      <a:lnTo>
                        <a:pt x="2150" y="2387"/>
                      </a:lnTo>
                      <a:lnTo>
                        <a:pt x="2040" y="2399"/>
                      </a:lnTo>
                      <a:lnTo>
                        <a:pt x="1917" y="2408"/>
                      </a:lnTo>
                      <a:lnTo>
                        <a:pt x="1786" y="2413"/>
                      </a:lnTo>
                      <a:lnTo>
                        <a:pt x="1646" y="2417"/>
                      </a:lnTo>
                      <a:lnTo>
                        <a:pt x="1494" y="2417"/>
                      </a:lnTo>
                      <a:lnTo>
                        <a:pt x="1494" y="2417"/>
                      </a:lnTo>
                      <a:lnTo>
                        <a:pt x="1343" y="2415"/>
                      </a:lnTo>
                      <a:lnTo>
                        <a:pt x="1204" y="2411"/>
                      </a:lnTo>
                      <a:lnTo>
                        <a:pt x="1074" y="2404"/>
                      </a:lnTo>
                      <a:lnTo>
                        <a:pt x="958" y="2395"/>
                      </a:lnTo>
                      <a:lnTo>
                        <a:pt x="849" y="2384"/>
                      </a:lnTo>
                      <a:lnTo>
                        <a:pt x="753" y="2371"/>
                      </a:lnTo>
                      <a:lnTo>
                        <a:pt x="666" y="2356"/>
                      </a:lnTo>
                      <a:lnTo>
                        <a:pt x="588" y="2339"/>
                      </a:lnTo>
                      <a:lnTo>
                        <a:pt x="520" y="2321"/>
                      </a:lnTo>
                      <a:lnTo>
                        <a:pt x="490" y="2310"/>
                      </a:lnTo>
                      <a:lnTo>
                        <a:pt x="462" y="2301"/>
                      </a:lnTo>
                      <a:lnTo>
                        <a:pt x="437" y="2289"/>
                      </a:lnTo>
                      <a:lnTo>
                        <a:pt x="413" y="2278"/>
                      </a:lnTo>
                      <a:lnTo>
                        <a:pt x="392" y="2267"/>
                      </a:lnTo>
                      <a:lnTo>
                        <a:pt x="374" y="2256"/>
                      </a:lnTo>
                      <a:lnTo>
                        <a:pt x="357" y="2243"/>
                      </a:lnTo>
                      <a:lnTo>
                        <a:pt x="342" y="2232"/>
                      </a:lnTo>
                      <a:lnTo>
                        <a:pt x="331" y="2219"/>
                      </a:lnTo>
                      <a:lnTo>
                        <a:pt x="322" y="2206"/>
                      </a:lnTo>
                      <a:lnTo>
                        <a:pt x="315" y="2193"/>
                      </a:lnTo>
                      <a:lnTo>
                        <a:pt x="309" y="2180"/>
                      </a:lnTo>
                      <a:lnTo>
                        <a:pt x="305" y="2167"/>
                      </a:lnTo>
                      <a:lnTo>
                        <a:pt x="305" y="2154"/>
                      </a:lnTo>
                      <a:lnTo>
                        <a:pt x="305" y="2154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6A6A6A"/>
                    </a:gs>
                    <a:gs pos="100000">
                      <a:srgbClr val="CFCFCF"/>
                    </a:gs>
                    <a:gs pos="70000">
                      <a:srgbClr val="F2F2F2"/>
                    </a:gs>
                  </a:gsLst>
                  <a:lin ang="10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Freeform 6">
                  <a:extLst>
                    <a:ext uri="{FF2B5EF4-FFF2-40B4-BE49-F238E27FC236}">
                      <a16:creationId xmlns:a16="http://schemas.microsoft.com/office/drawing/2014/main" xmlns="" id="{1B969576-626B-014F-BADC-C491AB4AE0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2812" y="3128124"/>
                  <a:ext cx="5647135" cy="607389"/>
                </a:xfrm>
                <a:custGeom>
                  <a:avLst/>
                  <a:gdLst/>
                  <a:ahLst/>
                  <a:cxnLst>
                    <a:cxn ang="0">
                      <a:pos x="7231" y="0"/>
                    </a:cxn>
                    <a:cxn ang="0">
                      <a:pos x="6105" y="21"/>
                    </a:cxn>
                    <a:cxn ang="0">
                      <a:pos x="5035" y="71"/>
                    </a:cxn>
                    <a:cxn ang="0">
                      <a:pos x="4032" y="146"/>
                    </a:cxn>
                    <a:cxn ang="0">
                      <a:pos x="3112" y="244"/>
                    </a:cxn>
                    <a:cxn ang="0">
                      <a:pos x="2285" y="365"/>
                    </a:cxn>
                    <a:cxn ang="0">
                      <a:pos x="1677" y="479"/>
                    </a:cxn>
                    <a:cxn ang="0">
                      <a:pos x="1352" y="553"/>
                    </a:cxn>
                    <a:cxn ang="0">
                      <a:pos x="1056" y="633"/>
                    </a:cxn>
                    <a:cxn ang="0">
                      <a:pos x="795" y="716"/>
                    </a:cxn>
                    <a:cxn ang="0">
                      <a:pos x="568" y="803"/>
                    </a:cxn>
                    <a:cxn ang="0">
                      <a:pos x="376" y="892"/>
                    </a:cxn>
                    <a:cxn ang="0">
                      <a:pos x="220" y="984"/>
                    </a:cxn>
                    <a:cxn ang="0">
                      <a:pos x="106" y="1080"/>
                    </a:cxn>
                    <a:cxn ang="0">
                      <a:pos x="32" y="1176"/>
                    </a:cxn>
                    <a:cxn ang="0">
                      <a:pos x="6" y="1243"/>
                    </a:cxn>
                    <a:cxn ang="0">
                      <a:pos x="0" y="2430"/>
                    </a:cxn>
                    <a:cxn ang="0">
                      <a:pos x="176" y="2576"/>
                    </a:cxn>
                    <a:cxn ang="0">
                      <a:pos x="298" y="2493"/>
                    </a:cxn>
                    <a:cxn ang="0">
                      <a:pos x="451" y="2412"/>
                    </a:cxn>
                    <a:cxn ang="0">
                      <a:pos x="634" y="2332"/>
                    </a:cxn>
                    <a:cxn ang="0">
                      <a:pos x="845" y="2256"/>
                    </a:cxn>
                    <a:cxn ang="0">
                      <a:pos x="1082" y="2182"/>
                    </a:cxn>
                    <a:cxn ang="0">
                      <a:pos x="1633" y="2045"/>
                    </a:cxn>
                    <a:cxn ang="0">
                      <a:pos x="2278" y="1923"/>
                    </a:cxn>
                    <a:cxn ang="0">
                      <a:pos x="3008" y="1814"/>
                    </a:cxn>
                    <a:cxn ang="0">
                      <a:pos x="3816" y="1724"/>
                    </a:cxn>
                    <a:cxn ang="0">
                      <a:pos x="4689" y="1650"/>
                    </a:cxn>
                    <a:cxn ang="0">
                      <a:pos x="5619" y="1598"/>
                    </a:cxn>
                    <a:cxn ang="0">
                      <a:pos x="6599" y="1566"/>
                    </a:cxn>
                    <a:cxn ang="0">
                      <a:pos x="7617" y="1557"/>
                    </a:cxn>
                    <a:cxn ang="0">
                      <a:pos x="9814" y="1565"/>
                    </a:cxn>
                    <a:cxn ang="0">
                      <a:pos x="11135" y="1579"/>
                    </a:cxn>
                    <a:cxn ang="0">
                      <a:pos x="12030" y="1603"/>
                    </a:cxn>
                    <a:cxn ang="0">
                      <a:pos x="12829" y="1642"/>
                    </a:cxn>
                    <a:cxn ang="0">
                      <a:pos x="13519" y="1698"/>
                    </a:cxn>
                    <a:cxn ang="0">
                      <a:pos x="13914" y="1748"/>
                    </a:cxn>
                    <a:cxn ang="0">
                      <a:pos x="14173" y="1792"/>
                    </a:cxn>
                    <a:cxn ang="0">
                      <a:pos x="14399" y="1842"/>
                    </a:cxn>
                    <a:cxn ang="0">
                      <a:pos x="14589" y="1901"/>
                    </a:cxn>
                    <a:cxn ang="0">
                      <a:pos x="14742" y="1966"/>
                    </a:cxn>
                    <a:cxn ang="0">
                      <a:pos x="14859" y="2040"/>
                    </a:cxn>
                    <a:cxn ang="0">
                      <a:pos x="14935" y="2123"/>
                    </a:cxn>
                    <a:cxn ang="0">
                      <a:pos x="14959" y="2167"/>
                    </a:cxn>
                    <a:cxn ang="0">
                      <a:pos x="14970" y="2216"/>
                    </a:cxn>
                    <a:cxn ang="0">
                      <a:pos x="14974" y="1300"/>
                    </a:cxn>
                    <a:cxn ang="0">
                      <a:pos x="14970" y="1267"/>
                    </a:cxn>
                    <a:cxn ang="0">
                      <a:pos x="14959" y="1217"/>
                    </a:cxn>
                    <a:cxn ang="0">
                      <a:pos x="14914" y="1136"/>
                    </a:cxn>
                    <a:cxn ang="0">
                      <a:pos x="14824" y="1041"/>
                    </a:cxn>
                    <a:cxn ang="0">
                      <a:pos x="14696" y="949"/>
                    </a:cxn>
                    <a:cxn ang="0">
                      <a:pos x="14530" y="858"/>
                    </a:cxn>
                    <a:cxn ang="0">
                      <a:pos x="14327" y="771"/>
                    </a:cxn>
                    <a:cxn ang="0">
                      <a:pos x="14090" y="686"/>
                    </a:cxn>
                    <a:cxn ang="0">
                      <a:pos x="13820" y="607"/>
                    </a:cxn>
                    <a:cxn ang="0">
                      <a:pos x="13519" y="529"/>
                    </a:cxn>
                    <a:cxn ang="0">
                      <a:pos x="13071" y="433"/>
                    </a:cxn>
                    <a:cxn ang="0">
                      <a:pos x="12308" y="305"/>
                    </a:cxn>
                    <a:cxn ang="0">
                      <a:pos x="11442" y="196"/>
                    </a:cxn>
                    <a:cxn ang="0">
                      <a:pos x="10492" y="108"/>
                    </a:cxn>
                    <a:cxn ang="0">
                      <a:pos x="9464" y="45"/>
                    </a:cxn>
                    <a:cxn ang="0">
                      <a:pos x="8373" y="8"/>
                    </a:cxn>
                    <a:cxn ang="0">
                      <a:pos x="7617" y="0"/>
                    </a:cxn>
                  </a:cxnLst>
                  <a:rect l="0" t="0" r="r" b="b"/>
                  <a:pathLst>
                    <a:path w="14974" h="2604">
                      <a:moveTo>
                        <a:pt x="7617" y="0"/>
                      </a:moveTo>
                      <a:lnTo>
                        <a:pt x="7617" y="0"/>
                      </a:lnTo>
                      <a:lnTo>
                        <a:pt x="7231" y="0"/>
                      </a:lnTo>
                      <a:lnTo>
                        <a:pt x="6850" y="4"/>
                      </a:lnTo>
                      <a:lnTo>
                        <a:pt x="6475" y="11"/>
                      </a:lnTo>
                      <a:lnTo>
                        <a:pt x="6105" y="21"/>
                      </a:lnTo>
                      <a:lnTo>
                        <a:pt x="5741" y="35"/>
                      </a:lnTo>
                      <a:lnTo>
                        <a:pt x="5384" y="52"/>
                      </a:lnTo>
                      <a:lnTo>
                        <a:pt x="5035" y="71"/>
                      </a:lnTo>
                      <a:lnTo>
                        <a:pt x="4692" y="93"/>
                      </a:lnTo>
                      <a:lnTo>
                        <a:pt x="4358" y="119"/>
                      </a:lnTo>
                      <a:lnTo>
                        <a:pt x="4032" y="146"/>
                      </a:lnTo>
                      <a:lnTo>
                        <a:pt x="3716" y="176"/>
                      </a:lnTo>
                      <a:lnTo>
                        <a:pt x="3409" y="209"/>
                      </a:lnTo>
                      <a:lnTo>
                        <a:pt x="3112" y="244"/>
                      </a:lnTo>
                      <a:lnTo>
                        <a:pt x="2825" y="281"/>
                      </a:lnTo>
                      <a:lnTo>
                        <a:pt x="2550" y="322"/>
                      </a:lnTo>
                      <a:lnTo>
                        <a:pt x="2285" y="365"/>
                      </a:lnTo>
                      <a:lnTo>
                        <a:pt x="2032" y="409"/>
                      </a:lnTo>
                      <a:lnTo>
                        <a:pt x="1792" y="455"/>
                      </a:lnTo>
                      <a:lnTo>
                        <a:pt x="1677" y="479"/>
                      </a:lnTo>
                      <a:lnTo>
                        <a:pt x="1566" y="503"/>
                      </a:lnTo>
                      <a:lnTo>
                        <a:pt x="1457" y="529"/>
                      </a:lnTo>
                      <a:lnTo>
                        <a:pt x="1352" y="553"/>
                      </a:lnTo>
                      <a:lnTo>
                        <a:pt x="1250" y="579"/>
                      </a:lnTo>
                      <a:lnTo>
                        <a:pt x="1152" y="607"/>
                      </a:lnTo>
                      <a:lnTo>
                        <a:pt x="1056" y="633"/>
                      </a:lnTo>
                      <a:lnTo>
                        <a:pt x="965" y="660"/>
                      </a:lnTo>
                      <a:lnTo>
                        <a:pt x="878" y="688"/>
                      </a:lnTo>
                      <a:lnTo>
                        <a:pt x="795" y="716"/>
                      </a:lnTo>
                      <a:lnTo>
                        <a:pt x="716" y="744"/>
                      </a:lnTo>
                      <a:lnTo>
                        <a:pt x="640" y="773"/>
                      </a:lnTo>
                      <a:lnTo>
                        <a:pt x="568" y="803"/>
                      </a:lnTo>
                      <a:lnTo>
                        <a:pt x="499" y="832"/>
                      </a:lnTo>
                      <a:lnTo>
                        <a:pt x="435" y="862"/>
                      </a:lnTo>
                      <a:lnTo>
                        <a:pt x="376" y="892"/>
                      </a:lnTo>
                      <a:lnTo>
                        <a:pt x="320" y="921"/>
                      </a:lnTo>
                      <a:lnTo>
                        <a:pt x="268" y="953"/>
                      </a:lnTo>
                      <a:lnTo>
                        <a:pt x="220" y="984"/>
                      </a:lnTo>
                      <a:lnTo>
                        <a:pt x="178" y="1015"/>
                      </a:lnTo>
                      <a:lnTo>
                        <a:pt x="141" y="1047"/>
                      </a:lnTo>
                      <a:lnTo>
                        <a:pt x="106" y="1080"/>
                      </a:lnTo>
                      <a:lnTo>
                        <a:pt x="76" y="1112"/>
                      </a:lnTo>
                      <a:lnTo>
                        <a:pt x="52" y="1145"/>
                      </a:lnTo>
                      <a:lnTo>
                        <a:pt x="32" y="1176"/>
                      </a:lnTo>
                      <a:lnTo>
                        <a:pt x="17" y="1210"/>
                      </a:lnTo>
                      <a:lnTo>
                        <a:pt x="11" y="1226"/>
                      </a:lnTo>
                      <a:lnTo>
                        <a:pt x="6" y="1243"/>
                      </a:lnTo>
                      <a:lnTo>
                        <a:pt x="2" y="1260"/>
                      </a:lnTo>
                      <a:lnTo>
                        <a:pt x="0" y="1278"/>
                      </a:lnTo>
                      <a:lnTo>
                        <a:pt x="0" y="2430"/>
                      </a:lnTo>
                      <a:lnTo>
                        <a:pt x="141" y="2604"/>
                      </a:lnTo>
                      <a:lnTo>
                        <a:pt x="141" y="2604"/>
                      </a:lnTo>
                      <a:lnTo>
                        <a:pt x="176" y="2576"/>
                      </a:lnTo>
                      <a:lnTo>
                        <a:pt x="213" y="2547"/>
                      </a:lnTo>
                      <a:lnTo>
                        <a:pt x="254" y="2519"/>
                      </a:lnTo>
                      <a:lnTo>
                        <a:pt x="298" y="2493"/>
                      </a:lnTo>
                      <a:lnTo>
                        <a:pt x="346" y="2465"/>
                      </a:lnTo>
                      <a:lnTo>
                        <a:pt x="398" y="2437"/>
                      </a:lnTo>
                      <a:lnTo>
                        <a:pt x="451" y="2412"/>
                      </a:lnTo>
                      <a:lnTo>
                        <a:pt x="509" y="2384"/>
                      </a:lnTo>
                      <a:lnTo>
                        <a:pt x="570" y="2358"/>
                      </a:lnTo>
                      <a:lnTo>
                        <a:pt x="634" y="2332"/>
                      </a:lnTo>
                      <a:lnTo>
                        <a:pt x="701" y="2306"/>
                      </a:lnTo>
                      <a:lnTo>
                        <a:pt x="771" y="2282"/>
                      </a:lnTo>
                      <a:lnTo>
                        <a:pt x="845" y="2256"/>
                      </a:lnTo>
                      <a:lnTo>
                        <a:pt x="921" y="2232"/>
                      </a:lnTo>
                      <a:lnTo>
                        <a:pt x="1000" y="2206"/>
                      </a:lnTo>
                      <a:lnTo>
                        <a:pt x="1082" y="2182"/>
                      </a:lnTo>
                      <a:lnTo>
                        <a:pt x="1256" y="2136"/>
                      </a:lnTo>
                      <a:lnTo>
                        <a:pt x="1439" y="2090"/>
                      </a:lnTo>
                      <a:lnTo>
                        <a:pt x="1633" y="2045"/>
                      </a:lnTo>
                      <a:lnTo>
                        <a:pt x="1838" y="2003"/>
                      </a:lnTo>
                      <a:lnTo>
                        <a:pt x="2054" y="1962"/>
                      </a:lnTo>
                      <a:lnTo>
                        <a:pt x="2278" y="1923"/>
                      </a:lnTo>
                      <a:lnTo>
                        <a:pt x="2513" y="1885"/>
                      </a:lnTo>
                      <a:lnTo>
                        <a:pt x="2757" y="1849"/>
                      </a:lnTo>
                      <a:lnTo>
                        <a:pt x="3008" y="1814"/>
                      </a:lnTo>
                      <a:lnTo>
                        <a:pt x="3269" y="1783"/>
                      </a:lnTo>
                      <a:lnTo>
                        <a:pt x="3539" y="1751"/>
                      </a:lnTo>
                      <a:lnTo>
                        <a:pt x="3816" y="1724"/>
                      </a:lnTo>
                      <a:lnTo>
                        <a:pt x="4099" y="1698"/>
                      </a:lnTo>
                      <a:lnTo>
                        <a:pt x="4391" y="1672"/>
                      </a:lnTo>
                      <a:lnTo>
                        <a:pt x="4689" y="1650"/>
                      </a:lnTo>
                      <a:lnTo>
                        <a:pt x="4992" y="1631"/>
                      </a:lnTo>
                      <a:lnTo>
                        <a:pt x="5303" y="1613"/>
                      </a:lnTo>
                      <a:lnTo>
                        <a:pt x="5619" y="1598"/>
                      </a:lnTo>
                      <a:lnTo>
                        <a:pt x="5940" y="1585"/>
                      </a:lnTo>
                      <a:lnTo>
                        <a:pt x="6268" y="1574"/>
                      </a:lnTo>
                      <a:lnTo>
                        <a:pt x="6599" y="1566"/>
                      </a:lnTo>
                      <a:lnTo>
                        <a:pt x="6933" y="1561"/>
                      </a:lnTo>
                      <a:lnTo>
                        <a:pt x="7273" y="1557"/>
                      </a:lnTo>
                      <a:lnTo>
                        <a:pt x="7617" y="1557"/>
                      </a:lnTo>
                      <a:lnTo>
                        <a:pt x="7617" y="1557"/>
                      </a:lnTo>
                      <a:lnTo>
                        <a:pt x="9107" y="1561"/>
                      </a:lnTo>
                      <a:lnTo>
                        <a:pt x="9814" y="1565"/>
                      </a:lnTo>
                      <a:lnTo>
                        <a:pt x="10492" y="1570"/>
                      </a:lnTo>
                      <a:lnTo>
                        <a:pt x="10818" y="1574"/>
                      </a:lnTo>
                      <a:lnTo>
                        <a:pt x="11135" y="1579"/>
                      </a:lnTo>
                      <a:lnTo>
                        <a:pt x="11442" y="1587"/>
                      </a:lnTo>
                      <a:lnTo>
                        <a:pt x="11742" y="1594"/>
                      </a:lnTo>
                      <a:lnTo>
                        <a:pt x="12030" y="1603"/>
                      </a:lnTo>
                      <a:lnTo>
                        <a:pt x="12308" y="1615"/>
                      </a:lnTo>
                      <a:lnTo>
                        <a:pt x="12574" y="1628"/>
                      </a:lnTo>
                      <a:lnTo>
                        <a:pt x="12829" y="1642"/>
                      </a:lnTo>
                      <a:lnTo>
                        <a:pt x="13071" y="1657"/>
                      </a:lnTo>
                      <a:lnTo>
                        <a:pt x="13302" y="1677"/>
                      </a:lnTo>
                      <a:lnTo>
                        <a:pt x="13519" y="1698"/>
                      </a:lnTo>
                      <a:lnTo>
                        <a:pt x="13724" y="1722"/>
                      </a:lnTo>
                      <a:lnTo>
                        <a:pt x="13820" y="1735"/>
                      </a:lnTo>
                      <a:lnTo>
                        <a:pt x="13914" y="1748"/>
                      </a:lnTo>
                      <a:lnTo>
                        <a:pt x="14005" y="1761"/>
                      </a:lnTo>
                      <a:lnTo>
                        <a:pt x="14090" y="1775"/>
                      </a:lnTo>
                      <a:lnTo>
                        <a:pt x="14173" y="1792"/>
                      </a:lnTo>
                      <a:lnTo>
                        <a:pt x="14253" y="1809"/>
                      </a:lnTo>
                      <a:lnTo>
                        <a:pt x="14327" y="1825"/>
                      </a:lnTo>
                      <a:lnTo>
                        <a:pt x="14399" y="1842"/>
                      </a:lnTo>
                      <a:lnTo>
                        <a:pt x="14465" y="1860"/>
                      </a:lnTo>
                      <a:lnTo>
                        <a:pt x="14530" y="1881"/>
                      </a:lnTo>
                      <a:lnTo>
                        <a:pt x="14589" y="1901"/>
                      </a:lnTo>
                      <a:lnTo>
                        <a:pt x="14644" y="1922"/>
                      </a:lnTo>
                      <a:lnTo>
                        <a:pt x="14696" y="1944"/>
                      </a:lnTo>
                      <a:lnTo>
                        <a:pt x="14742" y="1966"/>
                      </a:lnTo>
                      <a:lnTo>
                        <a:pt x="14785" y="1990"/>
                      </a:lnTo>
                      <a:lnTo>
                        <a:pt x="14824" y="2016"/>
                      </a:lnTo>
                      <a:lnTo>
                        <a:pt x="14859" y="2040"/>
                      </a:lnTo>
                      <a:lnTo>
                        <a:pt x="14889" y="2068"/>
                      </a:lnTo>
                      <a:lnTo>
                        <a:pt x="14914" y="2095"/>
                      </a:lnTo>
                      <a:lnTo>
                        <a:pt x="14935" y="2123"/>
                      </a:lnTo>
                      <a:lnTo>
                        <a:pt x="14944" y="2138"/>
                      </a:lnTo>
                      <a:lnTo>
                        <a:pt x="14951" y="2153"/>
                      </a:lnTo>
                      <a:lnTo>
                        <a:pt x="14959" y="2167"/>
                      </a:lnTo>
                      <a:lnTo>
                        <a:pt x="14962" y="2182"/>
                      </a:lnTo>
                      <a:lnTo>
                        <a:pt x="14968" y="2199"/>
                      </a:lnTo>
                      <a:lnTo>
                        <a:pt x="14970" y="2216"/>
                      </a:lnTo>
                      <a:lnTo>
                        <a:pt x="14972" y="2230"/>
                      </a:lnTo>
                      <a:lnTo>
                        <a:pt x="14974" y="2247"/>
                      </a:lnTo>
                      <a:lnTo>
                        <a:pt x="14974" y="1300"/>
                      </a:lnTo>
                      <a:lnTo>
                        <a:pt x="14974" y="1300"/>
                      </a:lnTo>
                      <a:lnTo>
                        <a:pt x="14972" y="1284"/>
                      </a:lnTo>
                      <a:lnTo>
                        <a:pt x="14970" y="1267"/>
                      </a:lnTo>
                      <a:lnTo>
                        <a:pt x="14968" y="1250"/>
                      </a:lnTo>
                      <a:lnTo>
                        <a:pt x="14962" y="1234"/>
                      </a:lnTo>
                      <a:lnTo>
                        <a:pt x="14959" y="1217"/>
                      </a:lnTo>
                      <a:lnTo>
                        <a:pt x="14951" y="1200"/>
                      </a:lnTo>
                      <a:lnTo>
                        <a:pt x="14935" y="1169"/>
                      </a:lnTo>
                      <a:lnTo>
                        <a:pt x="14914" y="1136"/>
                      </a:lnTo>
                      <a:lnTo>
                        <a:pt x="14889" y="1104"/>
                      </a:lnTo>
                      <a:lnTo>
                        <a:pt x="14859" y="1073"/>
                      </a:lnTo>
                      <a:lnTo>
                        <a:pt x="14824" y="1041"/>
                      </a:lnTo>
                      <a:lnTo>
                        <a:pt x="14785" y="1010"/>
                      </a:lnTo>
                      <a:lnTo>
                        <a:pt x="14742" y="978"/>
                      </a:lnTo>
                      <a:lnTo>
                        <a:pt x="14696" y="949"/>
                      </a:lnTo>
                      <a:lnTo>
                        <a:pt x="14644" y="917"/>
                      </a:lnTo>
                      <a:lnTo>
                        <a:pt x="14589" y="888"/>
                      </a:lnTo>
                      <a:lnTo>
                        <a:pt x="14530" y="858"/>
                      </a:lnTo>
                      <a:lnTo>
                        <a:pt x="14465" y="829"/>
                      </a:lnTo>
                      <a:lnTo>
                        <a:pt x="14399" y="799"/>
                      </a:lnTo>
                      <a:lnTo>
                        <a:pt x="14327" y="771"/>
                      </a:lnTo>
                      <a:lnTo>
                        <a:pt x="14253" y="742"/>
                      </a:lnTo>
                      <a:lnTo>
                        <a:pt x="14173" y="714"/>
                      </a:lnTo>
                      <a:lnTo>
                        <a:pt x="14090" y="686"/>
                      </a:lnTo>
                      <a:lnTo>
                        <a:pt x="14005" y="660"/>
                      </a:lnTo>
                      <a:lnTo>
                        <a:pt x="13914" y="633"/>
                      </a:lnTo>
                      <a:lnTo>
                        <a:pt x="13820" y="607"/>
                      </a:lnTo>
                      <a:lnTo>
                        <a:pt x="13724" y="581"/>
                      </a:lnTo>
                      <a:lnTo>
                        <a:pt x="13624" y="555"/>
                      </a:lnTo>
                      <a:lnTo>
                        <a:pt x="13519" y="529"/>
                      </a:lnTo>
                      <a:lnTo>
                        <a:pt x="13411" y="505"/>
                      </a:lnTo>
                      <a:lnTo>
                        <a:pt x="13302" y="481"/>
                      </a:lnTo>
                      <a:lnTo>
                        <a:pt x="13071" y="433"/>
                      </a:lnTo>
                      <a:lnTo>
                        <a:pt x="12829" y="389"/>
                      </a:lnTo>
                      <a:lnTo>
                        <a:pt x="12574" y="346"/>
                      </a:lnTo>
                      <a:lnTo>
                        <a:pt x="12308" y="305"/>
                      </a:lnTo>
                      <a:lnTo>
                        <a:pt x="12030" y="267"/>
                      </a:lnTo>
                      <a:lnTo>
                        <a:pt x="11742" y="230"/>
                      </a:lnTo>
                      <a:lnTo>
                        <a:pt x="11442" y="196"/>
                      </a:lnTo>
                      <a:lnTo>
                        <a:pt x="11135" y="165"/>
                      </a:lnTo>
                      <a:lnTo>
                        <a:pt x="10818" y="135"/>
                      </a:lnTo>
                      <a:lnTo>
                        <a:pt x="10492" y="108"/>
                      </a:lnTo>
                      <a:lnTo>
                        <a:pt x="10157" y="85"/>
                      </a:lnTo>
                      <a:lnTo>
                        <a:pt x="9814" y="63"/>
                      </a:lnTo>
                      <a:lnTo>
                        <a:pt x="9464" y="45"/>
                      </a:lnTo>
                      <a:lnTo>
                        <a:pt x="9107" y="30"/>
                      </a:lnTo>
                      <a:lnTo>
                        <a:pt x="8743" y="17"/>
                      </a:lnTo>
                      <a:lnTo>
                        <a:pt x="8373" y="8"/>
                      </a:lnTo>
                      <a:lnTo>
                        <a:pt x="7998" y="2"/>
                      </a:lnTo>
                      <a:lnTo>
                        <a:pt x="7617" y="0"/>
                      </a:lnTo>
                      <a:lnTo>
                        <a:pt x="7617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CFCFCF"/>
                    </a:gs>
                    <a:gs pos="0">
                      <a:srgbClr val="646464"/>
                    </a:gs>
                    <a:gs pos="70000">
                      <a:srgbClr val="F2F2F2"/>
                    </a:gs>
                  </a:gsLst>
                  <a:lin ang="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" name="Freeform 7">
                  <a:extLst>
                    <a:ext uri="{FF2B5EF4-FFF2-40B4-BE49-F238E27FC236}">
                      <a16:creationId xmlns:a16="http://schemas.microsoft.com/office/drawing/2014/main" xmlns="" id="{15443759-0D68-5142-805B-04D474681A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2812" y="3348950"/>
                  <a:ext cx="5647135" cy="1183498"/>
                </a:xfrm>
                <a:custGeom>
                  <a:avLst/>
                  <a:gdLst/>
                  <a:ahLst/>
                  <a:cxnLst>
                    <a:cxn ang="0">
                      <a:pos x="14626" y="1705"/>
                    </a:cxn>
                    <a:cxn ang="0">
                      <a:pos x="14119" y="2045"/>
                    </a:cxn>
                    <a:cxn ang="0">
                      <a:pos x="13532" y="2408"/>
                    </a:cxn>
                    <a:cxn ang="0">
                      <a:pos x="12890" y="2785"/>
                    </a:cxn>
                    <a:cxn ang="0">
                      <a:pos x="11991" y="3293"/>
                    </a:cxn>
                    <a:cxn ang="0">
                      <a:pos x="10272" y="4244"/>
                    </a:cxn>
                    <a:cxn ang="0">
                      <a:pos x="9418" y="4726"/>
                    </a:cxn>
                    <a:cxn ang="0">
                      <a:pos x="9046" y="4952"/>
                    </a:cxn>
                    <a:cxn ang="0">
                      <a:pos x="8873" y="5070"/>
                    </a:cxn>
                    <a:cxn ang="0">
                      <a:pos x="8908" y="5031"/>
                    </a:cxn>
                    <a:cxn ang="0">
                      <a:pos x="8910" y="5006"/>
                    </a:cxn>
                    <a:cxn ang="0">
                      <a:pos x="8887" y="4969"/>
                    </a:cxn>
                    <a:cxn ang="0">
                      <a:pos x="8832" y="4933"/>
                    </a:cxn>
                    <a:cxn ang="0">
                      <a:pos x="8751" y="4900"/>
                    </a:cxn>
                    <a:cxn ang="0">
                      <a:pos x="8510" y="4843"/>
                    </a:cxn>
                    <a:cxn ang="0">
                      <a:pos x="8187" y="4798"/>
                    </a:cxn>
                    <a:cxn ang="0">
                      <a:pos x="7797" y="4773"/>
                    </a:cxn>
                    <a:cxn ang="0">
                      <a:pos x="7510" y="4767"/>
                    </a:cxn>
                    <a:cxn ang="0">
                      <a:pos x="7087" y="4776"/>
                    </a:cxn>
                    <a:cxn ang="0">
                      <a:pos x="6710" y="4806"/>
                    </a:cxn>
                    <a:cxn ang="0">
                      <a:pos x="6403" y="4854"/>
                    </a:cxn>
                    <a:cxn ang="0">
                      <a:pos x="6212" y="4902"/>
                    </a:cxn>
                    <a:cxn ang="0">
                      <a:pos x="6133" y="4937"/>
                    </a:cxn>
                    <a:cxn ang="0">
                      <a:pos x="6081" y="4972"/>
                    </a:cxn>
                    <a:cxn ang="0">
                      <a:pos x="6061" y="5009"/>
                    </a:cxn>
                    <a:cxn ang="0">
                      <a:pos x="2" y="1261"/>
                    </a:cxn>
                    <a:cxn ang="0">
                      <a:pos x="17" y="1211"/>
                    </a:cxn>
                    <a:cxn ang="0">
                      <a:pos x="76" y="1113"/>
                    </a:cxn>
                    <a:cxn ang="0">
                      <a:pos x="178" y="1017"/>
                    </a:cxn>
                    <a:cxn ang="0">
                      <a:pos x="320" y="923"/>
                    </a:cxn>
                    <a:cxn ang="0">
                      <a:pos x="499" y="832"/>
                    </a:cxn>
                    <a:cxn ang="0">
                      <a:pos x="716" y="745"/>
                    </a:cxn>
                    <a:cxn ang="0">
                      <a:pos x="965" y="662"/>
                    </a:cxn>
                    <a:cxn ang="0">
                      <a:pos x="1250" y="581"/>
                    </a:cxn>
                    <a:cxn ang="0">
                      <a:pos x="1566" y="505"/>
                    </a:cxn>
                    <a:cxn ang="0">
                      <a:pos x="2032" y="411"/>
                    </a:cxn>
                    <a:cxn ang="0">
                      <a:pos x="2825" y="283"/>
                    </a:cxn>
                    <a:cxn ang="0">
                      <a:pos x="3716" y="178"/>
                    </a:cxn>
                    <a:cxn ang="0">
                      <a:pos x="4692" y="94"/>
                    </a:cxn>
                    <a:cxn ang="0">
                      <a:pos x="5741" y="35"/>
                    </a:cxn>
                    <a:cxn ang="0">
                      <a:pos x="6850" y="6"/>
                    </a:cxn>
                    <a:cxn ang="0">
                      <a:pos x="7617" y="0"/>
                    </a:cxn>
                    <a:cxn ang="0">
                      <a:pos x="8754" y="19"/>
                    </a:cxn>
                    <a:cxn ang="0">
                      <a:pos x="9836" y="67"/>
                    </a:cxn>
                    <a:cxn ang="0">
                      <a:pos x="10849" y="139"/>
                    </a:cxn>
                    <a:cxn ang="0">
                      <a:pos x="11779" y="235"/>
                    </a:cxn>
                    <a:cxn ang="0">
                      <a:pos x="12616" y="353"/>
                    </a:cxn>
                    <a:cxn ang="0">
                      <a:pos x="13232" y="468"/>
                    </a:cxn>
                    <a:cxn ang="0">
                      <a:pos x="13563" y="542"/>
                    </a:cxn>
                    <a:cxn ang="0">
                      <a:pos x="13862" y="619"/>
                    </a:cxn>
                    <a:cxn ang="0">
                      <a:pos x="14131" y="701"/>
                    </a:cxn>
                    <a:cxn ang="0">
                      <a:pos x="14363" y="786"/>
                    </a:cxn>
                    <a:cxn ang="0">
                      <a:pos x="14563" y="875"/>
                    </a:cxn>
                    <a:cxn ang="0">
                      <a:pos x="14724" y="967"/>
                    </a:cxn>
                    <a:cxn ang="0">
                      <a:pos x="14846" y="1061"/>
                    </a:cxn>
                    <a:cxn ang="0">
                      <a:pos x="14927" y="1158"/>
                    </a:cxn>
                    <a:cxn ang="0">
                      <a:pos x="14961" y="1224"/>
                    </a:cxn>
                    <a:cxn ang="0">
                      <a:pos x="14972" y="1274"/>
                    </a:cxn>
                    <a:cxn ang="0">
                      <a:pos x="14972" y="1324"/>
                    </a:cxn>
                    <a:cxn ang="0">
                      <a:pos x="14966" y="1359"/>
                    </a:cxn>
                    <a:cxn ang="0">
                      <a:pos x="14946" y="1411"/>
                    </a:cxn>
                    <a:cxn ang="0">
                      <a:pos x="14914" y="1465"/>
                    </a:cxn>
                    <a:cxn ang="0">
                      <a:pos x="14816" y="1566"/>
                    </a:cxn>
                  </a:cxnLst>
                  <a:rect l="0" t="0" r="r" b="b"/>
                  <a:pathLst>
                    <a:path w="14974" h="5070">
                      <a:moveTo>
                        <a:pt x="14774" y="1600"/>
                      </a:moveTo>
                      <a:lnTo>
                        <a:pt x="14774" y="1600"/>
                      </a:lnTo>
                      <a:lnTo>
                        <a:pt x="14626" y="1705"/>
                      </a:lnTo>
                      <a:lnTo>
                        <a:pt x="14469" y="1816"/>
                      </a:lnTo>
                      <a:lnTo>
                        <a:pt x="14299" y="1929"/>
                      </a:lnTo>
                      <a:lnTo>
                        <a:pt x="14119" y="2045"/>
                      </a:lnTo>
                      <a:lnTo>
                        <a:pt x="13931" y="2163"/>
                      </a:lnTo>
                      <a:lnTo>
                        <a:pt x="13735" y="2286"/>
                      </a:lnTo>
                      <a:lnTo>
                        <a:pt x="13532" y="2408"/>
                      </a:lnTo>
                      <a:lnTo>
                        <a:pt x="13323" y="2533"/>
                      </a:lnTo>
                      <a:lnTo>
                        <a:pt x="13108" y="2659"/>
                      </a:lnTo>
                      <a:lnTo>
                        <a:pt x="12890" y="2785"/>
                      </a:lnTo>
                      <a:lnTo>
                        <a:pt x="12668" y="2912"/>
                      </a:lnTo>
                      <a:lnTo>
                        <a:pt x="12444" y="3040"/>
                      </a:lnTo>
                      <a:lnTo>
                        <a:pt x="11991" y="3293"/>
                      </a:lnTo>
                      <a:lnTo>
                        <a:pt x="11542" y="3543"/>
                      </a:lnTo>
                      <a:lnTo>
                        <a:pt x="10673" y="4022"/>
                      </a:lnTo>
                      <a:lnTo>
                        <a:pt x="10272" y="4244"/>
                      </a:lnTo>
                      <a:lnTo>
                        <a:pt x="9901" y="4451"/>
                      </a:lnTo>
                      <a:lnTo>
                        <a:pt x="9568" y="4639"/>
                      </a:lnTo>
                      <a:lnTo>
                        <a:pt x="9418" y="4726"/>
                      </a:lnTo>
                      <a:lnTo>
                        <a:pt x="9281" y="4808"/>
                      </a:lnTo>
                      <a:lnTo>
                        <a:pt x="9157" y="4884"/>
                      </a:lnTo>
                      <a:lnTo>
                        <a:pt x="9046" y="4952"/>
                      </a:lnTo>
                      <a:lnTo>
                        <a:pt x="8952" y="5015"/>
                      </a:lnTo>
                      <a:lnTo>
                        <a:pt x="8873" y="5070"/>
                      </a:lnTo>
                      <a:lnTo>
                        <a:pt x="8873" y="5070"/>
                      </a:lnTo>
                      <a:lnTo>
                        <a:pt x="8889" y="5057"/>
                      </a:lnTo>
                      <a:lnTo>
                        <a:pt x="8900" y="5044"/>
                      </a:lnTo>
                      <a:lnTo>
                        <a:pt x="8908" y="5031"/>
                      </a:lnTo>
                      <a:lnTo>
                        <a:pt x="8911" y="5019"/>
                      </a:lnTo>
                      <a:lnTo>
                        <a:pt x="8911" y="5019"/>
                      </a:lnTo>
                      <a:lnTo>
                        <a:pt x="8910" y="5006"/>
                      </a:lnTo>
                      <a:lnTo>
                        <a:pt x="8906" y="4993"/>
                      </a:lnTo>
                      <a:lnTo>
                        <a:pt x="8898" y="4980"/>
                      </a:lnTo>
                      <a:lnTo>
                        <a:pt x="8887" y="4969"/>
                      </a:lnTo>
                      <a:lnTo>
                        <a:pt x="8873" y="4956"/>
                      </a:lnTo>
                      <a:lnTo>
                        <a:pt x="8854" y="4945"/>
                      </a:lnTo>
                      <a:lnTo>
                        <a:pt x="8832" y="4933"/>
                      </a:lnTo>
                      <a:lnTo>
                        <a:pt x="8808" y="4922"/>
                      </a:lnTo>
                      <a:lnTo>
                        <a:pt x="8780" y="4911"/>
                      </a:lnTo>
                      <a:lnTo>
                        <a:pt x="8751" y="4900"/>
                      </a:lnTo>
                      <a:lnTo>
                        <a:pt x="8680" y="4880"/>
                      </a:lnTo>
                      <a:lnTo>
                        <a:pt x="8601" y="4860"/>
                      </a:lnTo>
                      <a:lnTo>
                        <a:pt x="8510" y="4843"/>
                      </a:lnTo>
                      <a:lnTo>
                        <a:pt x="8412" y="4826"/>
                      </a:lnTo>
                      <a:lnTo>
                        <a:pt x="8303" y="4811"/>
                      </a:lnTo>
                      <a:lnTo>
                        <a:pt x="8187" y="4798"/>
                      </a:lnTo>
                      <a:lnTo>
                        <a:pt x="8063" y="4787"/>
                      </a:lnTo>
                      <a:lnTo>
                        <a:pt x="7933" y="4778"/>
                      </a:lnTo>
                      <a:lnTo>
                        <a:pt x="7797" y="4773"/>
                      </a:lnTo>
                      <a:lnTo>
                        <a:pt x="7656" y="4769"/>
                      </a:lnTo>
                      <a:lnTo>
                        <a:pt x="7510" y="4767"/>
                      </a:lnTo>
                      <a:lnTo>
                        <a:pt x="7510" y="4767"/>
                      </a:lnTo>
                      <a:lnTo>
                        <a:pt x="7364" y="4767"/>
                      </a:lnTo>
                      <a:lnTo>
                        <a:pt x="7223" y="4771"/>
                      </a:lnTo>
                      <a:lnTo>
                        <a:pt x="7087" y="4776"/>
                      </a:lnTo>
                      <a:lnTo>
                        <a:pt x="6954" y="4784"/>
                      </a:lnTo>
                      <a:lnTo>
                        <a:pt x="6828" y="4795"/>
                      </a:lnTo>
                      <a:lnTo>
                        <a:pt x="6710" y="4806"/>
                      </a:lnTo>
                      <a:lnTo>
                        <a:pt x="6599" y="4821"/>
                      </a:lnTo>
                      <a:lnTo>
                        <a:pt x="6495" y="4835"/>
                      </a:lnTo>
                      <a:lnTo>
                        <a:pt x="6403" y="4854"/>
                      </a:lnTo>
                      <a:lnTo>
                        <a:pt x="6318" y="4872"/>
                      </a:lnTo>
                      <a:lnTo>
                        <a:pt x="6245" y="4893"/>
                      </a:lnTo>
                      <a:lnTo>
                        <a:pt x="6212" y="4902"/>
                      </a:lnTo>
                      <a:lnTo>
                        <a:pt x="6183" y="4913"/>
                      </a:lnTo>
                      <a:lnTo>
                        <a:pt x="6157" y="4924"/>
                      </a:lnTo>
                      <a:lnTo>
                        <a:pt x="6133" y="4937"/>
                      </a:lnTo>
                      <a:lnTo>
                        <a:pt x="6112" y="4948"/>
                      </a:lnTo>
                      <a:lnTo>
                        <a:pt x="6096" y="4959"/>
                      </a:lnTo>
                      <a:lnTo>
                        <a:pt x="6081" y="4972"/>
                      </a:lnTo>
                      <a:lnTo>
                        <a:pt x="6072" y="4985"/>
                      </a:lnTo>
                      <a:lnTo>
                        <a:pt x="6064" y="4996"/>
                      </a:lnTo>
                      <a:lnTo>
                        <a:pt x="6061" y="5009"/>
                      </a:lnTo>
                      <a:lnTo>
                        <a:pt x="0" y="1278"/>
                      </a:lnTo>
                      <a:lnTo>
                        <a:pt x="0" y="1278"/>
                      </a:lnTo>
                      <a:lnTo>
                        <a:pt x="2" y="1261"/>
                      </a:lnTo>
                      <a:lnTo>
                        <a:pt x="6" y="1244"/>
                      </a:lnTo>
                      <a:lnTo>
                        <a:pt x="11" y="1228"/>
                      </a:lnTo>
                      <a:lnTo>
                        <a:pt x="17" y="1211"/>
                      </a:lnTo>
                      <a:lnTo>
                        <a:pt x="32" y="1178"/>
                      </a:lnTo>
                      <a:lnTo>
                        <a:pt x="52" y="1145"/>
                      </a:lnTo>
                      <a:lnTo>
                        <a:pt x="76" y="1113"/>
                      </a:lnTo>
                      <a:lnTo>
                        <a:pt x="106" y="1080"/>
                      </a:lnTo>
                      <a:lnTo>
                        <a:pt x="141" y="1048"/>
                      </a:lnTo>
                      <a:lnTo>
                        <a:pt x="178" y="1017"/>
                      </a:lnTo>
                      <a:lnTo>
                        <a:pt x="220" y="986"/>
                      </a:lnTo>
                      <a:lnTo>
                        <a:pt x="268" y="954"/>
                      </a:lnTo>
                      <a:lnTo>
                        <a:pt x="320" y="923"/>
                      </a:lnTo>
                      <a:lnTo>
                        <a:pt x="376" y="893"/>
                      </a:lnTo>
                      <a:lnTo>
                        <a:pt x="435" y="862"/>
                      </a:lnTo>
                      <a:lnTo>
                        <a:pt x="499" y="832"/>
                      </a:lnTo>
                      <a:lnTo>
                        <a:pt x="568" y="803"/>
                      </a:lnTo>
                      <a:lnTo>
                        <a:pt x="640" y="773"/>
                      </a:lnTo>
                      <a:lnTo>
                        <a:pt x="716" y="745"/>
                      </a:lnTo>
                      <a:lnTo>
                        <a:pt x="795" y="717"/>
                      </a:lnTo>
                      <a:lnTo>
                        <a:pt x="878" y="688"/>
                      </a:lnTo>
                      <a:lnTo>
                        <a:pt x="965" y="662"/>
                      </a:lnTo>
                      <a:lnTo>
                        <a:pt x="1056" y="634"/>
                      </a:lnTo>
                      <a:lnTo>
                        <a:pt x="1152" y="607"/>
                      </a:lnTo>
                      <a:lnTo>
                        <a:pt x="1250" y="581"/>
                      </a:lnTo>
                      <a:lnTo>
                        <a:pt x="1352" y="555"/>
                      </a:lnTo>
                      <a:lnTo>
                        <a:pt x="1457" y="529"/>
                      </a:lnTo>
                      <a:lnTo>
                        <a:pt x="1566" y="505"/>
                      </a:lnTo>
                      <a:lnTo>
                        <a:pt x="1677" y="481"/>
                      </a:lnTo>
                      <a:lnTo>
                        <a:pt x="1792" y="457"/>
                      </a:lnTo>
                      <a:lnTo>
                        <a:pt x="2032" y="411"/>
                      </a:lnTo>
                      <a:lnTo>
                        <a:pt x="2285" y="366"/>
                      </a:lnTo>
                      <a:lnTo>
                        <a:pt x="2550" y="324"/>
                      </a:lnTo>
                      <a:lnTo>
                        <a:pt x="2825" y="283"/>
                      </a:lnTo>
                      <a:lnTo>
                        <a:pt x="3112" y="246"/>
                      </a:lnTo>
                      <a:lnTo>
                        <a:pt x="3409" y="211"/>
                      </a:lnTo>
                      <a:lnTo>
                        <a:pt x="3716" y="178"/>
                      </a:lnTo>
                      <a:lnTo>
                        <a:pt x="4032" y="146"/>
                      </a:lnTo>
                      <a:lnTo>
                        <a:pt x="4358" y="118"/>
                      </a:lnTo>
                      <a:lnTo>
                        <a:pt x="4692" y="94"/>
                      </a:lnTo>
                      <a:lnTo>
                        <a:pt x="5035" y="72"/>
                      </a:lnTo>
                      <a:lnTo>
                        <a:pt x="5384" y="52"/>
                      </a:lnTo>
                      <a:lnTo>
                        <a:pt x="5741" y="35"/>
                      </a:lnTo>
                      <a:lnTo>
                        <a:pt x="6105" y="22"/>
                      </a:lnTo>
                      <a:lnTo>
                        <a:pt x="6475" y="13"/>
                      </a:lnTo>
                      <a:lnTo>
                        <a:pt x="6850" y="6"/>
                      </a:lnTo>
                      <a:lnTo>
                        <a:pt x="7231" y="2"/>
                      </a:lnTo>
                      <a:lnTo>
                        <a:pt x="7617" y="0"/>
                      </a:lnTo>
                      <a:lnTo>
                        <a:pt x="7617" y="0"/>
                      </a:lnTo>
                      <a:lnTo>
                        <a:pt x="8002" y="4"/>
                      </a:lnTo>
                      <a:lnTo>
                        <a:pt x="8381" y="9"/>
                      </a:lnTo>
                      <a:lnTo>
                        <a:pt x="8754" y="19"/>
                      </a:lnTo>
                      <a:lnTo>
                        <a:pt x="9122" y="31"/>
                      </a:lnTo>
                      <a:lnTo>
                        <a:pt x="9483" y="48"/>
                      </a:lnTo>
                      <a:lnTo>
                        <a:pt x="9836" y="67"/>
                      </a:lnTo>
                      <a:lnTo>
                        <a:pt x="10182" y="87"/>
                      </a:lnTo>
                      <a:lnTo>
                        <a:pt x="10520" y="111"/>
                      </a:lnTo>
                      <a:lnTo>
                        <a:pt x="10849" y="139"/>
                      </a:lnTo>
                      <a:lnTo>
                        <a:pt x="11169" y="168"/>
                      </a:lnTo>
                      <a:lnTo>
                        <a:pt x="11479" y="202"/>
                      </a:lnTo>
                      <a:lnTo>
                        <a:pt x="11779" y="235"/>
                      </a:lnTo>
                      <a:lnTo>
                        <a:pt x="12069" y="272"/>
                      </a:lnTo>
                      <a:lnTo>
                        <a:pt x="12348" y="313"/>
                      </a:lnTo>
                      <a:lnTo>
                        <a:pt x="12616" y="353"/>
                      </a:lnTo>
                      <a:lnTo>
                        <a:pt x="12872" y="398"/>
                      </a:lnTo>
                      <a:lnTo>
                        <a:pt x="13116" y="444"/>
                      </a:lnTo>
                      <a:lnTo>
                        <a:pt x="13232" y="468"/>
                      </a:lnTo>
                      <a:lnTo>
                        <a:pt x="13345" y="492"/>
                      </a:lnTo>
                      <a:lnTo>
                        <a:pt x="13456" y="516"/>
                      </a:lnTo>
                      <a:lnTo>
                        <a:pt x="13563" y="542"/>
                      </a:lnTo>
                      <a:lnTo>
                        <a:pt x="13666" y="566"/>
                      </a:lnTo>
                      <a:lnTo>
                        <a:pt x="13766" y="594"/>
                      </a:lnTo>
                      <a:lnTo>
                        <a:pt x="13862" y="619"/>
                      </a:lnTo>
                      <a:lnTo>
                        <a:pt x="13955" y="645"/>
                      </a:lnTo>
                      <a:lnTo>
                        <a:pt x="14045" y="673"/>
                      </a:lnTo>
                      <a:lnTo>
                        <a:pt x="14131" y="701"/>
                      </a:lnTo>
                      <a:lnTo>
                        <a:pt x="14212" y="729"/>
                      </a:lnTo>
                      <a:lnTo>
                        <a:pt x="14290" y="758"/>
                      </a:lnTo>
                      <a:lnTo>
                        <a:pt x="14363" y="786"/>
                      </a:lnTo>
                      <a:lnTo>
                        <a:pt x="14434" y="815"/>
                      </a:lnTo>
                      <a:lnTo>
                        <a:pt x="14500" y="845"/>
                      </a:lnTo>
                      <a:lnTo>
                        <a:pt x="14563" y="875"/>
                      </a:lnTo>
                      <a:lnTo>
                        <a:pt x="14620" y="906"/>
                      </a:lnTo>
                      <a:lnTo>
                        <a:pt x="14674" y="936"/>
                      </a:lnTo>
                      <a:lnTo>
                        <a:pt x="14724" y="967"/>
                      </a:lnTo>
                      <a:lnTo>
                        <a:pt x="14768" y="999"/>
                      </a:lnTo>
                      <a:lnTo>
                        <a:pt x="14809" y="1030"/>
                      </a:lnTo>
                      <a:lnTo>
                        <a:pt x="14846" y="1061"/>
                      </a:lnTo>
                      <a:lnTo>
                        <a:pt x="14877" y="1093"/>
                      </a:lnTo>
                      <a:lnTo>
                        <a:pt x="14905" y="1126"/>
                      </a:lnTo>
                      <a:lnTo>
                        <a:pt x="14927" y="1158"/>
                      </a:lnTo>
                      <a:lnTo>
                        <a:pt x="14946" y="1191"/>
                      </a:lnTo>
                      <a:lnTo>
                        <a:pt x="14953" y="1208"/>
                      </a:lnTo>
                      <a:lnTo>
                        <a:pt x="14961" y="1224"/>
                      </a:lnTo>
                      <a:lnTo>
                        <a:pt x="14964" y="1241"/>
                      </a:lnTo>
                      <a:lnTo>
                        <a:pt x="14968" y="1257"/>
                      </a:lnTo>
                      <a:lnTo>
                        <a:pt x="14972" y="1274"/>
                      </a:lnTo>
                      <a:lnTo>
                        <a:pt x="14972" y="1291"/>
                      </a:lnTo>
                      <a:lnTo>
                        <a:pt x="14974" y="1307"/>
                      </a:lnTo>
                      <a:lnTo>
                        <a:pt x="14972" y="1324"/>
                      </a:lnTo>
                      <a:lnTo>
                        <a:pt x="14972" y="1324"/>
                      </a:lnTo>
                      <a:lnTo>
                        <a:pt x="14970" y="1341"/>
                      </a:lnTo>
                      <a:lnTo>
                        <a:pt x="14966" y="1359"/>
                      </a:lnTo>
                      <a:lnTo>
                        <a:pt x="14961" y="1376"/>
                      </a:lnTo>
                      <a:lnTo>
                        <a:pt x="14953" y="1394"/>
                      </a:lnTo>
                      <a:lnTo>
                        <a:pt x="14946" y="1411"/>
                      </a:lnTo>
                      <a:lnTo>
                        <a:pt x="14937" y="1429"/>
                      </a:lnTo>
                      <a:lnTo>
                        <a:pt x="14926" y="1446"/>
                      </a:lnTo>
                      <a:lnTo>
                        <a:pt x="14914" y="1465"/>
                      </a:lnTo>
                      <a:lnTo>
                        <a:pt x="14887" y="1498"/>
                      </a:lnTo>
                      <a:lnTo>
                        <a:pt x="14853" y="1533"/>
                      </a:lnTo>
                      <a:lnTo>
                        <a:pt x="14816" y="1566"/>
                      </a:lnTo>
                      <a:lnTo>
                        <a:pt x="14774" y="1600"/>
                      </a:lnTo>
                      <a:lnTo>
                        <a:pt x="14774" y="1600"/>
                      </a:lnTo>
                      <a:close/>
                    </a:path>
                  </a:pathLst>
                </a:custGeom>
                <a:gradFill flip="none" rotWithShape="1">
                  <a:gsLst>
                    <a:gs pos="9000">
                      <a:srgbClr val="666666"/>
                    </a:gs>
                    <a:gs pos="64000">
                      <a:srgbClr val="C5C5C5"/>
                    </a:gs>
                    <a:gs pos="92000">
                      <a:srgbClr val="9B9B9B"/>
                    </a:gs>
                  </a:gsLst>
                  <a:lin ang="156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" name="Freeform 8">
                  <a:extLst>
                    <a:ext uri="{FF2B5EF4-FFF2-40B4-BE49-F238E27FC236}">
                      <a16:creationId xmlns:a16="http://schemas.microsoft.com/office/drawing/2014/main" xmlns="" id="{AC730BB9-DFA2-DF41-BE89-859ED9336E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7337" y="3738595"/>
                  <a:ext cx="5636575" cy="845956"/>
                </a:xfrm>
                <a:custGeom>
                  <a:avLst/>
                  <a:gdLst/>
                  <a:ahLst/>
                  <a:cxnLst>
                    <a:cxn ang="0">
                      <a:pos x="5916" y="3366"/>
                    </a:cxn>
                    <a:cxn ang="0">
                      <a:pos x="5584" y="3161"/>
                    </a:cxn>
                    <a:cxn ang="0">
                      <a:pos x="5127" y="2903"/>
                    </a:cxn>
                    <a:cxn ang="0">
                      <a:pos x="4164" y="2388"/>
                    </a:cxn>
                    <a:cxn ang="0">
                      <a:pos x="2361" y="1424"/>
                    </a:cxn>
                    <a:cxn ang="0">
                      <a:pos x="1685" y="1049"/>
                    </a:cxn>
                    <a:cxn ang="0">
                      <a:pos x="1049" y="681"/>
                    </a:cxn>
                    <a:cxn ang="0">
                      <a:pos x="479" y="328"/>
                    </a:cxn>
                    <a:cxn ang="0">
                      <a:pos x="72" y="52"/>
                    </a:cxn>
                    <a:cxn ang="0">
                      <a:pos x="39" y="28"/>
                    </a:cxn>
                    <a:cxn ang="0">
                      <a:pos x="174" y="108"/>
                    </a:cxn>
                    <a:cxn ang="0">
                      <a:pos x="335" y="185"/>
                    </a:cxn>
                    <a:cxn ang="0">
                      <a:pos x="524" y="261"/>
                    </a:cxn>
                    <a:cxn ang="0">
                      <a:pos x="814" y="357"/>
                    </a:cxn>
                    <a:cxn ang="0">
                      <a:pos x="1330" y="492"/>
                    </a:cxn>
                    <a:cxn ang="0">
                      <a:pos x="1934" y="616"/>
                    </a:cxn>
                    <a:cxn ang="0">
                      <a:pos x="2620" y="727"/>
                    </a:cxn>
                    <a:cxn ang="0">
                      <a:pos x="3382" y="821"/>
                    </a:cxn>
                    <a:cxn ang="0">
                      <a:pos x="4208" y="901"/>
                    </a:cxn>
                    <a:cxn ang="0">
                      <a:pos x="5092" y="962"/>
                    </a:cxn>
                    <a:cxn ang="0">
                      <a:pos x="6027" y="1004"/>
                    </a:cxn>
                    <a:cxn ang="0">
                      <a:pos x="7007" y="1025"/>
                    </a:cxn>
                    <a:cxn ang="0">
                      <a:pos x="7684" y="1027"/>
                    </a:cxn>
                    <a:cxn ang="0">
                      <a:pos x="8691" y="1010"/>
                    </a:cxn>
                    <a:cxn ang="0">
                      <a:pos x="9657" y="973"/>
                    </a:cxn>
                    <a:cxn ang="0">
                      <a:pos x="10572" y="914"/>
                    </a:cxn>
                    <a:cxn ang="0">
                      <a:pos x="11430" y="836"/>
                    </a:cxn>
                    <a:cxn ang="0">
                      <a:pos x="12221" y="742"/>
                    </a:cxn>
                    <a:cxn ang="0">
                      <a:pos x="12936" y="631"/>
                    </a:cxn>
                    <a:cxn ang="0">
                      <a:pos x="13567" y="505"/>
                    </a:cxn>
                    <a:cxn ang="0">
                      <a:pos x="14103" y="366"/>
                    </a:cxn>
                    <a:cxn ang="0">
                      <a:pos x="14336" y="293"/>
                    </a:cxn>
                    <a:cxn ang="0">
                      <a:pos x="14539" y="217"/>
                    </a:cxn>
                    <a:cxn ang="0">
                      <a:pos x="14717" y="137"/>
                    </a:cxn>
                    <a:cxn ang="0">
                      <a:pos x="14865" y="56"/>
                    </a:cxn>
                    <a:cxn ang="0">
                      <a:pos x="14948" y="0"/>
                    </a:cxn>
                    <a:cxn ang="0">
                      <a:pos x="14641" y="217"/>
                    </a:cxn>
                    <a:cxn ang="0">
                      <a:pos x="14099" y="561"/>
                    </a:cxn>
                    <a:cxn ang="0">
                      <a:pos x="13482" y="925"/>
                    </a:cxn>
                    <a:cxn ang="0">
                      <a:pos x="12816" y="1300"/>
                    </a:cxn>
                    <a:cxn ang="0">
                      <a:pos x="11670" y="1920"/>
                    </a:cxn>
                    <a:cxn ang="0">
                      <a:pos x="9997" y="2809"/>
                    </a:cxn>
                    <a:cxn ang="0">
                      <a:pos x="9505" y="3081"/>
                    </a:cxn>
                    <a:cxn ang="0">
                      <a:pos x="9130" y="3305"/>
                    </a:cxn>
                    <a:cxn ang="0">
                      <a:pos x="8954" y="3421"/>
                    </a:cxn>
                    <a:cxn ang="0">
                      <a:pos x="8897" y="3455"/>
                    </a:cxn>
                    <a:cxn ang="0">
                      <a:pos x="8754" y="3504"/>
                    </a:cxn>
                    <a:cxn ang="0">
                      <a:pos x="8510" y="3554"/>
                    </a:cxn>
                    <a:cxn ang="0">
                      <a:pos x="8203" y="3593"/>
                    </a:cxn>
                    <a:cxn ang="0">
                      <a:pos x="7845" y="3617"/>
                    </a:cxn>
                    <a:cxn ang="0">
                      <a:pos x="7449" y="3625"/>
                    </a:cxn>
                    <a:cxn ang="0">
                      <a:pos x="7188" y="3621"/>
                    </a:cxn>
                    <a:cxn ang="0">
                      <a:pos x="6828" y="3601"/>
                    </a:cxn>
                    <a:cxn ang="0">
                      <a:pos x="6514" y="3565"/>
                    </a:cxn>
                    <a:cxn ang="0">
                      <a:pos x="6259" y="3519"/>
                    </a:cxn>
                    <a:cxn ang="0">
                      <a:pos x="6074" y="3464"/>
                    </a:cxn>
                    <a:cxn ang="0">
                      <a:pos x="6011" y="3432"/>
                    </a:cxn>
                  </a:cxnLst>
                  <a:rect l="0" t="0" r="r" b="b"/>
                  <a:pathLst>
                    <a:path w="14948" h="3625">
                      <a:moveTo>
                        <a:pt x="5996" y="3421"/>
                      </a:moveTo>
                      <a:lnTo>
                        <a:pt x="5996" y="3421"/>
                      </a:lnTo>
                      <a:lnTo>
                        <a:pt x="5916" y="3366"/>
                      </a:lnTo>
                      <a:lnTo>
                        <a:pt x="5820" y="3305"/>
                      </a:lnTo>
                      <a:lnTo>
                        <a:pt x="5709" y="3234"/>
                      </a:lnTo>
                      <a:lnTo>
                        <a:pt x="5584" y="3161"/>
                      </a:lnTo>
                      <a:lnTo>
                        <a:pt x="5443" y="3081"/>
                      </a:lnTo>
                      <a:lnTo>
                        <a:pt x="5292" y="2994"/>
                      </a:lnTo>
                      <a:lnTo>
                        <a:pt x="5127" y="2903"/>
                      </a:lnTo>
                      <a:lnTo>
                        <a:pt x="4953" y="2809"/>
                      </a:lnTo>
                      <a:lnTo>
                        <a:pt x="4574" y="2606"/>
                      </a:lnTo>
                      <a:lnTo>
                        <a:pt x="4164" y="2388"/>
                      </a:lnTo>
                      <a:lnTo>
                        <a:pt x="3280" y="1920"/>
                      </a:lnTo>
                      <a:lnTo>
                        <a:pt x="2822" y="1674"/>
                      </a:lnTo>
                      <a:lnTo>
                        <a:pt x="2361" y="1424"/>
                      </a:lnTo>
                      <a:lnTo>
                        <a:pt x="2132" y="1300"/>
                      </a:lnTo>
                      <a:lnTo>
                        <a:pt x="1906" y="1175"/>
                      </a:lnTo>
                      <a:lnTo>
                        <a:pt x="1685" y="1049"/>
                      </a:lnTo>
                      <a:lnTo>
                        <a:pt x="1466" y="925"/>
                      </a:lnTo>
                      <a:lnTo>
                        <a:pt x="1254" y="803"/>
                      </a:lnTo>
                      <a:lnTo>
                        <a:pt x="1049" y="681"/>
                      </a:lnTo>
                      <a:lnTo>
                        <a:pt x="849" y="561"/>
                      </a:lnTo>
                      <a:lnTo>
                        <a:pt x="660" y="444"/>
                      </a:lnTo>
                      <a:lnTo>
                        <a:pt x="479" y="328"/>
                      </a:lnTo>
                      <a:lnTo>
                        <a:pt x="307" y="215"/>
                      </a:lnTo>
                      <a:lnTo>
                        <a:pt x="148" y="106"/>
                      </a:lnTo>
                      <a:lnTo>
                        <a:pt x="72" y="5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9" y="28"/>
                      </a:lnTo>
                      <a:lnTo>
                        <a:pt x="82" y="54"/>
                      </a:lnTo>
                      <a:lnTo>
                        <a:pt x="126" y="80"/>
                      </a:lnTo>
                      <a:lnTo>
                        <a:pt x="174" y="108"/>
                      </a:lnTo>
                      <a:lnTo>
                        <a:pt x="224" y="134"/>
                      </a:lnTo>
                      <a:lnTo>
                        <a:pt x="278" y="159"/>
                      </a:lnTo>
                      <a:lnTo>
                        <a:pt x="335" y="185"/>
                      </a:lnTo>
                      <a:lnTo>
                        <a:pt x="394" y="211"/>
                      </a:lnTo>
                      <a:lnTo>
                        <a:pt x="457" y="235"/>
                      </a:lnTo>
                      <a:lnTo>
                        <a:pt x="524" y="261"/>
                      </a:lnTo>
                      <a:lnTo>
                        <a:pt x="592" y="285"/>
                      </a:lnTo>
                      <a:lnTo>
                        <a:pt x="662" y="309"/>
                      </a:lnTo>
                      <a:lnTo>
                        <a:pt x="814" y="357"/>
                      </a:lnTo>
                      <a:lnTo>
                        <a:pt x="975" y="403"/>
                      </a:lnTo>
                      <a:lnTo>
                        <a:pt x="1147" y="450"/>
                      </a:lnTo>
                      <a:lnTo>
                        <a:pt x="1330" y="492"/>
                      </a:lnTo>
                      <a:lnTo>
                        <a:pt x="1520" y="537"/>
                      </a:lnTo>
                      <a:lnTo>
                        <a:pt x="1723" y="577"/>
                      </a:lnTo>
                      <a:lnTo>
                        <a:pt x="1934" y="616"/>
                      </a:lnTo>
                      <a:lnTo>
                        <a:pt x="2154" y="655"/>
                      </a:lnTo>
                      <a:lnTo>
                        <a:pt x="2383" y="692"/>
                      </a:lnTo>
                      <a:lnTo>
                        <a:pt x="2620" y="727"/>
                      </a:lnTo>
                      <a:lnTo>
                        <a:pt x="2866" y="760"/>
                      </a:lnTo>
                      <a:lnTo>
                        <a:pt x="3119" y="792"/>
                      </a:lnTo>
                      <a:lnTo>
                        <a:pt x="3382" y="821"/>
                      </a:lnTo>
                      <a:lnTo>
                        <a:pt x="3650" y="851"/>
                      </a:lnTo>
                      <a:lnTo>
                        <a:pt x="3925" y="877"/>
                      </a:lnTo>
                      <a:lnTo>
                        <a:pt x="4208" y="901"/>
                      </a:lnTo>
                      <a:lnTo>
                        <a:pt x="4497" y="923"/>
                      </a:lnTo>
                      <a:lnTo>
                        <a:pt x="4791" y="943"/>
                      </a:lnTo>
                      <a:lnTo>
                        <a:pt x="5092" y="962"/>
                      </a:lnTo>
                      <a:lnTo>
                        <a:pt x="5399" y="979"/>
                      </a:lnTo>
                      <a:lnTo>
                        <a:pt x="5711" y="991"/>
                      </a:lnTo>
                      <a:lnTo>
                        <a:pt x="6027" y="1004"/>
                      </a:lnTo>
                      <a:lnTo>
                        <a:pt x="6349" y="1014"/>
                      </a:lnTo>
                      <a:lnTo>
                        <a:pt x="6676" y="1019"/>
                      </a:lnTo>
                      <a:lnTo>
                        <a:pt x="7007" y="1025"/>
                      </a:lnTo>
                      <a:lnTo>
                        <a:pt x="7340" y="1027"/>
                      </a:lnTo>
                      <a:lnTo>
                        <a:pt x="7340" y="1027"/>
                      </a:lnTo>
                      <a:lnTo>
                        <a:pt x="7684" y="1027"/>
                      </a:lnTo>
                      <a:lnTo>
                        <a:pt x="8024" y="1025"/>
                      </a:lnTo>
                      <a:lnTo>
                        <a:pt x="8359" y="1019"/>
                      </a:lnTo>
                      <a:lnTo>
                        <a:pt x="8691" y="1010"/>
                      </a:lnTo>
                      <a:lnTo>
                        <a:pt x="9017" y="1001"/>
                      </a:lnTo>
                      <a:lnTo>
                        <a:pt x="9339" y="988"/>
                      </a:lnTo>
                      <a:lnTo>
                        <a:pt x="9657" y="973"/>
                      </a:lnTo>
                      <a:lnTo>
                        <a:pt x="9967" y="956"/>
                      </a:lnTo>
                      <a:lnTo>
                        <a:pt x="10272" y="936"/>
                      </a:lnTo>
                      <a:lnTo>
                        <a:pt x="10572" y="914"/>
                      </a:lnTo>
                      <a:lnTo>
                        <a:pt x="10866" y="890"/>
                      </a:lnTo>
                      <a:lnTo>
                        <a:pt x="11150" y="864"/>
                      </a:lnTo>
                      <a:lnTo>
                        <a:pt x="11430" y="836"/>
                      </a:lnTo>
                      <a:lnTo>
                        <a:pt x="11701" y="807"/>
                      </a:lnTo>
                      <a:lnTo>
                        <a:pt x="11966" y="775"/>
                      </a:lnTo>
                      <a:lnTo>
                        <a:pt x="12221" y="742"/>
                      </a:lnTo>
                      <a:lnTo>
                        <a:pt x="12467" y="707"/>
                      </a:lnTo>
                      <a:lnTo>
                        <a:pt x="12705" y="670"/>
                      </a:lnTo>
                      <a:lnTo>
                        <a:pt x="12936" y="631"/>
                      </a:lnTo>
                      <a:lnTo>
                        <a:pt x="13156" y="590"/>
                      </a:lnTo>
                      <a:lnTo>
                        <a:pt x="13365" y="550"/>
                      </a:lnTo>
                      <a:lnTo>
                        <a:pt x="13567" y="505"/>
                      </a:lnTo>
                      <a:lnTo>
                        <a:pt x="13755" y="461"/>
                      </a:lnTo>
                      <a:lnTo>
                        <a:pt x="13935" y="415"/>
                      </a:lnTo>
                      <a:lnTo>
                        <a:pt x="14103" y="366"/>
                      </a:lnTo>
                      <a:lnTo>
                        <a:pt x="14184" y="342"/>
                      </a:lnTo>
                      <a:lnTo>
                        <a:pt x="14260" y="318"/>
                      </a:lnTo>
                      <a:lnTo>
                        <a:pt x="14336" y="293"/>
                      </a:lnTo>
                      <a:lnTo>
                        <a:pt x="14406" y="268"/>
                      </a:lnTo>
                      <a:lnTo>
                        <a:pt x="14474" y="243"/>
                      </a:lnTo>
                      <a:lnTo>
                        <a:pt x="14539" y="217"/>
                      </a:lnTo>
                      <a:lnTo>
                        <a:pt x="14602" y="191"/>
                      </a:lnTo>
                      <a:lnTo>
                        <a:pt x="14661" y="165"/>
                      </a:lnTo>
                      <a:lnTo>
                        <a:pt x="14717" y="137"/>
                      </a:lnTo>
                      <a:lnTo>
                        <a:pt x="14770" y="111"/>
                      </a:lnTo>
                      <a:lnTo>
                        <a:pt x="14818" y="84"/>
                      </a:lnTo>
                      <a:lnTo>
                        <a:pt x="14865" y="56"/>
                      </a:lnTo>
                      <a:lnTo>
                        <a:pt x="14909" y="28"/>
                      </a:lnTo>
                      <a:lnTo>
                        <a:pt x="14948" y="0"/>
                      </a:lnTo>
                      <a:lnTo>
                        <a:pt x="14948" y="0"/>
                      </a:lnTo>
                      <a:lnTo>
                        <a:pt x="14876" y="52"/>
                      </a:lnTo>
                      <a:lnTo>
                        <a:pt x="14800" y="106"/>
                      </a:lnTo>
                      <a:lnTo>
                        <a:pt x="14641" y="217"/>
                      </a:lnTo>
                      <a:lnTo>
                        <a:pt x="14471" y="328"/>
                      </a:lnTo>
                      <a:lnTo>
                        <a:pt x="14290" y="444"/>
                      </a:lnTo>
                      <a:lnTo>
                        <a:pt x="14099" y="561"/>
                      </a:lnTo>
                      <a:lnTo>
                        <a:pt x="13901" y="681"/>
                      </a:lnTo>
                      <a:lnTo>
                        <a:pt x="13694" y="803"/>
                      </a:lnTo>
                      <a:lnTo>
                        <a:pt x="13482" y="925"/>
                      </a:lnTo>
                      <a:lnTo>
                        <a:pt x="13265" y="1051"/>
                      </a:lnTo>
                      <a:lnTo>
                        <a:pt x="13044" y="1175"/>
                      </a:lnTo>
                      <a:lnTo>
                        <a:pt x="12816" y="1300"/>
                      </a:lnTo>
                      <a:lnTo>
                        <a:pt x="12589" y="1424"/>
                      </a:lnTo>
                      <a:lnTo>
                        <a:pt x="12128" y="1674"/>
                      </a:lnTo>
                      <a:lnTo>
                        <a:pt x="11670" y="1920"/>
                      </a:lnTo>
                      <a:lnTo>
                        <a:pt x="10784" y="2388"/>
                      </a:lnTo>
                      <a:lnTo>
                        <a:pt x="10374" y="2606"/>
                      </a:lnTo>
                      <a:lnTo>
                        <a:pt x="9997" y="2809"/>
                      </a:lnTo>
                      <a:lnTo>
                        <a:pt x="9821" y="2903"/>
                      </a:lnTo>
                      <a:lnTo>
                        <a:pt x="9658" y="2994"/>
                      </a:lnTo>
                      <a:lnTo>
                        <a:pt x="9505" y="3081"/>
                      </a:lnTo>
                      <a:lnTo>
                        <a:pt x="9366" y="3161"/>
                      </a:lnTo>
                      <a:lnTo>
                        <a:pt x="9241" y="3236"/>
                      </a:lnTo>
                      <a:lnTo>
                        <a:pt x="9130" y="3305"/>
                      </a:lnTo>
                      <a:lnTo>
                        <a:pt x="9034" y="3366"/>
                      </a:lnTo>
                      <a:lnTo>
                        <a:pt x="8954" y="3421"/>
                      </a:lnTo>
                      <a:lnTo>
                        <a:pt x="8954" y="3421"/>
                      </a:lnTo>
                      <a:lnTo>
                        <a:pt x="8937" y="3432"/>
                      </a:lnTo>
                      <a:lnTo>
                        <a:pt x="8919" y="3443"/>
                      </a:lnTo>
                      <a:lnTo>
                        <a:pt x="8897" y="3455"/>
                      </a:lnTo>
                      <a:lnTo>
                        <a:pt x="8873" y="3464"/>
                      </a:lnTo>
                      <a:lnTo>
                        <a:pt x="8819" y="3484"/>
                      </a:lnTo>
                      <a:lnTo>
                        <a:pt x="8754" y="3504"/>
                      </a:lnTo>
                      <a:lnTo>
                        <a:pt x="8680" y="3521"/>
                      </a:lnTo>
                      <a:lnTo>
                        <a:pt x="8599" y="3540"/>
                      </a:lnTo>
                      <a:lnTo>
                        <a:pt x="8510" y="3554"/>
                      </a:lnTo>
                      <a:lnTo>
                        <a:pt x="8414" y="3569"/>
                      </a:lnTo>
                      <a:lnTo>
                        <a:pt x="8311" y="3582"/>
                      </a:lnTo>
                      <a:lnTo>
                        <a:pt x="8203" y="3593"/>
                      </a:lnTo>
                      <a:lnTo>
                        <a:pt x="8089" y="3602"/>
                      </a:lnTo>
                      <a:lnTo>
                        <a:pt x="7969" y="3612"/>
                      </a:lnTo>
                      <a:lnTo>
                        <a:pt x="7845" y="3617"/>
                      </a:lnTo>
                      <a:lnTo>
                        <a:pt x="7715" y="3621"/>
                      </a:lnTo>
                      <a:lnTo>
                        <a:pt x="7584" y="3625"/>
                      </a:lnTo>
                      <a:lnTo>
                        <a:pt x="7449" y="3625"/>
                      </a:lnTo>
                      <a:lnTo>
                        <a:pt x="7449" y="3625"/>
                      </a:lnTo>
                      <a:lnTo>
                        <a:pt x="7316" y="3623"/>
                      </a:lnTo>
                      <a:lnTo>
                        <a:pt x="7188" y="3621"/>
                      </a:lnTo>
                      <a:lnTo>
                        <a:pt x="7065" y="3615"/>
                      </a:lnTo>
                      <a:lnTo>
                        <a:pt x="6944" y="3608"/>
                      </a:lnTo>
                      <a:lnTo>
                        <a:pt x="6828" y="3601"/>
                      </a:lnTo>
                      <a:lnTo>
                        <a:pt x="6717" y="3589"/>
                      </a:lnTo>
                      <a:lnTo>
                        <a:pt x="6613" y="3578"/>
                      </a:lnTo>
                      <a:lnTo>
                        <a:pt x="6514" y="3565"/>
                      </a:lnTo>
                      <a:lnTo>
                        <a:pt x="6421" y="3551"/>
                      </a:lnTo>
                      <a:lnTo>
                        <a:pt x="6336" y="3536"/>
                      </a:lnTo>
                      <a:lnTo>
                        <a:pt x="6259" y="3519"/>
                      </a:lnTo>
                      <a:lnTo>
                        <a:pt x="6188" y="3501"/>
                      </a:lnTo>
                      <a:lnTo>
                        <a:pt x="6125" y="3482"/>
                      </a:lnTo>
                      <a:lnTo>
                        <a:pt x="6074" y="3464"/>
                      </a:lnTo>
                      <a:lnTo>
                        <a:pt x="6050" y="3453"/>
                      </a:lnTo>
                      <a:lnTo>
                        <a:pt x="6029" y="3443"/>
                      </a:lnTo>
                      <a:lnTo>
                        <a:pt x="6011" y="3432"/>
                      </a:lnTo>
                      <a:lnTo>
                        <a:pt x="5996" y="3421"/>
                      </a:lnTo>
                      <a:lnTo>
                        <a:pt x="5996" y="3421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535353"/>
                    </a:gs>
                    <a:gs pos="64000">
                      <a:srgbClr val="F2F2F2"/>
                    </a:gs>
                    <a:gs pos="87000">
                      <a:srgbClr val="9B9B9B"/>
                    </a:gs>
                  </a:gsLst>
                  <a:lin ang="87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" name="Freeform 9">
                  <a:extLst>
                    <a:ext uri="{FF2B5EF4-FFF2-40B4-BE49-F238E27FC236}">
                      <a16:creationId xmlns:a16="http://schemas.microsoft.com/office/drawing/2014/main" xmlns="" id="{633F12BC-65DB-8D42-B059-2C6149861F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1863" y="3440177"/>
                  <a:ext cx="5007523" cy="495809"/>
                </a:xfrm>
                <a:custGeom>
                  <a:avLst/>
                  <a:gdLst/>
                  <a:ahLst/>
                  <a:cxnLst>
                    <a:cxn ang="0">
                      <a:pos x="13278" y="1089"/>
                    </a:cxn>
                    <a:cxn ang="0">
                      <a:pos x="13247" y="1168"/>
                    </a:cxn>
                    <a:cxn ang="0">
                      <a:pos x="13176" y="1248"/>
                    </a:cxn>
                    <a:cxn ang="0">
                      <a:pos x="13071" y="1325"/>
                    </a:cxn>
                    <a:cxn ang="0">
                      <a:pos x="12931" y="1401"/>
                    </a:cxn>
                    <a:cxn ang="0">
                      <a:pos x="12759" y="1473"/>
                    </a:cxn>
                    <a:cxn ang="0">
                      <a:pos x="12553" y="1544"/>
                    </a:cxn>
                    <a:cxn ang="0">
                      <a:pos x="12319" y="1610"/>
                    </a:cxn>
                    <a:cxn ang="0">
                      <a:pos x="11764" y="1736"/>
                    </a:cxn>
                    <a:cxn ang="0">
                      <a:pos x="11106" y="1847"/>
                    </a:cxn>
                    <a:cxn ang="0">
                      <a:pos x="10353" y="1941"/>
                    </a:cxn>
                    <a:cxn ang="0">
                      <a:pos x="9520" y="2017"/>
                    </a:cxn>
                    <a:cxn ang="0">
                      <a:pos x="8616" y="2074"/>
                    </a:cxn>
                    <a:cxn ang="0">
                      <a:pos x="7652" y="2110"/>
                    </a:cxn>
                    <a:cxn ang="0">
                      <a:pos x="6641" y="2122"/>
                    </a:cxn>
                    <a:cxn ang="0">
                      <a:pos x="5962" y="2117"/>
                    </a:cxn>
                    <a:cxn ang="0">
                      <a:pos x="4981" y="2089"/>
                    </a:cxn>
                    <a:cxn ang="0">
                      <a:pos x="4056" y="2039"/>
                    </a:cxn>
                    <a:cxn ang="0">
                      <a:pos x="3197" y="1969"/>
                    </a:cxn>
                    <a:cxn ang="0">
                      <a:pos x="2417" y="1880"/>
                    </a:cxn>
                    <a:cxn ang="0">
                      <a:pos x="1725" y="1775"/>
                    </a:cxn>
                    <a:cxn ang="0">
                      <a:pos x="1135" y="1655"/>
                    </a:cxn>
                    <a:cxn ang="0">
                      <a:pos x="803" y="1566"/>
                    </a:cxn>
                    <a:cxn ang="0">
                      <a:pos x="588" y="1497"/>
                    </a:cxn>
                    <a:cxn ang="0">
                      <a:pos x="403" y="1425"/>
                    </a:cxn>
                    <a:cxn ang="0">
                      <a:pos x="253" y="1351"/>
                    </a:cxn>
                    <a:cxn ang="0">
                      <a:pos x="135" y="1274"/>
                    </a:cxn>
                    <a:cxn ang="0">
                      <a:pos x="54" y="1196"/>
                    </a:cxn>
                    <a:cxn ang="0">
                      <a:pos x="9" y="1115"/>
                    </a:cxn>
                    <a:cxn ang="0">
                      <a:pos x="0" y="1061"/>
                    </a:cxn>
                    <a:cxn ang="0">
                      <a:pos x="21" y="980"/>
                    </a:cxn>
                    <a:cxn ang="0">
                      <a:pos x="78" y="898"/>
                    </a:cxn>
                    <a:cxn ang="0">
                      <a:pos x="170" y="821"/>
                    </a:cxn>
                    <a:cxn ang="0">
                      <a:pos x="300" y="745"/>
                    </a:cxn>
                    <a:cxn ang="0">
                      <a:pos x="461" y="671"/>
                    </a:cxn>
                    <a:cxn ang="0">
                      <a:pos x="655" y="601"/>
                    </a:cxn>
                    <a:cxn ang="0">
                      <a:pos x="880" y="532"/>
                    </a:cxn>
                    <a:cxn ang="0">
                      <a:pos x="1320" y="425"/>
                    </a:cxn>
                    <a:cxn ang="0">
                      <a:pos x="1945" y="310"/>
                    </a:cxn>
                    <a:cxn ang="0">
                      <a:pos x="2668" y="210"/>
                    </a:cxn>
                    <a:cxn ang="0">
                      <a:pos x="3476" y="127"/>
                    </a:cxn>
                    <a:cxn ang="0">
                      <a:pos x="4358" y="64"/>
                    </a:cxn>
                    <a:cxn ang="0">
                      <a:pos x="5302" y="20"/>
                    </a:cxn>
                    <a:cxn ang="0">
                      <a:pos x="6299" y="0"/>
                    </a:cxn>
                    <a:cxn ang="0">
                      <a:pos x="6983" y="0"/>
                    </a:cxn>
                    <a:cxn ang="0">
                      <a:pos x="7980" y="20"/>
                    </a:cxn>
                    <a:cxn ang="0">
                      <a:pos x="8924" y="64"/>
                    </a:cxn>
                    <a:cxn ang="0">
                      <a:pos x="9806" y="127"/>
                    </a:cxn>
                    <a:cxn ang="0">
                      <a:pos x="10614" y="210"/>
                    </a:cxn>
                    <a:cxn ang="0">
                      <a:pos x="11335" y="310"/>
                    </a:cxn>
                    <a:cxn ang="0">
                      <a:pos x="11962" y="425"/>
                    </a:cxn>
                    <a:cxn ang="0">
                      <a:pos x="12400" y="532"/>
                    </a:cxn>
                    <a:cxn ang="0">
                      <a:pos x="12626" y="601"/>
                    </a:cxn>
                    <a:cxn ang="0">
                      <a:pos x="12820" y="671"/>
                    </a:cxn>
                    <a:cxn ang="0">
                      <a:pos x="12982" y="745"/>
                    </a:cxn>
                    <a:cxn ang="0">
                      <a:pos x="13110" y="821"/>
                    </a:cxn>
                    <a:cxn ang="0">
                      <a:pos x="13204" y="898"/>
                    </a:cxn>
                    <a:cxn ang="0">
                      <a:pos x="13261" y="980"/>
                    </a:cxn>
                    <a:cxn ang="0">
                      <a:pos x="13280" y="1061"/>
                    </a:cxn>
                  </a:cxnLst>
                  <a:rect l="0" t="0" r="r" b="b"/>
                  <a:pathLst>
                    <a:path w="13280" h="2122">
                      <a:moveTo>
                        <a:pt x="13280" y="1061"/>
                      </a:moveTo>
                      <a:lnTo>
                        <a:pt x="13280" y="1061"/>
                      </a:lnTo>
                      <a:lnTo>
                        <a:pt x="13278" y="1089"/>
                      </a:lnTo>
                      <a:lnTo>
                        <a:pt x="13271" y="1115"/>
                      </a:lnTo>
                      <a:lnTo>
                        <a:pt x="13261" y="1142"/>
                      </a:lnTo>
                      <a:lnTo>
                        <a:pt x="13247" y="1168"/>
                      </a:lnTo>
                      <a:lnTo>
                        <a:pt x="13226" y="1196"/>
                      </a:lnTo>
                      <a:lnTo>
                        <a:pt x="13204" y="1222"/>
                      </a:lnTo>
                      <a:lnTo>
                        <a:pt x="13176" y="1248"/>
                      </a:lnTo>
                      <a:lnTo>
                        <a:pt x="13145" y="1274"/>
                      </a:lnTo>
                      <a:lnTo>
                        <a:pt x="13110" y="1300"/>
                      </a:lnTo>
                      <a:lnTo>
                        <a:pt x="13071" y="1325"/>
                      </a:lnTo>
                      <a:lnTo>
                        <a:pt x="13029" y="1351"/>
                      </a:lnTo>
                      <a:lnTo>
                        <a:pt x="12982" y="1375"/>
                      </a:lnTo>
                      <a:lnTo>
                        <a:pt x="12931" y="1401"/>
                      </a:lnTo>
                      <a:lnTo>
                        <a:pt x="12877" y="1425"/>
                      </a:lnTo>
                      <a:lnTo>
                        <a:pt x="12820" y="1449"/>
                      </a:lnTo>
                      <a:lnTo>
                        <a:pt x="12759" y="1473"/>
                      </a:lnTo>
                      <a:lnTo>
                        <a:pt x="12694" y="1497"/>
                      </a:lnTo>
                      <a:lnTo>
                        <a:pt x="12626" y="1522"/>
                      </a:lnTo>
                      <a:lnTo>
                        <a:pt x="12553" y="1544"/>
                      </a:lnTo>
                      <a:lnTo>
                        <a:pt x="12479" y="1566"/>
                      </a:lnTo>
                      <a:lnTo>
                        <a:pt x="12400" y="1590"/>
                      </a:lnTo>
                      <a:lnTo>
                        <a:pt x="12319" y="1610"/>
                      </a:lnTo>
                      <a:lnTo>
                        <a:pt x="12147" y="1655"/>
                      </a:lnTo>
                      <a:lnTo>
                        <a:pt x="11962" y="1695"/>
                      </a:lnTo>
                      <a:lnTo>
                        <a:pt x="11764" y="1736"/>
                      </a:lnTo>
                      <a:lnTo>
                        <a:pt x="11555" y="1775"/>
                      </a:lnTo>
                      <a:lnTo>
                        <a:pt x="11335" y="1812"/>
                      </a:lnTo>
                      <a:lnTo>
                        <a:pt x="11106" y="1847"/>
                      </a:lnTo>
                      <a:lnTo>
                        <a:pt x="10864" y="1880"/>
                      </a:lnTo>
                      <a:lnTo>
                        <a:pt x="10614" y="1912"/>
                      </a:lnTo>
                      <a:lnTo>
                        <a:pt x="10353" y="1941"/>
                      </a:lnTo>
                      <a:lnTo>
                        <a:pt x="10083" y="1969"/>
                      </a:lnTo>
                      <a:lnTo>
                        <a:pt x="9806" y="1995"/>
                      </a:lnTo>
                      <a:lnTo>
                        <a:pt x="9520" y="2017"/>
                      </a:lnTo>
                      <a:lnTo>
                        <a:pt x="9226" y="2039"/>
                      </a:lnTo>
                      <a:lnTo>
                        <a:pt x="8924" y="2058"/>
                      </a:lnTo>
                      <a:lnTo>
                        <a:pt x="8616" y="2074"/>
                      </a:lnTo>
                      <a:lnTo>
                        <a:pt x="8299" y="2089"/>
                      </a:lnTo>
                      <a:lnTo>
                        <a:pt x="7980" y="2100"/>
                      </a:lnTo>
                      <a:lnTo>
                        <a:pt x="7652" y="2110"/>
                      </a:lnTo>
                      <a:lnTo>
                        <a:pt x="7320" y="2117"/>
                      </a:lnTo>
                      <a:lnTo>
                        <a:pt x="6983" y="2121"/>
                      </a:lnTo>
                      <a:lnTo>
                        <a:pt x="6641" y="2122"/>
                      </a:lnTo>
                      <a:lnTo>
                        <a:pt x="6641" y="2122"/>
                      </a:lnTo>
                      <a:lnTo>
                        <a:pt x="6299" y="2121"/>
                      </a:lnTo>
                      <a:lnTo>
                        <a:pt x="5962" y="2117"/>
                      </a:lnTo>
                      <a:lnTo>
                        <a:pt x="5630" y="2110"/>
                      </a:lnTo>
                      <a:lnTo>
                        <a:pt x="5302" y="2100"/>
                      </a:lnTo>
                      <a:lnTo>
                        <a:pt x="4981" y="2089"/>
                      </a:lnTo>
                      <a:lnTo>
                        <a:pt x="4666" y="2074"/>
                      </a:lnTo>
                      <a:lnTo>
                        <a:pt x="4358" y="2058"/>
                      </a:lnTo>
                      <a:lnTo>
                        <a:pt x="4056" y="2039"/>
                      </a:lnTo>
                      <a:lnTo>
                        <a:pt x="3762" y="2017"/>
                      </a:lnTo>
                      <a:lnTo>
                        <a:pt x="3476" y="1995"/>
                      </a:lnTo>
                      <a:lnTo>
                        <a:pt x="3197" y="1969"/>
                      </a:lnTo>
                      <a:lnTo>
                        <a:pt x="2929" y="1941"/>
                      </a:lnTo>
                      <a:lnTo>
                        <a:pt x="2668" y="1912"/>
                      </a:lnTo>
                      <a:lnTo>
                        <a:pt x="2417" y="1880"/>
                      </a:lnTo>
                      <a:lnTo>
                        <a:pt x="2176" y="1847"/>
                      </a:lnTo>
                      <a:lnTo>
                        <a:pt x="1945" y="1812"/>
                      </a:lnTo>
                      <a:lnTo>
                        <a:pt x="1725" y="1775"/>
                      </a:lnTo>
                      <a:lnTo>
                        <a:pt x="1516" y="1736"/>
                      </a:lnTo>
                      <a:lnTo>
                        <a:pt x="1320" y="1695"/>
                      </a:lnTo>
                      <a:lnTo>
                        <a:pt x="1135" y="1655"/>
                      </a:lnTo>
                      <a:lnTo>
                        <a:pt x="962" y="1610"/>
                      </a:lnTo>
                      <a:lnTo>
                        <a:pt x="880" y="1590"/>
                      </a:lnTo>
                      <a:lnTo>
                        <a:pt x="803" y="1566"/>
                      </a:lnTo>
                      <a:lnTo>
                        <a:pt x="727" y="1544"/>
                      </a:lnTo>
                      <a:lnTo>
                        <a:pt x="655" y="1522"/>
                      </a:lnTo>
                      <a:lnTo>
                        <a:pt x="588" y="1497"/>
                      </a:lnTo>
                      <a:lnTo>
                        <a:pt x="523" y="1473"/>
                      </a:lnTo>
                      <a:lnTo>
                        <a:pt x="461" y="1449"/>
                      </a:lnTo>
                      <a:lnTo>
                        <a:pt x="403" y="1425"/>
                      </a:lnTo>
                      <a:lnTo>
                        <a:pt x="350" y="1401"/>
                      </a:lnTo>
                      <a:lnTo>
                        <a:pt x="300" y="1375"/>
                      </a:lnTo>
                      <a:lnTo>
                        <a:pt x="253" y="1351"/>
                      </a:lnTo>
                      <a:lnTo>
                        <a:pt x="209" y="1325"/>
                      </a:lnTo>
                      <a:lnTo>
                        <a:pt x="170" y="1300"/>
                      </a:lnTo>
                      <a:lnTo>
                        <a:pt x="135" y="1274"/>
                      </a:lnTo>
                      <a:lnTo>
                        <a:pt x="104" y="1248"/>
                      </a:lnTo>
                      <a:lnTo>
                        <a:pt x="78" y="1222"/>
                      </a:lnTo>
                      <a:lnTo>
                        <a:pt x="54" y="1196"/>
                      </a:lnTo>
                      <a:lnTo>
                        <a:pt x="35" y="1168"/>
                      </a:lnTo>
                      <a:lnTo>
                        <a:pt x="21" y="1142"/>
                      </a:lnTo>
                      <a:lnTo>
                        <a:pt x="9" y="1115"/>
                      </a:lnTo>
                      <a:lnTo>
                        <a:pt x="2" y="1089"/>
                      </a:lnTo>
                      <a:lnTo>
                        <a:pt x="0" y="1061"/>
                      </a:lnTo>
                      <a:lnTo>
                        <a:pt x="0" y="1061"/>
                      </a:lnTo>
                      <a:lnTo>
                        <a:pt x="2" y="1033"/>
                      </a:lnTo>
                      <a:lnTo>
                        <a:pt x="9" y="1006"/>
                      </a:lnTo>
                      <a:lnTo>
                        <a:pt x="21" y="980"/>
                      </a:lnTo>
                      <a:lnTo>
                        <a:pt x="35" y="952"/>
                      </a:lnTo>
                      <a:lnTo>
                        <a:pt x="54" y="926"/>
                      </a:lnTo>
                      <a:lnTo>
                        <a:pt x="78" y="898"/>
                      </a:lnTo>
                      <a:lnTo>
                        <a:pt x="104" y="872"/>
                      </a:lnTo>
                      <a:lnTo>
                        <a:pt x="135" y="847"/>
                      </a:lnTo>
                      <a:lnTo>
                        <a:pt x="170" y="821"/>
                      </a:lnTo>
                      <a:lnTo>
                        <a:pt x="209" y="795"/>
                      </a:lnTo>
                      <a:lnTo>
                        <a:pt x="253" y="771"/>
                      </a:lnTo>
                      <a:lnTo>
                        <a:pt x="300" y="745"/>
                      </a:lnTo>
                      <a:lnTo>
                        <a:pt x="350" y="721"/>
                      </a:lnTo>
                      <a:lnTo>
                        <a:pt x="403" y="695"/>
                      </a:lnTo>
                      <a:lnTo>
                        <a:pt x="461" y="671"/>
                      </a:lnTo>
                      <a:lnTo>
                        <a:pt x="523" y="647"/>
                      </a:lnTo>
                      <a:lnTo>
                        <a:pt x="588" y="625"/>
                      </a:lnTo>
                      <a:lnTo>
                        <a:pt x="655" y="601"/>
                      </a:lnTo>
                      <a:lnTo>
                        <a:pt x="727" y="577"/>
                      </a:lnTo>
                      <a:lnTo>
                        <a:pt x="803" y="554"/>
                      </a:lnTo>
                      <a:lnTo>
                        <a:pt x="880" y="532"/>
                      </a:lnTo>
                      <a:lnTo>
                        <a:pt x="962" y="510"/>
                      </a:lnTo>
                      <a:lnTo>
                        <a:pt x="1135" y="468"/>
                      </a:lnTo>
                      <a:lnTo>
                        <a:pt x="1320" y="425"/>
                      </a:lnTo>
                      <a:lnTo>
                        <a:pt x="1516" y="386"/>
                      </a:lnTo>
                      <a:lnTo>
                        <a:pt x="1725" y="347"/>
                      </a:lnTo>
                      <a:lnTo>
                        <a:pt x="1945" y="310"/>
                      </a:lnTo>
                      <a:lnTo>
                        <a:pt x="2176" y="275"/>
                      </a:lnTo>
                      <a:lnTo>
                        <a:pt x="2417" y="242"/>
                      </a:lnTo>
                      <a:lnTo>
                        <a:pt x="2668" y="210"/>
                      </a:lnTo>
                      <a:lnTo>
                        <a:pt x="2929" y="181"/>
                      </a:lnTo>
                      <a:lnTo>
                        <a:pt x="3197" y="153"/>
                      </a:lnTo>
                      <a:lnTo>
                        <a:pt x="3476" y="127"/>
                      </a:lnTo>
                      <a:lnTo>
                        <a:pt x="3762" y="103"/>
                      </a:lnTo>
                      <a:lnTo>
                        <a:pt x="4056" y="83"/>
                      </a:lnTo>
                      <a:lnTo>
                        <a:pt x="4358" y="64"/>
                      </a:lnTo>
                      <a:lnTo>
                        <a:pt x="4666" y="46"/>
                      </a:lnTo>
                      <a:lnTo>
                        <a:pt x="4981" y="33"/>
                      </a:lnTo>
                      <a:lnTo>
                        <a:pt x="5302" y="20"/>
                      </a:lnTo>
                      <a:lnTo>
                        <a:pt x="5630" y="11"/>
                      </a:lnTo>
                      <a:lnTo>
                        <a:pt x="5962" y="5"/>
                      </a:lnTo>
                      <a:lnTo>
                        <a:pt x="6299" y="0"/>
                      </a:lnTo>
                      <a:lnTo>
                        <a:pt x="6641" y="0"/>
                      </a:lnTo>
                      <a:lnTo>
                        <a:pt x="6641" y="0"/>
                      </a:lnTo>
                      <a:lnTo>
                        <a:pt x="6983" y="0"/>
                      </a:lnTo>
                      <a:lnTo>
                        <a:pt x="7320" y="5"/>
                      </a:lnTo>
                      <a:lnTo>
                        <a:pt x="7652" y="11"/>
                      </a:lnTo>
                      <a:lnTo>
                        <a:pt x="7980" y="20"/>
                      </a:lnTo>
                      <a:lnTo>
                        <a:pt x="8299" y="33"/>
                      </a:lnTo>
                      <a:lnTo>
                        <a:pt x="8616" y="46"/>
                      </a:lnTo>
                      <a:lnTo>
                        <a:pt x="8924" y="64"/>
                      </a:lnTo>
                      <a:lnTo>
                        <a:pt x="9226" y="83"/>
                      </a:lnTo>
                      <a:lnTo>
                        <a:pt x="9520" y="103"/>
                      </a:lnTo>
                      <a:lnTo>
                        <a:pt x="9806" y="127"/>
                      </a:lnTo>
                      <a:lnTo>
                        <a:pt x="10083" y="153"/>
                      </a:lnTo>
                      <a:lnTo>
                        <a:pt x="10353" y="181"/>
                      </a:lnTo>
                      <a:lnTo>
                        <a:pt x="10614" y="210"/>
                      </a:lnTo>
                      <a:lnTo>
                        <a:pt x="10864" y="242"/>
                      </a:lnTo>
                      <a:lnTo>
                        <a:pt x="11106" y="275"/>
                      </a:lnTo>
                      <a:lnTo>
                        <a:pt x="11335" y="310"/>
                      </a:lnTo>
                      <a:lnTo>
                        <a:pt x="11555" y="347"/>
                      </a:lnTo>
                      <a:lnTo>
                        <a:pt x="11764" y="386"/>
                      </a:lnTo>
                      <a:lnTo>
                        <a:pt x="11962" y="425"/>
                      </a:lnTo>
                      <a:lnTo>
                        <a:pt x="12147" y="468"/>
                      </a:lnTo>
                      <a:lnTo>
                        <a:pt x="12319" y="510"/>
                      </a:lnTo>
                      <a:lnTo>
                        <a:pt x="12400" y="532"/>
                      </a:lnTo>
                      <a:lnTo>
                        <a:pt x="12479" y="554"/>
                      </a:lnTo>
                      <a:lnTo>
                        <a:pt x="12553" y="577"/>
                      </a:lnTo>
                      <a:lnTo>
                        <a:pt x="12626" y="601"/>
                      </a:lnTo>
                      <a:lnTo>
                        <a:pt x="12694" y="625"/>
                      </a:lnTo>
                      <a:lnTo>
                        <a:pt x="12759" y="647"/>
                      </a:lnTo>
                      <a:lnTo>
                        <a:pt x="12820" y="671"/>
                      </a:lnTo>
                      <a:lnTo>
                        <a:pt x="12877" y="695"/>
                      </a:lnTo>
                      <a:lnTo>
                        <a:pt x="12931" y="721"/>
                      </a:lnTo>
                      <a:lnTo>
                        <a:pt x="12982" y="745"/>
                      </a:lnTo>
                      <a:lnTo>
                        <a:pt x="13029" y="771"/>
                      </a:lnTo>
                      <a:lnTo>
                        <a:pt x="13071" y="795"/>
                      </a:lnTo>
                      <a:lnTo>
                        <a:pt x="13110" y="821"/>
                      </a:lnTo>
                      <a:lnTo>
                        <a:pt x="13145" y="847"/>
                      </a:lnTo>
                      <a:lnTo>
                        <a:pt x="13176" y="872"/>
                      </a:lnTo>
                      <a:lnTo>
                        <a:pt x="13204" y="898"/>
                      </a:lnTo>
                      <a:lnTo>
                        <a:pt x="13226" y="926"/>
                      </a:lnTo>
                      <a:lnTo>
                        <a:pt x="13247" y="952"/>
                      </a:lnTo>
                      <a:lnTo>
                        <a:pt x="13261" y="980"/>
                      </a:lnTo>
                      <a:lnTo>
                        <a:pt x="13271" y="1006"/>
                      </a:lnTo>
                      <a:lnTo>
                        <a:pt x="13278" y="1033"/>
                      </a:lnTo>
                      <a:lnTo>
                        <a:pt x="13280" y="1061"/>
                      </a:lnTo>
                      <a:lnTo>
                        <a:pt x="13280" y="1061"/>
                      </a:lnTo>
                      <a:close/>
                    </a:path>
                  </a:pathLst>
                </a:custGeom>
                <a:gradFill flip="none" rotWithShape="1">
                  <a:gsLst>
                    <a:gs pos="82000">
                      <a:schemeClr val="accent2">
                        <a:lumMod val="50000"/>
                      </a:schemeClr>
                    </a:gs>
                    <a:gs pos="62000">
                      <a:schemeClr val="accent6">
                        <a:lumMod val="50000"/>
                      </a:schemeClr>
                    </a:gs>
                    <a:gs pos="38000">
                      <a:schemeClr val="accent5">
                        <a:lumMod val="50000"/>
                      </a:schemeClr>
                    </a:gs>
                    <a:gs pos="13000">
                      <a:schemeClr val="accent4">
                        <a:lumMod val="50000"/>
                      </a:schemeClr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0">
                  <a:extLst>
                    <a:ext uri="{FF2B5EF4-FFF2-40B4-BE49-F238E27FC236}">
                      <a16:creationId xmlns:a16="http://schemas.microsoft.com/office/drawing/2014/main" xmlns="" id="{72CCE78F-BF51-164D-988B-5DC1864EC4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0403" y="3427571"/>
                  <a:ext cx="5791198" cy="553700"/>
                </a:xfrm>
                <a:custGeom>
                  <a:avLst/>
                  <a:gdLst/>
                  <a:ahLst/>
                  <a:cxnLst>
                    <a:cxn ang="0">
                      <a:pos x="2" y="17"/>
                    </a:cxn>
                    <a:cxn ang="0">
                      <a:pos x="15" y="85"/>
                    </a:cxn>
                    <a:cxn ang="0">
                      <a:pos x="87" y="200"/>
                    </a:cxn>
                    <a:cxn ang="0">
                      <a:pos x="237" y="329"/>
                    </a:cxn>
                    <a:cxn ang="0">
                      <a:pos x="455" y="453"/>
                    </a:cxn>
                    <a:cxn ang="0">
                      <a:pos x="740" y="572"/>
                    </a:cxn>
                    <a:cxn ang="0">
                      <a:pos x="1085" y="684"/>
                    </a:cxn>
                    <a:cxn ang="0">
                      <a:pos x="1490" y="790"/>
                    </a:cxn>
                    <a:cxn ang="0">
                      <a:pos x="1950" y="888"/>
                    </a:cxn>
                    <a:cxn ang="0">
                      <a:pos x="3019" y="1060"/>
                    </a:cxn>
                    <a:cxn ang="0">
                      <a:pos x="4261" y="1195"/>
                    </a:cxn>
                    <a:cxn ang="0">
                      <a:pos x="5650" y="1285"/>
                    </a:cxn>
                    <a:cxn ang="0">
                      <a:pos x="7153" y="1330"/>
                    </a:cxn>
                    <a:cxn ang="0">
                      <a:pos x="8329" y="1328"/>
                    </a:cxn>
                    <a:cxn ang="0">
                      <a:pos x="9832" y="1280"/>
                    </a:cxn>
                    <a:cxn ang="0">
                      <a:pos x="11218" y="1184"/>
                    </a:cxn>
                    <a:cxn ang="0">
                      <a:pos x="12457" y="1043"/>
                    </a:cxn>
                    <a:cxn ang="0">
                      <a:pos x="13394" y="890"/>
                    </a:cxn>
                    <a:cxn ang="0">
                      <a:pos x="13860" y="790"/>
                    </a:cxn>
                    <a:cxn ang="0">
                      <a:pos x="14271" y="684"/>
                    </a:cxn>
                    <a:cxn ang="0">
                      <a:pos x="14620" y="570"/>
                    </a:cxn>
                    <a:cxn ang="0">
                      <a:pos x="14907" y="450"/>
                    </a:cxn>
                    <a:cxn ang="0">
                      <a:pos x="15127" y="324"/>
                    </a:cxn>
                    <a:cxn ang="0">
                      <a:pos x="15275" y="193"/>
                    </a:cxn>
                    <a:cxn ang="0">
                      <a:pos x="15338" y="91"/>
                    </a:cxn>
                    <a:cxn ang="0">
                      <a:pos x="15354" y="22"/>
                    </a:cxn>
                    <a:cxn ang="0">
                      <a:pos x="15356" y="1039"/>
                    </a:cxn>
                    <a:cxn ang="0">
                      <a:pos x="15349" y="1097"/>
                    </a:cxn>
                    <a:cxn ang="0">
                      <a:pos x="15321" y="1165"/>
                    </a:cxn>
                    <a:cxn ang="0">
                      <a:pos x="15210" y="1298"/>
                    </a:cxn>
                    <a:cxn ang="0">
                      <a:pos x="15027" y="1428"/>
                    </a:cxn>
                    <a:cxn ang="0">
                      <a:pos x="14772" y="1550"/>
                    </a:cxn>
                    <a:cxn ang="0">
                      <a:pos x="14454" y="1668"/>
                    </a:cxn>
                    <a:cxn ang="0">
                      <a:pos x="14073" y="1777"/>
                    </a:cxn>
                    <a:cxn ang="0">
                      <a:pos x="13635" y="1881"/>
                    </a:cxn>
                    <a:cxn ang="0">
                      <a:pos x="13012" y="1999"/>
                    </a:cxn>
                    <a:cxn ang="0">
                      <a:pos x="11858" y="2158"/>
                    </a:cxn>
                    <a:cxn ang="0">
                      <a:pos x="10542" y="2278"/>
                    </a:cxn>
                    <a:cxn ang="0">
                      <a:pos x="9094" y="2350"/>
                    </a:cxn>
                    <a:cxn ang="0">
                      <a:pos x="7543" y="2373"/>
                    </a:cxn>
                    <a:cxn ang="0">
                      <a:pos x="6389" y="2354"/>
                    </a:cxn>
                    <a:cxn ang="0">
                      <a:pos x="4938" y="2286"/>
                    </a:cxn>
                    <a:cxn ang="0">
                      <a:pos x="3620" y="2173"/>
                    </a:cxn>
                    <a:cxn ang="0">
                      <a:pos x="2461" y="2018"/>
                    </a:cxn>
                    <a:cxn ang="0">
                      <a:pos x="1714" y="1879"/>
                    </a:cxn>
                    <a:cxn ang="0">
                      <a:pos x="1281" y="1777"/>
                    </a:cxn>
                    <a:cxn ang="0">
                      <a:pos x="906" y="1668"/>
                    </a:cxn>
                    <a:cxn ang="0">
                      <a:pos x="590" y="1553"/>
                    </a:cxn>
                    <a:cxn ang="0">
                      <a:pos x="336" y="1431"/>
                    </a:cxn>
                    <a:cxn ang="0">
                      <a:pos x="153" y="1306"/>
                    </a:cxn>
                    <a:cxn ang="0">
                      <a:pos x="39" y="1174"/>
                    </a:cxn>
                    <a:cxn ang="0">
                      <a:pos x="6" y="1091"/>
                    </a:cxn>
                    <a:cxn ang="0">
                      <a:pos x="0" y="1041"/>
                    </a:cxn>
                  </a:cxnLst>
                  <a:rect l="0" t="0" r="r" b="b"/>
                  <a:pathLst>
                    <a:path w="15356" h="2373">
                      <a:moveTo>
                        <a:pt x="0" y="1041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17"/>
                      </a:lnTo>
                      <a:lnTo>
                        <a:pt x="4" y="33"/>
                      </a:lnTo>
                      <a:lnTo>
                        <a:pt x="6" y="50"/>
                      </a:lnTo>
                      <a:lnTo>
                        <a:pt x="11" y="69"/>
                      </a:lnTo>
                      <a:lnTo>
                        <a:pt x="15" y="85"/>
                      </a:lnTo>
                      <a:lnTo>
                        <a:pt x="22" y="102"/>
                      </a:lnTo>
                      <a:lnTo>
                        <a:pt x="39" y="135"/>
                      </a:lnTo>
                      <a:lnTo>
                        <a:pt x="61" y="168"/>
                      </a:lnTo>
                      <a:lnTo>
                        <a:pt x="87" y="200"/>
                      </a:lnTo>
                      <a:lnTo>
                        <a:pt x="118" y="233"/>
                      </a:lnTo>
                      <a:lnTo>
                        <a:pt x="153" y="265"/>
                      </a:lnTo>
                      <a:lnTo>
                        <a:pt x="192" y="298"/>
                      </a:lnTo>
                      <a:lnTo>
                        <a:pt x="237" y="329"/>
                      </a:lnTo>
                      <a:lnTo>
                        <a:pt x="285" y="361"/>
                      </a:lnTo>
                      <a:lnTo>
                        <a:pt x="336" y="392"/>
                      </a:lnTo>
                      <a:lnTo>
                        <a:pt x="394" y="422"/>
                      </a:lnTo>
                      <a:lnTo>
                        <a:pt x="455" y="453"/>
                      </a:lnTo>
                      <a:lnTo>
                        <a:pt x="520" y="483"/>
                      </a:lnTo>
                      <a:lnTo>
                        <a:pt x="590" y="512"/>
                      </a:lnTo>
                      <a:lnTo>
                        <a:pt x="662" y="542"/>
                      </a:lnTo>
                      <a:lnTo>
                        <a:pt x="740" y="572"/>
                      </a:lnTo>
                      <a:lnTo>
                        <a:pt x="821" y="599"/>
                      </a:lnTo>
                      <a:lnTo>
                        <a:pt x="906" y="629"/>
                      </a:lnTo>
                      <a:lnTo>
                        <a:pt x="995" y="657"/>
                      </a:lnTo>
                      <a:lnTo>
                        <a:pt x="1085" y="684"/>
                      </a:lnTo>
                      <a:lnTo>
                        <a:pt x="1181" y="710"/>
                      </a:lnTo>
                      <a:lnTo>
                        <a:pt x="1281" y="738"/>
                      </a:lnTo>
                      <a:lnTo>
                        <a:pt x="1385" y="764"/>
                      </a:lnTo>
                      <a:lnTo>
                        <a:pt x="1490" y="790"/>
                      </a:lnTo>
                      <a:lnTo>
                        <a:pt x="1601" y="814"/>
                      </a:lnTo>
                      <a:lnTo>
                        <a:pt x="1714" y="840"/>
                      </a:lnTo>
                      <a:lnTo>
                        <a:pt x="1830" y="864"/>
                      </a:lnTo>
                      <a:lnTo>
                        <a:pt x="1950" y="888"/>
                      </a:lnTo>
                      <a:lnTo>
                        <a:pt x="2200" y="934"/>
                      </a:lnTo>
                      <a:lnTo>
                        <a:pt x="2461" y="978"/>
                      </a:lnTo>
                      <a:lnTo>
                        <a:pt x="2734" y="1019"/>
                      </a:lnTo>
                      <a:lnTo>
                        <a:pt x="3019" y="1060"/>
                      </a:lnTo>
                      <a:lnTo>
                        <a:pt x="3315" y="1097"/>
                      </a:lnTo>
                      <a:lnTo>
                        <a:pt x="3620" y="1132"/>
                      </a:lnTo>
                      <a:lnTo>
                        <a:pt x="3936" y="1165"/>
                      </a:lnTo>
                      <a:lnTo>
                        <a:pt x="4261" y="1195"/>
                      </a:lnTo>
                      <a:lnTo>
                        <a:pt x="4596" y="1221"/>
                      </a:lnTo>
                      <a:lnTo>
                        <a:pt x="4938" y="1247"/>
                      </a:lnTo>
                      <a:lnTo>
                        <a:pt x="5291" y="1267"/>
                      </a:lnTo>
                      <a:lnTo>
                        <a:pt x="5650" y="1285"/>
                      </a:lnTo>
                      <a:lnTo>
                        <a:pt x="6016" y="1302"/>
                      </a:lnTo>
                      <a:lnTo>
                        <a:pt x="6389" y="1315"/>
                      </a:lnTo>
                      <a:lnTo>
                        <a:pt x="6768" y="1324"/>
                      </a:lnTo>
                      <a:lnTo>
                        <a:pt x="7153" y="1330"/>
                      </a:lnTo>
                      <a:lnTo>
                        <a:pt x="7543" y="1333"/>
                      </a:lnTo>
                      <a:lnTo>
                        <a:pt x="7543" y="1333"/>
                      </a:lnTo>
                      <a:lnTo>
                        <a:pt x="7939" y="1332"/>
                      </a:lnTo>
                      <a:lnTo>
                        <a:pt x="8329" y="1328"/>
                      </a:lnTo>
                      <a:lnTo>
                        <a:pt x="8715" y="1320"/>
                      </a:lnTo>
                      <a:lnTo>
                        <a:pt x="9094" y="1311"/>
                      </a:lnTo>
                      <a:lnTo>
                        <a:pt x="9466" y="1296"/>
                      </a:lnTo>
                      <a:lnTo>
                        <a:pt x="9832" y="1280"/>
                      </a:lnTo>
                      <a:lnTo>
                        <a:pt x="10190" y="1259"/>
                      </a:lnTo>
                      <a:lnTo>
                        <a:pt x="10542" y="1237"/>
                      </a:lnTo>
                      <a:lnTo>
                        <a:pt x="10886" y="1211"/>
                      </a:lnTo>
                      <a:lnTo>
                        <a:pt x="11218" y="1184"/>
                      </a:lnTo>
                      <a:lnTo>
                        <a:pt x="11544" y="1152"/>
                      </a:lnTo>
                      <a:lnTo>
                        <a:pt x="11858" y="1119"/>
                      </a:lnTo>
                      <a:lnTo>
                        <a:pt x="12163" y="1082"/>
                      </a:lnTo>
                      <a:lnTo>
                        <a:pt x="12457" y="1043"/>
                      </a:lnTo>
                      <a:lnTo>
                        <a:pt x="12740" y="1002"/>
                      </a:lnTo>
                      <a:lnTo>
                        <a:pt x="13012" y="958"/>
                      </a:lnTo>
                      <a:lnTo>
                        <a:pt x="13271" y="914"/>
                      </a:lnTo>
                      <a:lnTo>
                        <a:pt x="13394" y="890"/>
                      </a:lnTo>
                      <a:lnTo>
                        <a:pt x="13516" y="866"/>
                      </a:lnTo>
                      <a:lnTo>
                        <a:pt x="13635" y="842"/>
                      </a:lnTo>
                      <a:lnTo>
                        <a:pt x="13749" y="816"/>
                      </a:lnTo>
                      <a:lnTo>
                        <a:pt x="13860" y="790"/>
                      </a:lnTo>
                      <a:lnTo>
                        <a:pt x="13968" y="764"/>
                      </a:lnTo>
                      <a:lnTo>
                        <a:pt x="14073" y="738"/>
                      </a:lnTo>
                      <a:lnTo>
                        <a:pt x="14173" y="710"/>
                      </a:lnTo>
                      <a:lnTo>
                        <a:pt x="14271" y="684"/>
                      </a:lnTo>
                      <a:lnTo>
                        <a:pt x="14363" y="655"/>
                      </a:lnTo>
                      <a:lnTo>
                        <a:pt x="14454" y="627"/>
                      </a:lnTo>
                      <a:lnTo>
                        <a:pt x="14539" y="599"/>
                      </a:lnTo>
                      <a:lnTo>
                        <a:pt x="14620" y="570"/>
                      </a:lnTo>
                      <a:lnTo>
                        <a:pt x="14698" y="540"/>
                      </a:lnTo>
                      <a:lnTo>
                        <a:pt x="14772" y="511"/>
                      </a:lnTo>
                      <a:lnTo>
                        <a:pt x="14842" y="479"/>
                      </a:lnTo>
                      <a:lnTo>
                        <a:pt x="14907" y="450"/>
                      </a:lnTo>
                      <a:lnTo>
                        <a:pt x="14970" y="418"/>
                      </a:lnTo>
                      <a:lnTo>
                        <a:pt x="15027" y="387"/>
                      </a:lnTo>
                      <a:lnTo>
                        <a:pt x="15079" y="355"/>
                      </a:lnTo>
                      <a:lnTo>
                        <a:pt x="15127" y="324"/>
                      </a:lnTo>
                      <a:lnTo>
                        <a:pt x="15171" y="291"/>
                      </a:lnTo>
                      <a:lnTo>
                        <a:pt x="15210" y="259"/>
                      </a:lnTo>
                      <a:lnTo>
                        <a:pt x="15245" y="226"/>
                      </a:lnTo>
                      <a:lnTo>
                        <a:pt x="15275" y="193"/>
                      </a:lnTo>
                      <a:lnTo>
                        <a:pt x="15301" y="159"/>
                      </a:lnTo>
                      <a:lnTo>
                        <a:pt x="15321" y="126"/>
                      </a:lnTo>
                      <a:lnTo>
                        <a:pt x="15330" y="109"/>
                      </a:lnTo>
                      <a:lnTo>
                        <a:pt x="15338" y="91"/>
                      </a:lnTo>
                      <a:lnTo>
                        <a:pt x="15343" y="74"/>
                      </a:lnTo>
                      <a:lnTo>
                        <a:pt x="15349" y="58"/>
                      </a:lnTo>
                      <a:lnTo>
                        <a:pt x="15352" y="41"/>
                      </a:lnTo>
                      <a:lnTo>
                        <a:pt x="15354" y="22"/>
                      </a:lnTo>
                      <a:lnTo>
                        <a:pt x="15354" y="22"/>
                      </a:lnTo>
                      <a:lnTo>
                        <a:pt x="15356" y="0"/>
                      </a:lnTo>
                      <a:lnTo>
                        <a:pt x="15356" y="1039"/>
                      </a:lnTo>
                      <a:lnTo>
                        <a:pt x="15356" y="1039"/>
                      </a:lnTo>
                      <a:lnTo>
                        <a:pt x="15354" y="1063"/>
                      </a:lnTo>
                      <a:lnTo>
                        <a:pt x="15354" y="1063"/>
                      </a:lnTo>
                      <a:lnTo>
                        <a:pt x="15352" y="1080"/>
                      </a:lnTo>
                      <a:lnTo>
                        <a:pt x="15349" y="1097"/>
                      </a:lnTo>
                      <a:lnTo>
                        <a:pt x="15343" y="1115"/>
                      </a:lnTo>
                      <a:lnTo>
                        <a:pt x="15338" y="1132"/>
                      </a:lnTo>
                      <a:lnTo>
                        <a:pt x="15330" y="1149"/>
                      </a:lnTo>
                      <a:lnTo>
                        <a:pt x="15321" y="1165"/>
                      </a:lnTo>
                      <a:lnTo>
                        <a:pt x="15301" y="1200"/>
                      </a:lnTo>
                      <a:lnTo>
                        <a:pt x="15275" y="1234"/>
                      </a:lnTo>
                      <a:lnTo>
                        <a:pt x="15245" y="1267"/>
                      </a:lnTo>
                      <a:lnTo>
                        <a:pt x="15210" y="1298"/>
                      </a:lnTo>
                      <a:lnTo>
                        <a:pt x="15171" y="1332"/>
                      </a:lnTo>
                      <a:lnTo>
                        <a:pt x="15127" y="1363"/>
                      </a:lnTo>
                      <a:lnTo>
                        <a:pt x="15079" y="1396"/>
                      </a:lnTo>
                      <a:lnTo>
                        <a:pt x="15027" y="1428"/>
                      </a:lnTo>
                      <a:lnTo>
                        <a:pt x="14970" y="1459"/>
                      </a:lnTo>
                      <a:lnTo>
                        <a:pt x="14907" y="1489"/>
                      </a:lnTo>
                      <a:lnTo>
                        <a:pt x="14842" y="1520"/>
                      </a:lnTo>
                      <a:lnTo>
                        <a:pt x="14772" y="1550"/>
                      </a:lnTo>
                      <a:lnTo>
                        <a:pt x="14698" y="1581"/>
                      </a:lnTo>
                      <a:lnTo>
                        <a:pt x="14620" y="1609"/>
                      </a:lnTo>
                      <a:lnTo>
                        <a:pt x="14539" y="1639"/>
                      </a:lnTo>
                      <a:lnTo>
                        <a:pt x="14454" y="1668"/>
                      </a:lnTo>
                      <a:lnTo>
                        <a:pt x="14363" y="1696"/>
                      </a:lnTo>
                      <a:lnTo>
                        <a:pt x="14271" y="1724"/>
                      </a:lnTo>
                      <a:lnTo>
                        <a:pt x="14173" y="1751"/>
                      </a:lnTo>
                      <a:lnTo>
                        <a:pt x="14073" y="1777"/>
                      </a:lnTo>
                      <a:lnTo>
                        <a:pt x="13968" y="1805"/>
                      </a:lnTo>
                      <a:lnTo>
                        <a:pt x="13860" y="1831"/>
                      </a:lnTo>
                      <a:lnTo>
                        <a:pt x="13749" y="1857"/>
                      </a:lnTo>
                      <a:lnTo>
                        <a:pt x="13635" y="1881"/>
                      </a:lnTo>
                      <a:lnTo>
                        <a:pt x="13516" y="1907"/>
                      </a:lnTo>
                      <a:lnTo>
                        <a:pt x="13394" y="1931"/>
                      </a:lnTo>
                      <a:lnTo>
                        <a:pt x="13271" y="1953"/>
                      </a:lnTo>
                      <a:lnTo>
                        <a:pt x="13012" y="1999"/>
                      </a:lnTo>
                      <a:lnTo>
                        <a:pt x="12740" y="2042"/>
                      </a:lnTo>
                      <a:lnTo>
                        <a:pt x="12457" y="2084"/>
                      </a:lnTo>
                      <a:lnTo>
                        <a:pt x="12163" y="2123"/>
                      </a:lnTo>
                      <a:lnTo>
                        <a:pt x="11858" y="2158"/>
                      </a:lnTo>
                      <a:lnTo>
                        <a:pt x="11544" y="2191"/>
                      </a:lnTo>
                      <a:lnTo>
                        <a:pt x="11218" y="2223"/>
                      </a:lnTo>
                      <a:lnTo>
                        <a:pt x="10886" y="2252"/>
                      </a:lnTo>
                      <a:lnTo>
                        <a:pt x="10542" y="2278"/>
                      </a:lnTo>
                      <a:lnTo>
                        <a:pt x="10190" y="2301"/>
                      </a:lnTo>
                      <a:lnTo>
                        <a:pt x="9832" y="2321"/>
                      </a:lnTo>
                      <a:lnTo>
                        <a:pt x="9466" y="2337"/>
                      </a:lnTo>
                      <a:lnTo>
                        <a:pt x="9094" y="2350"/>
                      </a:lnTo>
                      <a:lnTo>
                        <a:pt x="8715" y="2362"/>
                      </a:lnTo>
                      <a:lnTo>
                        <a:pt x="8329" y="2369"/>
                      </a:lnTo>
                      <a:lnTo>
                        <a:pt x="7939" y="2373"/>
                      </a:lnTo>
                      <a:lnTo>
                        <a:pt x="7543" y="2373"/>
                      </a:lnTo>
                      <a:lnTo>
                        <a:pt x="7543" y="2373"/>
                      </a:lnTo>
                      <a:lnTo>
                        <a:pt x="7153" y="2371"/>
                      </a:lnTo>
                      <a:lnTo>
                        <a:pt x="6768" y="2363"/>
                      </a:lnTo>
                      <a:lnTo>
                        <a:pt x="6389" y="2354"/>
                      </a:lnTo>
                      <a:lnTo>
                        <a:pt x="6016" y="2341"/>
                      </a:lnTo>
                      <a:lnTo>
                        <a:pt x="5650" y="2326"/>
                      </a:lnTo>
                      <a:lnTo>
                        <a:pt x="5291" y="2308"/>
                      </a:lnTo>
                      <a:lnTo>
                        <a:pt x="4938" y="2286"/>
                      </a:lnTo>
                      <a:lnTo>
                        <a:pt x="4596" y="2262"/>
                      </a:lnTo>
                      <a:lnTo>
                        <a:pt x="4261" y="2234"/>
                      </a:lnTo>
                      <a:lnTo>
                        <a:pt x="3936" y="2204"/>
                      </a:lnTo>
                      <a:lnTo>
                        <a:pt x="3620" y="2173"/>
                      </a:lnTo>
                      <a:lnTo>
                        <a:pt x="3315" y="2138"/>
                      </a:lnTo>
                      <a:lnTo>
                        <a:pt x="3019" y="2099"/>
                      </a:lnTo>
                      <a:lnTo>
                        <a:pt x="2734" y="2060"/>
                      </a:lnTo>
                      <a:lnTo>
                        <a:pt x="2461" y="2018"/>
                      </a:lnTo>
                      <a:lnTo>
                        <a:pt x="2200" y="1973"/>
                      </a:lnTo>
                      <a:lnTo>
                        <a:pt x="1950" y="1929"/>
                      </a:lnTo>
                      <a:lnTo>
                        <a:pt x="1830" y="1905"/>
                      </a:lnTo>
                      <a:lnTo>
                        <a:pt x="1714" y="1879"/>
                      </a:lnTo>
                      <a:lnTo>
                        <a:pt x="1601" y="1855"/>
                      </a:lnTo>
                      <a:lnTo>
                        <a:pt x="1490" y="1829"/>
                      </a:lnTo>
                      <a:lnTo>
                        <a:pt x="1385" y="1803"/>
                      </a:lnTo>
                      <a:lnTo>
                        <a:pt x="1281" y="1777"/>
                      </a:lnTo>
                      <a:lnTo>
                        <a:pt x="1181" y="1751"/>
                      </a:lnTo>
                      <a:lnTo>
                        <a:pt x="1085" y="1724"/>
                      </a:lnTo>
                      <a:lnTo>
                        <a:pt x="995" y="1696"/>
                      </a:lnTo>
                      <a:lnTo>
                        <a:pt x="906" y="1668"/>
                      </a:lnTo>
                      <a:lnTo>
                        <a:pt x="821" y="1640"/>
                      </a:lnTo>
                      <a:lnTo>
                        <a:pt x="740" y="1611"/>
                      </a:lnTo>
                      <a:lnTo>
                        <a:pt x="662" y="1583"/>
                      </a:lnTo>
                      <a:lnTo>
                        <a:pt x="590" y="1553"/>
                      </a:lnTo>
                      <a:lnTo>
                        <a:pt x="520" y="1524"/>
                      </a:lnTo>
                      <a:lnTo>
                        <a:pt x="455" y="1492"/>
                      </a:lnTo>
                      <a:lnTo>
                        <a:pt x="394" y="1463"/>
                      </a:lnTo>
                      <a:lnTo>
                        <a:pt x="336" y="1431"/>
                      </a:lnTo>
                      <a:lnTo>
                        <a:pt x="285" y="1400"/>
                      </a:lnTo>
                      <a:lnTo>
                        <a:pt x="237" y="1369"/>
                      </a:lnTo>
                      <a:lnTo>
                        <a:pt x="192" y="1337"/>
                      </a:lnTo>
                      <a:lnTo>
                        <a:pt x="153" y="1306"/>
                      </a:lnTo>
                      <a:lnTo>
                        <a:pt x="118" y="1272"/>
                      </a:lnTo>
                      <a:lnTo>
                        <a:pt x="87" y="1241"/>
                      </a:lnTo>
                      <a:lnTo>
                        <a:pt x="61" y="1208"/>
                      </a:lnTo>
                      <a:lnTo>
                        <a:pt x="39" y="1174"/>
                      </a:lnTo>
                      <a:lnTo>
                        <a:pt x="22" y="1141"/>
                      </a:lnTo>
                      <a:lnTo>
                        <a:pt x="15" y="1124"/>
                      </a:lnTo>
                      <a:lnTo>
                        <a:pt x="11" y="1108"/>
                      </a:lnTo>
                      <a:lnTo>
                        <a:pt x="6" y="1091"/>
                      </a:lnTo>
                      <a:lnTo>
                        <a:pt x="4" y="1075"/>
                      </a:lnTo>
                      <a:lnTo>
                        <a:pt x="2" y="1058"/>
                      </a:lnTo>
                      <a:lnTo>
                        <a:pt x="0" y="1041"/>
                      </a:lnTo>
                      <a:lnTo>
                        <a:pt x="0" y="1041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CFCFCF"/>
                    </a:gs>
                    <a:gs pos="0">
                      <a:srgbClr val="646464"/>
                    </a:gs>
                    <a:gs pos="70000">
                      <a:srgbClr val="F2F2F2"/>
                    </a:gs>
                  </a:gsLst>
                  <a:lin ang="10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" name="Freeform 11">
                  <a:extLst>
                    <a:ext uri="{FF2B5EF4-FFF2-40B4-BE49-F238E27FC236}">
                      <a16:creationId xmlns:a16="http://schemas.microsoft.com/office/drawing/2014/main" xmlns="" id="{2CB629A9-1B0A-A34A-B9E6-949DEC2E36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200403" y="3124201"/>
                  <a:ext cx="5790444" cy="622329"/>
                </a:xfrm>
                <a:custGeom>
                  <a:avLst/>
                  <a:gdLst/>
                  <a:ahLst/>
                  <a:cxnLst>
                    <a:cxn ang="0">
                      <a:pos x="26" y="1224"/>
                    </a:cxn>
                    <a:cxn ang="0">
                      <a:pos x="229" y="1010"/>
                    </a:cxn>
                    <a:cxn ang="0">
                      <a:pos x="656" y="793"/>
                    </a:cxn>
                    <a:cxn ang="0">
                      <a:pos x="1283" y="595"/>
                    </a:cxn>
                    <a:cxn ang="0">
                      <a:pos x="2085" y="420"/>
                    </a:cxn>
                    <a:cxn ang="0">
                      <a:pos x="4138" y="150"/>
                    </a:cxn>
                    <a:cxn ang="0">
                      <a:pos x="6641" y="11"/>
                    </a:cxn>
                    <a:cxn ang="0">
                      <a:pos x="8980" y="18"/>
                    </a:cxn>
                    <a:cxn ang="0">
                      <a:pos x="11455" y="172"/>
                    </a:cxn>
                    <a:cxn ang="0">
                      <a:pos x="13450" y="453"/>
                    </a:cxn>
                    <a:cxn ang="0">
                      <a:pos x="14217" y="634"/>
                    </a:cxn>
                    <a:cxn ang="0">
                      <a:pos x="14803" y="836"/>
                    </a:cxn>
                    <a:cxn ang="0">
                      <a:pos x="15188" y="1054"/>
                    </a:cxn>
                    <a:cxn ang="0">
                      <a:pos x="15341" y="1254"/>
                    </a:cxn>
                    <a:cxn ang="0">
                      <a:pos x="15354" y="1355"/>
                    </a:cxn>
                    <a:cxn ang="0">
                      <a:pos x="15301" y="1492"/>
                    </a:cxn>
                    <a:cxn ang="0">
                      <a:pos x="15027" y="1720"/>
                    </a:cxn>
                    <a:cxn ang="0">
                      <a:pos x="14539" y="1932"/>
                    </a:cxn>
                    <a:cxn ang="0">
                      <a:pos x="13860" y="2123"/>
                    </a:cxn>
                    <a:cxn ang="0">
                      <a:pos x="12740" y="2335"/>
                    </a:cxn>
                    <a:cxn ang="0">
                      <a:pos x="10542" y="2570"/>
                    </a:cxn>
                    <a:cxn ang="0">
                      <a:pos x="7939" y="2665"/>
                    </a:cxn>
                    <a:cxn ang="0">
                      <a:pos x="5630" y="2618"/>
                    </a:cxn>
                    <a:cxn ang="0">
                      <a:pos x="3274" y="2426"/>
                    </a:cxn>
                    <a:cxn ang="0">
                      <a:pos x="1669" y="2163"/>
                    </a:cxn>
                    <a:cxn ang="0">
                      <a:pos x="952" y="1977"/>
                    </a:cxn>
                    <a:cxn ang="0">
                      <a:pos x="422" y="1770"/>
                    </a:cxn>
                    <a:cxn ang="0">
                      <a:pos x="98" y="1546"/>
                    </a:cxn>
                    <a:cxn ang="0">
                      <a:pos x="6" y="1378"/>
                    </a:cxn>
                    <a:cxn ang="0">
                      <a:pos x="192" y="1311"/>
                    </a:cxn>
                    <a:cxn ang="0">
                      <a:pos x="211" y="1428"/>
                    </a:cxn>
                    <a:cxn ang="0">
                      <a:pos x="396" y="1636"/>
                    </a:cxn>
                    <a:cxn ang="0">
                      <a:pos x="799" y="1847"/>
                    </a:cxn>
                    <a:cxn ang="0">
                      <a:pos x="1398" y="2041"/>
                    </a:cxn>
                    <a:cxn ang="0">
                      <a:pos x="2292" y="2236"/>
                    </a:cxn>
                    <a:cxn ang="0">
                      <a:pos x="4315" y="2494"/>
                    </a:cxn>
                    <a:cxn ang="0">
                      <a:pos x="6783" y="2624"/>
                    </a:cxn>
                    <a:cxn ang="0">
                      <a:pos x="9059" y="2611"/>
                    </a:cxn>
                    <a:cxn ang="0">
                      <a:pos x="11448" y="2456"/>
                    </a:cxn>
                    <a:cxn ang="0">
                      <a:pos x="13370" y="2176"/>
                    </a:cxn>
                    <a:cxn ang="0">
                      <a:pos x="14106" y="1999"/>
                    </a:cxn>
                    <a:cxn ang="0">
                      <a:pos x="14665" y="1801"/>
                    </a:cxn>
                    <a:cxn ang="0">
                      <a:pos x="15023" y="1585"/>
                    </a:cxn>
                    <a:cxn ang="0">
                      <a:pos x="15158" y="1389"/>
                    </a:cxn>
                    <a:cxn ang="0">
                      <a:pos x="15160" y="1289"/>
                    </a:cxn>
                    <a:cxn ang="0">
                      <a:pos x="15069" y="1124"/>
                    </a:cxn>
                    <a:cxn ang="0">
                      <a:pos x="14755" y="908"/>
                    </a:cxn>
                    <a:cxn ang="0">
                      <a:pos x="14237" y="705"/>
                    </a:cxn>
                    <a:cxn ang="0">
                      <a:pos x="13537" y="523"/>
                    </a:cxn>
                    <a:cxn ang="0">
                      <a:pos x="11971" y="268"/>
                    </a:cxn>
                    <a:cxn ang="0">
                      <a:pos x="9675" y="80"/>
                    </a:cxn>
                    <a:cxn ang="0">
                      <a:pos x="7423" y="33"/>
                    </a:cxn>
                    <a:cxn ang="0">
                      <a:pos x="4884" y="126"/>
                    </a:cxn>
                    <a:cxn ang="0">
                      <a:pos x="2742" y="355"/>
                    </a:cxn>
                    <a:cxn ang="0">
                      <a:pos x="1544" y="586"/>
                    </a:cxn>
                    <a:cxn ang="0">
                      <a:pos x="908" y="777"/>
                    </a:cxn>
                    <a:cxn ang="0">
                      <a:pos x="460" y="986"/>
                    </a:cxn>
                    <a:cxn ang="0">
                      <a:pos x="224" y="1209"/>
                    </a:cxn>
                  </a:cxnLst>
                  <a:rect l="0" t="0" r="r" b="b"/>
                  <a:pathLst>
                    <a:path w="15354" h="2666">
                      <a:moveTo>
                        <a:pt x="2" y="1309"/>
                      </a:moveTo>
                      <a:lnTo>
                        <a:pt x="2" y="1309"/>
                      </a:lnTo>
                      <a:lnTo>
                        <a:pt x="4" y="1293"/>
                      </a:lnTo>
                      <a:lnTo>
                        <a:pt x="7" y="1276"/>
                      </a:lnTo>
                      <a:lnTo>
                        <a:pt x="13" y="1257"/>
                      </a:lnTo>
                      <a:lnTo>
                        <a:pt x="18" y="1241"/>
                      </a:lnTo>
                      <a:lnTo>
                        <a:pt x="26" y="1224"/>
                      </a:lnTo>
                      <a:lnTo>
                        <a:pt x="35" y="1207"/>
                      </a:lnTo>
                      <a:lnTo>
                        <a:pt x="55" y="1174"/>
                      </a:lnTo>
                      <a:lnTo>
                        <a:pt x="81" y="1139"/>
                      </a:lnTo>
                      <a:lnTo>
                        <a:pt x="111" y="1108"/>
                      </a:lnTo>
                      <a:lnTo>
                        <a:pt x="146" y="1074"/>
                      </a:lnTo>
                      <a:lnTo>
                        <a:pt x="185" y="1041"/>
                      </a:lnTo>
                      <a:lnTo>
                        <a:pt x="229" y="1010"/>
                      </a:lnTo>
                      <a:lnTo>
                        <a:pt x="277" y="976"/>
                      </a:lnTo>
                      <a:lnTo>
                        <a:pt x="329" y="945"/>
                      </a:lnTo>
                      <a:lnTo>
                        <a:pt x="386" y="913"/>
                      </a:lnTo>
                      <a:lnTo>
                        <a:pt x="447" y="884"/>
                      </a:lnTo>
                      <a:lnTo>
                        <a:pt x="514" y="852"/>
                      </a:lnTo>
                      <a:lnTo>
                        <a:pt x="582" y="823"/>
                      </a:lnTo>
                      <a:lnTo>
                        <a:pt x="656" y="793"/>
                      </a:lnTo>
                      <a:lnTo>
                        <a:pt x="736" y="764"/>
                      </a:lnTo>
                      <a:lnTo>
                        <a:pt x="817" y="734"/>
                      </a:lnTo>
                      <a:lnTo>
                        <a:pt x="902" y="705"/>
                      </a:lnTo>
                      <a:lnTo>
                        <a:pt x="993" y="677"/>
                      </a:lnTo>
                      <a:lnTo>
                        <a:pt x="1085" y="649"/>
                      </a:lnTo>
                      <a:lnTo>
                        <a:pt x="1183" y="621"/>
                      </a:lnTo>
                      <a:lnTo>
                        <a:pt x="1283" y="595"/>
                      </a:lnTo>
                      <a:lnTo>
                        <a:pt x="1388" y="568"/>
                      </a:lnTo>
                      <a:lnTo>
                        <a:pt x="1496" y="542"/>
                      </a:lnTo>
                      <a:lnTo>
                        <a:pt x="1607" y="516"/>
                      </a:lnTo>
                      <a:lnTo>
                        <a:pt x="1721" y="492"/>
                      </a:lnTo>
                      <a:lnTo>
                        <a:pt x="1840" y="466"/>
                      </a:lnTo>
                      <a:lnTo>
                        <a:pt x="1962" y="442"/>
                      </a:lnTo>
                      <a:lnTo>
                        <a:pt x="2085" y="420"/>
                      </a:lnTo>
                      <a:lnTo>
                        <a:pt x="2344" y="374"/>
                      </a:lnTo>
                      <a:lnTo>
                        <a:pt x="2616" y="331"/>
                      </a:lnTo>
                      <a:lnTo>
                        <a:pt x="2899" y="288"/>
                      </a:lnTo>
                      <a:lnTo>
                        <a:pt x="3193" y="250"/>
                      </a:lnTo>
                      <a:lnTo>
                        <a:pt x="3498" y="214"/>
                      </a:lnTo>
                      <a:lnTo>
                        <a:pt x="3812" y="181"/>
                      </a:lnTo>
                      <a:lnTo>
                        <a:pt x="4138" y="150"/>
                      </a:lnTo>
                      <a:lnTo>
                        <a:pt x="4470" y="120"/>
                      </a:lnTo>
                      <a:lnTo>
                        <a:pt x="4814" y="96"/>
                      </a:lnTo>
                      <a:lnTo>
                        <a:pt x="5164" y="72"/>
                      </a:lnTo>
                      <a:lnTo>
                        <a:pt x="5522" y="52"/>
                      </a:lnTo>
                      <a:lnTo>
                        <a:pt x="5888" y="35"/>
                      </a:lnTo>
                      <a:lnTo>
                        <a:pt x="6262" y="22"/>
                      </a:lnTo>
                      <a:lnTo>
                        <a:pt x="6641" y="11"/>
                      </a:lnTo>
                      <a:lnTo>
                        <a:pt x="7025" y="4"/>
                      </a:lnTo>
                      <a:lnTo>
                        <a:pt x="7417" y="0"/>
                      </a:lnTo>
                      <a:lnTo>
                        <a:pt x="7811" y="0"/>
                      </a:lnTo>
                      <a:lnTo>
                        <a:pt x="7811" y="0"/>
                      </a:lnTo>
                      <a:lnTo>
                        <a:pt x="8207" y="2"/>
                      </a:lnTo>
                      <a:lnTo>
                        <a:pt x="8597" y="9"/>
                      </a:lnTo>
                      <a:lnTo>
                        <a:pt x="8980" y="18"/>
                      </a:lnTo>
                      <a:lnTo>
                        <a:pt x="9357" y="31"/>
                      </a:lnTo>
                      <a:lnTo>
                        <a:pt x="9726" y="48"/>
                      </a:lnTo>
                      <a:lnTo>
                        <a:pt x="10089" y="67"/>
                      </a:lnTo>
                      <a:lnTo>
                        <a:pt x="10444" y="89"/>
                      </a:lnTo>
                      <a:lnTo>
                        <a:pt x="10790" y="113"/>
                      </a:lnTo>
                      <a:lnTo>
                        <a:pt x="11126" y="141"/>
                      </a:lnTo>
                      <a:lnTo>
                        <a:pt x="11455" y="172"/>
                      </a:lnTo>
                      <a:lnTo>
                        <a:pt x="11773" y="205"/>
                      </a:lnTo>
                      <a:lnTo>
                        <a:pt x="12080" y="240"/>
                      </a:lnTo>
                      <a:lnTo>
                        <a:pt x="12378" y="279"/>
                      </a:lnTo>
                      <a:lnTo>
                        <a:pt x="12664" y="318"/>
                      </a:lnTo>
                      <a:lnTo>
                        <a:pt x="12938" y="362"/>
                      </a:lnTo>
                      <a:lnTo>
                        <a:pt x="13200" y="407"/>
                      </a:lnTo>
                      <a:lnTo>
                        <a:pt x="13450" y="453"/>
                      </a:lnTo>
                      <a:lnTo>
                        <a:pt x="13570" y="477"/>
                      </a:lnTo>
                      <a:lnTo>
                        <a:pt x="13687" y="503"/>
                      </a:lnTo>
                      <a:lnTo>
                        <a:pt x="13799" y="529"/>
                      </a:lnTo>
                      <a:lnTo>
                        <a:pt x="13908" y="553"/>
                      </a:lnTo>
                      <a:lnTo>
                        <a:pt x="14016" y="581"/>
                      </a:lnTo>
                      <a:lnTo>
                        <a:pt x="14117" y="607"/>
                      </a:lnTo>
                      <a:lnTo>
                        <a:pt x="14217" y="634"/>
                      </a:lnTo>
                      <a:lnTo>
                        <a:pt x="14311" y="662"/>
                      </a:lnTo>
                      <a:lnTo>
                        <a:pt x="14404" y="690"/>
                      </a:lnTo>
                      <a:lnTo>
                        <a:pt x="14491" y="717"/>
                      </a:lnTo>
                      <a:lnTo>
                        <a:pt x="14576" y="747"/>
                      </a:lnTo>
                      <a:lnTo>
                        <a:pt x="14655" y="777"/>
                      </a:lnTo>
                      <a:lnTo>
                        <a:pt x="14731" y="806"/>
                      </a:lnTo>
                      <a:lnTo>
                        <a:pt x="14803" y="836"/>
                      </a:lnTo>
                      <a:lnTo>
                        <a:pt x="14870" y="865"/>
                      </a:lnTo>
                      <a:lnTo>
                        <a:pt x="14934" y="897"/>
                      </a:lnTo>
                      <a:lnTo>
                        <a:pt x="14994" y="926"/>
                      </a:lnTo>
                      <a:lnTo>
                        <a:pt x="15049" y="958"/>
                      </a:lnTo>
                      <a:lnTo>
                        <a:pt x="15099" y="991"/>
                      </a:lnTo>
                      <a:lnTo>
                        <a:pt x="15145" y="1023"/>
                      </a:lnTo>
                      <a:lnTo>
                        <a:pt x="15188" y="1054"/>
                      </a:lnTo>
                      <a:lnTo>
                        <a:pt x="15225" y="1087"/>
                      </a:lnTo>
                      <a:lnTo>
                        <a:pt x="15258" y="1121"/>
                      </a:lnTo>
                      <a:lnTo>
                        <a:pt x="15286" y="1152"/>
                      </a:lnTo>
                      <a:lnTo>
                        <a:pt x="15310" y="1185"/>
                      </a:lnTo>
                      <a:lnTo>
                        <a:pt x="15328" y="1220"/>
                      </a:lnTo>
                      <a:lnTo>
                        <a:pt x="15336" y="1237"/>
                      </a:lnTo>
                      <a:lnTo>
                        <a:pt x="15341" y="1254"/>
                      </a:lnTo>
                      <a:lnTo>
                        <a:pt x="15347" y="1270"/>
                      </a:lnTo>
                      <a:lnTo>
                        <a:pt x="15350" y="1287"/>
                      </a:lnTo>
                      <a:lnTo>
                        <a:pt x="15354" y="1304"/>
                      </a:lnTo>
                      <a:lnTo>
                        <a:pt x="15354" y="1322"/>
                      </a:lnTo>
                      <a:lnTo>
                        <a:pt x="15354" y="1339"/>
                      </a:lnTo>
                      <a:lnTo>
                        <a:pt x="15354" y="1355"/>
                      </a:lnTo>
                      <a:lnTo>
                        <a:pt x="15354" y="1355"/>
                      </a:lnTo>
                      <a:lnTo>
                        <a:pt x="15352" y="1374"/>
                      </a:lnTo>
                      <a:lnTo>
                        <a:pt x="15349" y="1391"/>
                      </a:lnTo>
                      <a:lnTo>
                        <a:pt x="15343" y="1407"/>
                      </a:lnTo>
                      <a:lnTo>
                        <a:pt x="15338" y="1424"/>
                      </a:lnTo>
                      <a:lnTo>
                        <a:pt x="15330" y="1442"/>
                      </a:lnTo>
                      <a:lnTo>
                        <a:pt x="15321" y="1459"/>
                      </a:lnTo>
                      <a:lnTo>
                        <a:pt x="15301" y="1492"/>
                      </a:lnTo>
                      <a:lnTo>
                        <a:pt x="15275" y="1526"/>
                      </a:lnTo>
                      <a:lnTo>
                        <a:pt x="15245" y="1559"/>
                      </a:lnTo>
                      <a:lnTo>
                        <a:pt x="15210" y="1592"/>
                      </a:lnTo>
                      <a:lnTo>
                        <a:pt x="15171" y="1624"/>
                      </a:lnTo>
                      <a:lnTo>
                        <a:pt x="15127" y="1657"/>
                      </a:lnTo>
                      <a:lnTo>
                        <a:pt x="15079" y="1688"/>
                      </a:lnTo>
                      <a:lnTo>
                        <a:pt x="15027" y="1720"/>
                      </a:lnTo>
                      <a:lnTo>
                        <a:pt x="14970" y="1751"/>
                      </a:lnTo>
                      <a:lnTo>
                        <a:pt x="14907" y="1783"/>
                      </a:lnTo>
                      <a:lnTo>
                        <a:pt x="14842" y="1812"/>
                      </a:lnTo>
                      <a:lnTo>
                        <a:pt x="14772" y="1844"/>
                      </a:lnTo>
                      <a:lnTo>
                        <a:pt x="14698" y="1873"/>
                      </a:lnTo>
                      <a:lnTo>
                        <a:pt x="14620" y="1903"/>
                      </a:lnTo>
                      <a:lnTo>
                        <a:pt x="14539" y="1932"/>
                      </a:lnTo>
                      <a:lnTo>
                        <a:pt x="14454" y="1960"/>
                      </a:lnTo>
                      <a:lnTo>
                        <a:pt x="14363" y="1988"/>
                      </a:lnTo>
                      <a:lnTo>
                        <a:pt x="14271" y="2017"/>
                      </a:lnTo>
                      <a:lnTo>
                        <a:pt x="14173" y="2043"/>
                      </a:lnTo>
                      <a:lnTo>
                        <a:pt x="14073" y="2071"/>
                      </a:lnTo>
                      <a:lnTo>
                        <a:pt x="13968" y="2097"/>
                      </a:lnTo>
                      <a:lnTo>
                        <a:pt x="13860" y="2123"/>
                      </a:lnTo>
                      <a:lnTo>
                        <a:pt x="13749" y="2149"/>
                      </a:lnTo>
                      <a:lnTo>
                        <a:pt x="13635" y="2175"/>
                      </a:lnTo>
                      <a:lnTo>
                        <a:pt x="13516" y="2199"/>
                      </a:lnTo>
                      <a:lnTo>
                        <a:pt x="13394" y="2223"/>
                      </a:lnTo>
                      <a:lnTo>
                        <a:pt x="13271" y="2247"/>
                      </a:lnTo>
                      <a:lnTo>
                        <a:pt x="13012" y="2291"/>
                      </a:lnTo>
                      <a:lnTo>
                        <a:pt x="12740" y="2335"/>
                      </a:lnTo>
                      <a:lnTo>
                        <a:pt x="12457" y="2376"/>
                      </a:lnTo>
                      <a:lnTo>
                        <a:pt x="12163" y="2415"/>
                      </a:lnTo>
                      <a:lnTo>
                        <a:pt x="11858" y="2452"/>
                      </a:lnTo>
                      <a:lnTo>
                        <a:pt x="11544" y="2485"/>
                      </a:lnTo>
                      <a:lnTo>
                        <a:pt x="11218" y="2517"/>
                      </a:lnTo>
                      <a:lnTo>
                        <a:pt x="10886" y="2544"/>
                      </a:lnTo>
                      <a:lnTo>
                        <a:pt x="10542" y="2570"/>
                      </a:lnTo>
                      <a:lnTo>
                        <a:pt x="10190" y="2592"/>
                      </a:lnTo>
                      <a:lnTo>
                        <a:pt x="9832" y="2613"/>
                      </a:lnTo>
                      <a:lnTo>
                        <a:pt x="9466" y="2629"/>
                      </a:lnTo>
                      <a:lnTo>
                        <a:pt x="9094" y="2644"/>
                      </a:lnTo>
                      <a:lnTo>
                        <a:pt x="8715" y="2653"/>
                      </a:lnTo>
                      <a:lnTo>
                        <a:pt x="8329" y="2661"/>
                      </a:lnTo>
                      <a:lnTo>
                        <a:pt x="7939" y="2665"/>
                      </a:lnTo>
                      <a:lnTo>
                        <a:pt x="7543" y="2666"/>
                      </a:lnTo>
                      <a:lnTo>
                        <a:pt x="7543" y="2666"/>
                      </a:lnTo>
                      <a:lnTo>
                        <a:pt x="7149" y="2663"/>
                      </a:lnTo>
                      <a:lnTo>
                        <a:pt x="6759" y="2657"/>
                      </a:lnTo>
                      <a:lnTo>
                        <a:pt x="6376" y="2648"/>
                      </a:lnTo>
                      <a:lnTo>
                        <a:pt x="5999" y="2635"/>
                      </a:lnTo>
                      <a:lnTo>
                        <a:pt x="5630" y="2618"/>
                      </a:lnTo>
                      <a:lnTo>
                        <a:pt x="5267" y="2600"/>
                      </a:lnTo>
                      <a:lnTo>
                        <a:pt x="4912" y="2578"/>
                      </a:lnTo>
                      <a:lnTo>
                        <a:pt x="4566" y="2552"/>
                      </a:lnTo>
                      <a:lnTo>
                        <a:pt x="4228" y="2524"/>
                      </a:lnTo>
                      <a:lnTo>
                        <a:pt x="3901" y="2494"/>
                      </a:lnTo>
                      <a:lnTo>
                        <a:pt x="3583" y="2461"/>
                      </a:lnTo>
                      <a:lnTo>
                        <a:pt x="3274" y="2426"/>
                      </a:lnTo>
                      <a:lnTo>
                        <a:pt x="2978" y="2387"/>
                      </a:lnTo>
                      <a:lnTo>
                        <a:pt x="2692" y="2347"/>
                      </a:lnTo>
                      <a:lnTo>
                        <a:pt x="2418" y="2304"/>
                      </a:lnTo>
                      <a:lnTo>
                        <a:pt x="2156" y="2260"/>
                      </a:lnTo>
                      <a:lnTo>
                        <a:pt x="1906" y="2212"/>
                      </a:lnTo>
                      <a:lnTo>
                        <a:pt x="1786" y="2188"/>
                      </a:lnTo>
                      <a:lnTo>
                        <a:pt x="1669" y="2163"/>
                      </a:lnTo>
                      <a:lnTo>
                        <a:pt x="1557" y="2138"/>
                      </a:lnTo>
                      <a:lnTo>
                        <a:pt x="1446" y="2112"/>
                      </a:lnTo>
                      <a:lnTo>
                        <a:pt x="1340" y="2086"/>
                      </a:lnTo>
                      <a:lnTo>
                        <a:pt x="1237" y="2058"/>
                      </a:lnTo>
                      <a:lnTo>
                        <a:pt x="1139" y="2032"/>
                      </a:lnTo>
                      <a:lnTo>
                        <a:pt x="1043" y="2004"/>
                      </a:lnTo>
                      <a:lnTo>
                        <a:pt x="952" y="1977"/>
                      </a:lnTo>
                      <a:lnTo>
                        <a:pt x="863" y="1947"/>
                      </a:lnTo>
                      <a:lnTo>
                        <a:pt x="780" y="1919"/>
                      </a:lnTo>
                      <a:lnTo>
                        <a:pt x="701" y="1890"/>
                      </a:lnTo>
                      <a:lnTo>
                        <a:pt x="625" y="1860"/>
                      </a:lnTo>
                      <a:lnTo>
                        <a:pt x="553" y="1831"/>
                      </a:lnTo>
                      <a:lnTo>
                        <a:pt x="484" y="1799"/>
                      </a:lnTo>
                      <a:lnTo>
                        <a:pt x="422" y="1770"/>
                      </a:lnTo>
                      <a:lnTo>
                        <a:pt x="362" y="1738"/>
                      </a:lnTo>
                      <a:lnTo>
                        <a:pt x="307" y="1707"/>
                      </a:lnTo>
                      <a:lnTo>
                        <a:pt x="257" y="1675"/>
                      </a:lnTo>
                      <a:lnTo>
                        <a:pt x="211" y="1644"/>
                      </a:lnTo>
                      <a:lnTo>
                        <a:pt x="168" y="1611"/>
                      </a:lnTo>
                      <a:lnTo>
                        <a:pt x="131" y="1579"/>
                      </a:lnTo>
                      <a:lnTo>
                        <a:pt x="98" y="1546"/>
                      </a:lnTo>
                      <a:lnTo>
                        <a:pt x="70" y="1513"/>
                      </a:lnTo>
                      <a:lnTo>
                        <a:pt x="46" y="1479"/>
                      </a:lnTo>
                      <a:lnTo>
                        <a:pt x="28" y="1446"/>
                      </a:lnTo>
                      <a:lnTo>
                        <a:pt x="20" y="1429"/>
                      </a:lnTo>
                      <a:lnTo>
                        <a:pt x="13" y="1413"/>
                      </a:lnTo>
                      <a:lnTo>
                        <a:pt x="9" y="1396"/>
                      </a:lnTo>
                      <a:lnTo>
                        <a:pt x="6" y="1378"/>
                      </a:lnTo>
                      <a:lnTo>
                        <a:pt x="2" y="1361"/>
                      </a:lnTo>
                      <a:lnTo>
                        <a:pt x="0" y="1344"/>
                      </a:lnTo>
                      <a:lnTo>
                        <a:pt x="0" y="1328"/>
                      </a:lnTo>
                      <a:lnTo>
                        <a:pt x="2" y="1309"/>
                      </a:lnTo>
                      <a:lnTo>
                        <a:pt x="2" y="1309"/>
                      </a:lnTo>
                      <a:close/>
                      <a:moveTo>
                        <a:pt x="192" y="1311"/>
                      </a:moveTo>
                      <a:lnTo>
                        <a:pt x="192" y="1311"/>
                      </a:lnTo>
                      <a:lnTo>
                        <a:pt x="190" y="1328"/>
                      </a:lnTo>
                      <a:lnTo>
                        <a:pt x="190" y="1344"/>
                      </a:lnTo>
                      <a:lnTo>
                        <a:pt x="192" y="1361"/>
                      </a:lnTo>
                      <a:lnTo>
                        <a:pt x="194" y="1378"/>
                      </a:lnTo>
                      <a:lnTo>
                        <a:pt x="200" y="1394"/>
                      </a:lnTo>
                      <a:lnTo>
                        <a:pt x="203" y="1411"/>
                      </a:lnTo>
                      <a:lnTo>
                        <a:pt x="211" y="1428"/>
                      </a:lnTo>
                      <a:lnTo>
                        <a:pt x="218" y="1442"/>
                      </a:lnTo>
                      <a:lnTo>
                        <a:pt x="235" y="1476"/>
                      </a:lnTo>
                      <a:lnTo>
                        <a:pt x="259" y="1509"/>
                      </a:lnTo>
                      <a:lnTo>
                        <a:pt x="287" y="1540"/>
                      </a:lnTo>
                      <a:lnTo>
                        <a:pt x="318" y="1572"/>
                      </a:lnTo>
                      <a:lnTo>
                        <a:pt x="355" y="1605"/>
                      </a:lnTo>
                      <a:lnTo>
                        <a:pt x="396" y="1636"/>
                      </a:lnTo>
                      <a:lnTo>
                        <a:pt x="440" y="1666"/>
                      </a:lnTo>
                      <a:lnTo>
                        <a:pt x="490" y="1697"/>
                      </a:lnTo>
                      <a:lnTo>
                        <a:pt x="544" y="1729"/>
                      </a:lnTo>
                      <a:lnTo>
                        <a:pt x="601" y="1759"/>
                      </a:lnTo>
                      <a:lnTo>
                        <a:pt x="664" y="1788"/>
                      </a:lnTo>
                      <a:lnTo>
                        <a:pt x="730" y="1818"/>
                      </a:lnTo>
                      <a:lnTo>
                        <a:pt x="799" y="1847"/>
                      </a:lnTo>
                      <a:lnTo>
                        <a:pt x="873" y="1877"/>
                      </a:lnTo>
                      <a:lnTo>
                        <a:pt x="952" y="1905"/>
                      </a:lnTo>
                      <a:lnTo>
                        <a:pt x="1033" y="1932"/>
                      </a:lnTo>
                      <a:lnTo>
                        <a:pt x="1119" y="1960"/>
                      </a:lnTo>
                      <a:lnTo>
                        <a:pt x="1207" y="1988"/>
                      </a:lnTo>
                      <a:lnTo>
                        <a:pt x="1302" y="2014"/>
                      </a:lnTo>
                      <a:lnTo>
                        <a:pt x="1398" y="2041"/>
                      </a:lnTo>
                      <a:lnTo>
                        <a:pt x="1498" y="2067"/>
                      </a:lnTo>
                      <a:lnTo>
                        <a:pt x="1601" y="2093"/>
                      </a:lnTo>
                      <a:lnTo>
                        <a:pt x="1708" y="2117"/>
                      </a:lnTo>
                      <a:lnTo>
                        <a:pt x="1817" y="2143"/>
                      </a:lnTo>
                      <a:lnTo>
                        <a:pt x="1932" y="2167"/>
                      </a:lnTo>
                      <a:lnTo>
                        <a:pt x="2048" y="2189"/>
                      </a:lnTo>
                      <a:lnTo>
                        <a:pt x="2292" y="2236"/>
                      </a:lnTo>
                      <a:lnTo>
                        <a:pt x="2548" y="2280"/>
                      </a:lnTo>
                      <a:lnTo>
                        <a:pt x="2816" y="2322"/>
                      </a:lnTo>
                      <a:lnTo>
                        <a:pt x="3095" y="2361"/>
                      </a:lnTo>
                      <a:lnTo>
                        <a:pt x="3383" y="2398"/>
                      </a:lnTo>
                      <a:lnTo>
                        <a:pt x="3685" y="2433"/>
                      </a:lnTo>
                      <a:lnTo>
                        <a:pt x="3995" y="2465"/>
                      </a:lnTo>
                      <a:lnTo>
                        <a:pt x="4315" y="2494"/>
                      </a:lnTo>
                      <a:lnTo>
                        <a:pt x="4644" y="2522"/>
                      </a:lnTo>
                      <a:lnTo>
                        <a:pt x="4981" y="2546"/>
                      </a:lnTo>
                      <a:lnTo>
                        <a:pt x="5326" y="2568"/>
                      </a:lnTo>
                      <a:lnTo>
                        <a:pt x="5681" y="2587"/>
                      </a:lnTo>
                      <a:lnTo>
                        <a:pt x="6042" y="2602"/>
                      </a:lnTo>
                      <a:lnTo>
                        <a:pt x="6408" y="2615"/>
                      </a:lnTo>
                      <a:lnTo>
                        <a:pt x="6783" y="2624"/>
                      </a:lnTo>
                      <a:lnTo>
                        <a:pt x="7162" y="2629"/>
                      </a:lnTo>
                      <a:lnTo>
                        <a:pt x="7547" y="2633"/>
                      </a:lnTo>
                      <a:lnTo>
                        <a:pt x="7547" y="2633"/>
                      </a:lnTo>
                      <a:lnTo>
                        <a:pt x="7933" y="2633"/>
                      </a:lnTo>
                      <a:lnTo>
                        <a:pt x="8314" y="2629"/>
                      </a:lnTo>
                      <a:lnTo>
                        <a:pt x="8689" y="2622"/>
                      </a:lnTo>
                      <a:lnTo>
                        <a:pt x="9059" y="2611"/>
                      </a:lnTo>
                      <a:lnTo>
                        <a:pt x="9421" y="2598"/>
                      </a:lnTo>
                      <a:lnTo>
                        <a:pt x="9778" y="2581"/>
                      </a:lnTo>
                      <a:lnTo>
                        <a:pt x="10129" y="2561"/>
                      </a:lnTo>
                      <a:lnTo>
                        <a:pt x="10472" y="2539"/>
                      </a:lnTo>
                      <a:lnTo>
                        <a:pt x="10806" y="2515"/>
                      </a:lnTo>
                      <a:lnTo>
                        <a:pt x="11132" y="2487"/>
                      </a:lnTo>
                      <a:lnTo>
                        <a:pt x="11448" y="2456"/>
                      </a:lnTo>
                      <a:lnTo>
                        <a:pt x="11755" y="2424"/>
                      </a:lnTo>
                      <a:lnTo>
                        <a:pt x="12052" y="2389"/>
                      </a:lnTo>
                      <a:lnTo>
                        <a:pt x="12339" y="2350"/>
                      </a:lnTo>
                      <a:lnTo>
                        <a:pt x="12614" y="2310"/>
                      </a:lnTo>
                      <a:lnTo>
                        <a:pt x="12879" y="2269"/>
                      </a:lnTo>
                      <a:lnTo>
                        <a:pt x="13132" y="2224"/>
                      </a:lnTo>
                      <a:lnTo>
                        <a:pt x="13370" y="2176"/>
                      </a:lnTo>
                      <a:lnTo>
                        <a:pt x="13487" y="2152"/>
                      </a:lnTo>
                      <a:lnTo>
                        <a:pt x="13598" y="2128"/>
                      </a:lnTo>
                      <a:lnTo>
                        <a:pt x="13707" y="2104"/>
                      </a:lnTo>
                      <a:lnTo>
                        <a:pt x="13812" y="2078"/>
                      </a:lnTo>
                      <a:lnTo>
                        <a:pt x="13914" y="2053"/>
                      </a:lnTo>
                      <a:lnTo>
                        <a:pt x="14012" y="2027"/>
                      </a:lnTo>
                      <a:lnTo>
                        <a:pt x="14106" y="1999"/>
                      </a:lnTo>
                      <a:lnTo>
                        <a:pt x="14199" y="1973"/>
                      </a:lnTo>
                      <a:lnTo>
                        <a:pt x="14286" y="1945"/>
                      </a:lnTo>
                      <a:lnTo>
                        <a:pt x="14369" y="1918"/>
                      </a:lnTo>
                      <a:lnTo>
                        <a:pt x="14448" y="1888"/>
                      </a:lnTo>
                      <a:lnTo>
                        <a:pt x="14524" y="1860"/>
                      </a:lnTo>
                      <a:lnTo>
                        <a:pt x="14596" y="1831"/>
                      </a:lnTo>
                      <a:lnTo>
                        <a:pt x="14665" y="1801"/>
                      </a:lnTo>
                      <a:lnTo>
                        <a:pt x="14729" y="1771"/>
                      </a:lnTo>
                      <a:lnTo>
                        <a:pt x="14788" y="1742"/>
                      </a:lnTo>
                      <a:lnTo>
                        <a:pt x="14844" y="1710"/>
                      </a:lnTo>
                      <a:lnTo>
                        <a:pt x="14896" y="1679"/>
                      </a:lnTo>
                      <a:lnTo>
                        <a:pt x="14942" y="1649"/>
                      </a:lnTo>
                      <a:lnTo>
                        <a:pt x="14984" y="1616"/>
                      </a:lnTo>
                      <a:lnTo>
                        <a:pt x="15023" y="1585"/>
                      </a:lnTo>
                      <a:lnTo>
                        <a:pt x="15058" y="1553"/>
                      </a:lnTo>
                      <a:lnTo>
                        <a:pt x="15086" y="1520"/>
                      </a:lnTo>
                      <a:lnTo>
                        <a:pt x="15112" y="1489"/>
                      </a:lnTo>
                      <a:lnTo>
                        <a:pt x="15132" y="1455"/>
                      </a:lnTo>
                      <a:lnTo>
                        <a:pt x="15147" y="1422"/>
                      </a:lnTo>
                      <a:lnTo>
                        <a:pt x="15153" y="1405"/>
                      </a:lnTo>
                      <a:lnTo>
                        <a:pt x="15158" y="1389"/>
                      </a:lnTo>
                      <a:lnTo>
                        <a:pt x="15162" y="1372"/>
                      </a:lnTo>
                      <a:lnTo>
                        <a:pt x="15164" y="1355"/>
                      </a:lnTo>
                      <a:lnTo>
                        <a:pt x="15164" y="1355"/>
                      </a:lnTo>
                      <a:lnTo>
                        <a:pt x="15166" y="1339"/>
                      </a:lnTo>
                      <a:lnTo>
                        <a:pt x="15164" y="1322"/>
                      </a:lnTo>
                      <a:lnTo>
                        <a:pt x="15164" y="1305"/>
                      </a:lnTo>
                      <a:lnTo>
                        <a:pt x="15160" y="1289"/>
                      </a:lnTo>
                      <a:lnTo>
                        <a:pt x="15156" y="1272"/>
                      </a:lnTo>
                      <a:lnTo>
                        <a:pt x="15153" y="1256"/>
                      </a:lnTo>
                      <a:lnTo>
                        <a:pt x="15145" y="1239"/>
                      </a:lnTo>
                      <a:lnTo>
                        <a:pt x="15138" y="1222"/>
                      </a:lnTo>
                      <a:lnTo>
                        <a:pt x="15119" y="1189"/>
                      </a:lnTo>
                      <a:lnTo>
                        <a:pt x="15097" y="1158"/>
                      </a:lnTo>
                      <a:lnTo>
                        <a:pt x="15069" y="1124"/>
                      </a:lnTo>
                      <a:lnTo>
                        <a:pt x="15038" y="1093"/>
                      </a:lnTo>
                      <a:lnTo>
                        <a:pt x="15001" y="1061"/>
                      </a:lnTo>
                      <a:lnTo>
                        <a:pt x="14960" y="1030"/>
                      </a:lnTo>
                      <a:lnTo>
                        <a:pt x="14916" y="999"/>
                      </a:lnTo>
                      <a:lnTo>
                        <a:pt x="14866" y="967"/>
                      </a:lnTo>
                      <a:lnTo>
                        <a:pt x="14812" y="938"/>
                      </a:lnTo>
                      <a:lnTo>
                        <a:pt x="14755" y="908"/>
                      </a:lnTo>
                      <a:lnTo>
                        <a:pt x="14692" y="876"/>
                      </a:lnTo>
                      <a:lnTo>
                        <a:pt x="14626" y="847"/>
                      </a:lnTo>
                      <a:lnTo>
                        <a:pt x="14555" y="819"/>
                      </a:lnTo>
                      <a:lnTo>
                        <a:pt x="14482" y="790"/>
                      </a:lnTo>
                      <a:lnTo>
                        <a:pt x="14404" y="762"/>
                      </a:lnTo>
                      <a:lnTo>
                        <a:pt x="14323" y="732"/>
                      </a:lnTo>
                      <a:lnTo>
                        <a:pt x="14237" y="705"/>
                      </a:lnTo>
                      <a:lnTo>
                        <a:pt x="14147" y="679"/>
                      </a:lnTo>
                      <a:lnTo>
                        <a:pt x="14054" y="651"/>
                      </a:lnTo>
                      <a:lnTo>
                        <a:pt x="13958" y="625"/>
                      </a:lnTo>
                      <a:lnTo>
                        <a:pt x="13858" y="599"/>
                      </a:lnTo>
                      <a:lnTo>
                        <a:pt x="13755" y="573"/>
                      </a:lnTo>
                      <a:lnTo>
                        <a:pt x="13648" y="547"/>
                      </a:lnTo>
                      <a:lnTo>
                        <a:pt x="13537" y="523"/>
                      </a:lnTo>
                      <a:lnTo>
                        <a:pt x="13424" y="499"/>
                      </a:lnTo>
                      <a:lnTo>
                        <a:pt x="13308" y="475"/>
                      </a:lnTo>
                      <a:lnTo>
                        <a:pt x="13064" y="429"/>
                      </a:lnTo>
                      <a:lnTo>
                        <a:pt x="12808" y="386"/>
                      </a:lnTo>
                      <a:lnTo>
                        <a:pt x="12540" y="344"/>
                      </a:lnTo>
                      <a:lnTo>
                        <a:pt x="12261" y="305"/>
                      </a:lnTo>
                      <a:lnTo>
                        <a:pt x="11971" y="268"/>
                      </a:lnTo>
                      <a:lnTo>
                        <a:pt x="11671" y="233"/>
                      </a:lnTo>
                      <a:lnTo>
                        <a:pt x="11361" y="200"/>
                      </a:lnTo>
                      <a:lnTo>
                        <a:pt x="11041" y="170"/>
                      </a:lnTo>
                      <a:lnTo>
                        <a:pt x="10712" y="144"/>
                      </a:lnTo>
                      <a:lnTo>
                        <a:pt x="10374" y="120"/>
                      </a:lnTo>
                      <a:lnTo>
                        <a:pt x="10028" y="98"/>
                      </a:lnTo>
                      <a:lnTo>
                        <a:pt x="9675" y="80"/>
                      </a:lnTo>
                      <a:lnTo>
                        <a:pt x="9314" y="63"/>
                      </a:lnTo>
                      <a:lnTo>
                        <a:pt x="8946" y="52"/>
                      </a:lnTo>
                      <a:lnTo>
                        <a:pt x="8573" y="43"/>
                      </a:lnTo>
                      <a:lnTo>
                        <a:pt x="8194" y="35"/>
                      </a:lnTo>
                      <a:lnTo>
                        <a:pt x="7809" y="33"/>
                      </a:lnTo>
                      <a:lnTo>
                        <a:pt x="7809" y="33"/>
                      </a:lnTo>
                      <a:lnTo>
                        <a:pt x="7423" y="33"/>
                      </a:lnTo>
                      <a:lnTo>
                        <a:pt x="7042" y="37"/>
                      </a:lnTo>
                      <a:lnTo>
                        <a:pt x="6667" y="44"/>
                      </a:lnTo>
                      <a:lnTo>
                        <a:pt x="6297" y="54"/>
                      </a:lnTo>
                      <a:lnTo>
                        <a:pt x="5933" y="68"/>
                      </a:lnTo>
                      <a:lnTo>
                        <a:pt x="5576" y="85"/>
                      </a:lnTo>
                      <a:lnTo>
                        <a:pt x="5227" y="104"/>
                      </a:lnTo>
                      <a:lnTo>
                        <a:pt x="4884" y="126"/>
                      </a:lnTo>
                      <a:lnTo>
                        <a:pt x="4550" y="152"/>
                      </a:lnTo>
                      <a:lnTo>
                        <a:pt x="4224" y="179"/>
                      </a:lnTo>
                      <a:lnTo>
                        <a:pt x="3908" y="209"/>
                      </a:lnTo>
                      <a:lnTo>
                        <a:pt x="3601" y="242"/>
                      </a:lnTo>
                      <a:lnTo>
                        <a:pt x="3304" y="277"/>
                      </a:lnTo>
                      <a:lnTo>
                        <a:pt x="3017" y="314"/>
                      </a:lnTo>
                      <a:lnTo>
                        <a:pt x="2742" y="355"/>
                      </a:lnTo>
                      <a:lnTo>
                        <a:pt x="2477" y="398"/>
                      </a:lnTo>
                      <a:lnTo>
                        <a:pt x="2224" y="442"/>
                      </a:lnTo>
                      <a:lnTo>
                        <a:pt x="1984" y="488"/>
                      </a:lnTo>
                      <a:lnTo>
                        <a:pt x="1869" y="512"/>
                      </a:lnTo>
                      <a:lnTo>
                        <a:pt x="1758" y="536"/>
                      </a:lnTo>
                      <a:lnTo>
                        <a:pt x="1649" y="562"/>
                      </a:lnTo>
                      <a:lnTo>
                        <a:pt x="1544" y="586"/>
                      </a:lnTo>
                      <a:lnTo>
                        <a:pt x="1442" y="612"/>
                      </a:lnTo>
                      <a:lnTo>
                        <a:pt x="1344" y="640"/>
                      </a:lnTo>
                      <a:lnTo>
                        <a:pt x="1248" y="666"/>
                      </a:lnTo>
                      <a:lnTo>
                        <a:pt x="1157" y="693"/>
                      </a:lnTo>
                      <a:lnTo>
                        <a:pt x="1070" y="721"/>
                      </a:lnTo>
                      <a:lnTo>
                        <a:pt x="987" y="749"/>
                      </a:lnTo>
                      <a:lnTo>
                        <a:pt x="908" y="777"/>
                      </a:lnTo>
                      <a:lnTo>
                        <a:pt x="832" y="806"/>
                      </a:lnTo>
                      <a:lnTo>
                        <a:pt x="760" y="836"/>
                      </a:lnTo>
                      <a:lnTo>
                        <a:pt x="691" y="865"/>
                      </a:lnTo>
                      <a:lnTo>
                        <a:pt x="627" y="895"/>
                      </a:lnTo>
                      <a:lnTo>
                        <a:pt x="568" y="925"/>
                      </a:lnTo>
                      <a:lnTo>
                        <a:pt x="512" y="954"/>
                      </a:lnTo>
                      <a:lnTo>
                        <a:pt x="460" y="986"/>
                      </a:lnTo>
                      <a:lnTo>
                        <a:pt x="412" y="1017"/>
                      </a:lnTo>
                      <a:lnTo>
                        <a:pt x="370" y="1048"/>
                      </a:lnTo>
                      <a:lnTo>
                        <a:pt x="333" y="1080"/>
                      </a:lnTo>
                      <a:lnTo>
                        <a:pt x="298" y="1113"/>
                      </a:lnTo>
                      <a:lnTo>
                        <a:pt x="268" y="1145"/>
                      </a:lnTo>
                      <a:lnTo>
                        <a:pt x="244" y="1178"/>
                      </a:lnTo>
                      <a:lnTo>
                        <a:pt x="224" y="1209"/>
                      </a:lnTo>
                      <a:lnTo>
                        <a:pt x="209" y="1243"/>
                      </a:lnTo>
                      <a:lnTo>
                        <a:pt x="203" y="1259"/>
                      </a:lnTo>
                      <a:lnTo>
                        <a:pt x="198" y="1276"/>
                      </a:lnTo>
                      <a:lnTo>
                        <a:pt x="194" y="1293"/>
                      </a:lnTo>
                      <a:lnTo>
                        <a:pt x="192" y="1311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82" name="Group 180">
              <a:extLst>
                <a:ext uri="{FF2B5EF4-FFF2-40B4-BE49-F238E27FC236}">
                  <a16:creationId xmlns:a16="http://schemas.microsoft.com/office/drawing/2014/main" xmlns="" id="{75638FD2-CFC9-144B-89A8-C03A97341052}"/>
                </a:ext>
              </a:extLst>
            </p:cNvPr>
            <p:cNvGrpSpPr/>
            <p:nvPr/>
          </p:nvGrpSpPr>
          <p:grpSpPr>
            <a:xfrm>
              <a:off x="6375048" y="3022297"/>
              <a:ext cx="452019" cy="69575"/>
              <a:chOff x="5235041" y="3089576"/>
              <a:chExt cx="719670" cy="145396"/>
            </a:xfrm>
          </p:grpSpPr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xmlns="" id="{759FFA83-0371-B14A-BA0A-BEC4760B1AEC}"/>
                  </a:ext>
                </a:extLst>
              </p:cNvPr>
              <p:cNvSpPr/>
              <p:nvPr/>
            </p:nvSpPr>
            <p:spPr>
              <a:xfrm>
                <a:off x="5704946" y="3114322"/>
                <a:ext cx="143229" cy="96662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xmlns="" id="{D2D52D30-A24C-4349-9629-00341AA059D2}"/>
                  </a:ext>
                </a:extLst>
              </p:cNvPr>
              <p:cNvSpPr/>
              <p:nvPr/>
            </p:nvSpPr>
            <p:spPr>
              <a:xfrm flipH="1">
                <a:off x="5341583" y="3114322"/>
                <a:ext cx="143229" cy="96662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xmlns="" id="{38779162-EEAB-7E45-95DE-DFF92B8F4630}"/>
                  </a:ext>
                </a:extLst>
              </p:cNvPr>
              <p:cNvSpPr/>
              <p:nvPr/>
            </p:nvSpPr>
            <p:spPr>
              <a:xfrm>
                <a:off x="5739270" y="3089576"/>
                <a:ext cx="215441" cy="145396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xmlns="" id="{CD216DC0-3B11-3A4C-8C65-9EAB0760FAD2}"/>
                  </a:ext>
                </a:extLst>
              </p:cNvPr>
              <p:cNvSpPr/>
              <p:nvPr/>
            </p:nvSpPr>
            <p:spPr>
              <a:xfrm flipH="1">
                <a:off x="5235041" y="3089576"/>
                <a:ext cx="215441" cy="145396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7" name="Group 207">
              <a:extLst>
                <a:ext uri="{FF2B5EF4-FFF2-40B4-BE49-F238E27FC236}">
                  <a16:creationId xmlns:a16="http://schemas.microsoft.com/office/drawing/2014/main" xmlns="" id="{9D5C2C9F-08A8-4649-AA83-7632F464B18D}"/>
                </a:ext>
              </a:extLst>
            </p:cNvPr>
            <p:cNvGrpSpPr/>
            <p:nvPr/>
          </p:nvGrpSpPr>
          <p:grpSpPr>
            <a:xfrm flipH="1">
              <a:off x="6335695" y="1346259"/>
              <a:ext cx="1056726" cy="1731876"/>
              <a:chOff x="4341812" y="304800"/>
              <a:chExt cx="1682438" cy="2757360"/>
            </a:xfrm>
          </p:grpSpPr>
          <p:grpSp>
            <p:nvGrpSpPr>
              <p:cNvPr id="88" name="Group 79">
                <a:extLst>
                  <a:ext uri="{FF2B5EF4-FFF2-40B4-BE49-F238E27FC236}">
                    <a16:creationId xmlns:a16="http://schemas.microsoft.com/office/drawing/2014/main" xmlns="" id="{05669913-1C7C-1F4B-A3DA-E52CA6F57E0E}"/>
                  </a:ext>
                </a:extLst>
              </p:cNvPr>
              <p:cNvGrpSpPr/>
              <p:nvPr/>
            </p:nvGrpSpPr>
            <p:grpSpPr>
              <a:xfrm>
                <a:off x="4341812" y="304800"/>
                <a:ext cx="1682438" cy="1989067"/>
                <a:chOff x="7723187" y="0"/>
                <a:chExt cx="3649663" cy="4314826"/>
              </a:xfrm>
            </p:grpSpPr>
            <p:sp>
              <p:nvSpPr>
                <p:cNvPr id="98" name="Freeform 5">
                  <a:extLst>
                    <a:ext uri="{FF2B5EF4-FFF2-40B4-BE49-F238E27FC236}">
                      <a16:creationId xmlns:a16="http://schemas.microsoft.com/office/drawing/2014/main" xmlns="" id="{EADE209F-83C3-B247-8EF9-FB1CDEE833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3187" y="1579563"/>
                  <a:ext cx="2713038" cy="2735263"/>
                </a:xfrm>
                <a:custGeom>
                  <a:avLst/>
                  <a:gdLst/>
                  <a:ahLst/>
                  <a:cxnLst>
                    <a:cxn ang="0">
                      <a:pos x="5124" y="2784"/>
                    </a:cxn>
                    <a:cxn ang="0">
                      <a:pos x="5093" y="3105"/>
                    </a:cxn>
                    <a:cxn ang="0">
                      <a:pos x="5024" y="3413"/>
                    </a:cxn>
                    <a:cxn ang="0">
                      <a:pos x="4918" y="3705"/>
                    </a:cxn>
                    <a:cxn ang="0">
                      <a:pos x="4779" y="3978"/>
                    </a:cxn>
                    <a:cxn ang="0">
                      <a:pos x="4608" y="4229"/>
                    </a:cxn>
                    <a:cxn ang="0">
                      <a:pos x="4408" y="4456"/>
                    </a:cxn>
                    <a:cxn ang="0">
                      <a:pos x="4182" y="4656"/>
                    </a:cxn>
                    <a:cxn ang="0">
                      <a:pos x="3932" y="4827"/>
                    </a:cxn>
                    <a:cxn ang="0">
                      <a:pos x="3660" y="4966"/>
                    </a:cxn>
                    <a:cxn ang="0">
                      <a:pos x="3369" y="5071"/>
                    </a:cxn>
                    <a:cxn ang="0">
                      <a:pos x="3060" y="5140"/>
                    </a:cxn>
                    <a:cxn ang="0">
                      <a:pos x="2738" y="5168"/>
                    </a:cxn>
                    <a:cxn ang="0">
                      <a:pos x="2475" y="5162"/>
                    </a:cxn>
                    <a:cxn ang="0">
                      <a:pos x="2154" y="5116"/>
                    </a:cxn>
                    <a:cxn ang="0">
                      <a:pos x="1846" y="5034"/>
                    </a:cxn>
                    <a:cxn ang="0">
                      <a:pos x="1551" y="4914"/>
                    </a:cxn>
                    <a:cxn ang="0">
                      <a:pos x="1275" y="4762"/>
                    </a:cxn>
                    <a:cxn ang="0">
                      <a:pos x="1019" y="4578"/>
                    </a:cxn>
                    <a:cxn ang="0">
                      <a:pos x="784" y="4367"/>
                    </a:cxn>
                    <a:cxn ang="0">
                      <a:pos x="576" y="4131"/>
                    </a:cxn>
                    <a:cxn ang="0">
                      <a:pos x="397" y="3870"/>
                    </a:cxn>
                    <a:cxn ang="0">
                      <a:pos x="246" y="3590"/>
                    </a:cxn>
                    <a:cxn ang="0">
                      <a:pos x="130" y="3292"/>
                    </a:cxn>
                    <a:cxn ang="0">
                      <a:pos x="49" y="2978"/>
                    </a:cxn>
                    <a:cxn ang="0">
                      <a:pos x="6" y="2651"/>
                    </a:cxn>
                    <a:cxn ang="0">
                      <a:pos x="1" y="2386"/>
                    </a:cxn>
                    <a:cxn ang="0">
                      <a:pos x="32" y="2064"/>
                    </a:cxn>
                    <a:cxn ang="0">
                      <a:pos x="102" y="1756"/>
                    </a:cxn>
                    <a:cxn ang="0">
                      <a:pos x="208" y="1464"/>
                    </a:cxn>
                    <a:cxn ang="0">
                      <a:pos x="348" y="1191"/>
                    </a:cxn>
                    <a:cxn ang="0">
                      <a:pos x="519" y="941"/>
                    </a:cxn>
                    <a:cxn ang="0">
                      <a:pos x="718" y="714"/>
                    </a:cxn>
                    <a:cxn ang="0">
                      <a:pos x="943" y="515"/>
                    </a:cxn>
                    <a:cxn ang="0">
                      <a:pos x="1194" y="344"/>
                    </a:cxn>
                    <a:cxn ang="0">
                      <a:pos x="1467" y="204"/>
                    </a:cxn>
                    <a:cxn ang="0">
                      <a:pos x="1757" y="99"/>
                    </a:cxn>
                    <a:cxn ang="0">
                      <a:pos x="2065" y="31"/>
                    </a:cxn>
                    <a:cxn ang="0">
                      <a:pos x="2388" y="2"/>
                    </a:cxn>
                    <a:cxn ang="0">
                      <a:pos x="2652" y="9"/>
                    </a:cxn>
                    <a:cxn ang="0">
                      <a:pos x="2972" y="53"/>
                    </a:cxn>
                    <a:cxn ang="0">
                      <a:pos x="3282" y="137"/>
                    </a:cxn>
                    <a:cxn ang="0">
                      <a:pos x="3575" y="255"/>
                    </a:cxn>
                    <a:cxn ang="0">
                      <a:pos x="3851" y="408"/>
                    </a:cxn>
                    <a:cxn ang="0">
                      <a:pos x="4107" y="591"/>
                    </a:cxn>
                    <a:cxn ang="0">
                      <a:pos x="4342" y="802"/>
                    </a:cxn>
                    <a:cxn ang="0">
                      <a:pos x="4549" y="1038"/>
                    </a:cxn>
                    <a:cxn ang="0">
                      <a:pos x="4729" y="1299"/>
                    </a:cxn>
                    <a:cxn ang="0">
                      <a:pos x="4880" y="1579"/>
                    </a:cxn>
                    <a:cxn ang="0">
                      <a:pos x="4996" y="1877"/>
                    </a:cxn>
                    <a:cxn ang="0">
                      <a:pos x="5077" y="2191"/>
                    </a:cxn>
                    <a:cxn ang="0">
                      <a:pos x="5120" y="2518"/>
                    </a:cxn>
                  </a:cxnLst>
                  <a:rect l="0" t="0" r="r" b="b"/>
                  <a:pathLst>
                    <a:path w="5126" h="5169">
                      <a:moveTo>
                        <a:pt x="5123" y="2585"/>
                      </a:moveTo>
                      <a:lnTo>
                        <a:pt x="5123" y="2585"/>
                      </a:lnTo>
                      <a:lnTo>
                        <a:pt x="5126" y="2651"/>
                      </a:lnTo>
                      <a:lnTo>
                        <a:pt x="5126" y="2717"/>
                      </a:lnTo>
                      <a:lnTo>
                        <a:pt x="5124" y="2784"/>
                      </a:lnTo>
                      <a:lnTo>
                        <a:pt x="5121" y="2849"/>
                      </a:lnTo>
                      <a:lnTo>
                        <a:pt x="5117" y="2914"/>
                      </a:lnTo>
                      <a:lnTo>
                        <a:pt x="5111" y="2978"/>
                      </a:lnTo>
                      <a:lnTo>
                        <a:pt x="5102" y="3042"/>
                      </a:lnTo>
                      <a:lnTo>
                        <a:pt x="5093" y="3105"/>
                      </a:lnTo>
                      <a:lnTo>
                        <a:pt x="5083" y="3169"/>
                      </a:lnTo>
                      <a:lnTo>
                        <a:pt x="5070" y="3231"/>
                      </a:lnTo>
                      <a:lnTo>
                        <a:pt x="5057" y="3292"/>
                      </a:lnTo>
                      <a:lnTo>
                        <a:pt x="5040" y="3353"/>
                      </a:lnTo>
                      <a:lnTo>
                        <a:pt x="5024" y="3413"/>
                      </a:lnTo>
                      <a:lnTo>
                        <a:pt x="5005" y="3474"/>
                      </a:lnTo>
                      <a:lnTo>
                        <a:pt x="4986" y="3533"/>
                      </a:lnTo>
                      <a:lnTo>
                        <a:pt x="4965" y="3590"/>
                      </a:lnTo>
                      <a:lnTo>
                        <a:pt x="4942" y="3648"/>
                      </a:lnTo>
                      <a:lnTo>
                        <a:pt x="4918" y="3705"/>
                      </a:lnTo>
                      <a:lnTo>
                        <a:pt x="4893" y="3761"/>
                      </a:lnTo>
                      <a:lnTo>
                        <a:pt x="4866" y="3816"/>
                      </a:lnTo>
                      <a:lnTo>
                        <a:pt x="4838" y="3870"/>
                      </a:lnTo>
                      <a:lnTo>
                        <a:pt x="4809" y="3925"/>
                      </a:lnTo>
                      <a:lnTo>
                        <a:pt x="4779" y="3978"/>
                      </a:lnTo>
                      <a:lnTo>
                        <a:pt x="4747" y="4030"/>
                      </a:lnTo>
                      <a:lnTo>
                        <a:pt x="4715" y="4081"/>
                      </a:lnTo>
                      <a:lnTo>
                        <a:pt x="4681" y="4131"/>
                      </a:lnTo>
                      <a:lnTo>
                        <a:pt x="4645" y="4180"/>
                      </a:lnTo>
                      <a:lnTo>
                        <a:pt x="4608" y="4229"/>
                      </a:lnTo>
                      <a:lnTo>
                        <a:pt x="4570" y="4276"/>
                      </a:lnTo>
                      <a:lnTo>
                        <a:pt x="4532" y="4323"/>
                      </a:lnTo>
                      <a:lnTo>
                        <a:pt x="4492" y="4367"/>
                      </a:lnTo>
                      <a:lnTo>
                        <a:pt x="4451" y="4412"/>
                      </a:lnTo>
                      <a:lnTo>
                        <a:pt x="4408" y="4456"/>
                      </a:lnTo>
                      <a:lnTo>
                        <a:pt x="4365" y="4497"/>
                      </a:lnTo>
                      <a:lnTo>
                        <a:pt x="4321" y="4538"/>
                      </a:lnTo>
                      <a:lnTo>
                        <a:pt x="4275" y="4578"/>
                      </a:lnTo>
                      <a:lnTo>
                        <a:pt x="4230" y="4618"/>
                      </a:lnTo>
                      <a:lnTo>
                        <a:pt x="4182" y="4656"/>
                      </a:lnTo>
                      <a:lnTo>
                        <a:pt x="4134" y="4692"/>
                      </a:lnTo>
                      <a:lnTo>
                        <a:pt x="4085" y="4727"/>
                      </a:lnTo>
                      <a:lnTo>
                        <a:pt x="4035" y="4762"/>
                      </a:lnTo>
                      <a:lnTo>
                        <a:pt x="3983" y="4795"/>
                      </a:lnTo>
                      <a:lnTo>
                        <a:pt x="3932" y="4827"/>
                      </a:lnTo>
                      <a:lnTo>
                        <a:pt x="3879" y="4857"/>
                      </a:lnTo>
                      <a:lnTo>
                        <a:pt x="3826" y="4886"/>
                      </a:lnTo>
                      <a:lnTo>
                        <a:pt x="3771" y="4914"/>
                      </a:lnTo>
                      <a:lnTo>
                        <a:pt x="3716" y="4941"/>
                      </a:lnTo>
                      <a:lnTo>
                        <a:pt x="3660" y="4966"/>
                      </a:lnTo>
                      <a:lnTo>
                        <a:pt x="3603" y="4989"/>
                      </a:lnTo>
                      <a:lnTo>
                        <a:pt x="3545" y="5012"/>
                      </a:lnTo>
                      <a:lnTo>
                        <a:pt x="3488" y="5034"/>
                      </a:lnTo>
                      <a:lnTo>
                        <a:pt x="3429" y="5053"/>
                      </a:lnTo>
                      <a:lnTo>
                        <a:pt x="3369" y="5071"/>
                      </a:lnTo>
                      <a:lnTo>
                        <a:pt x="3308" y="5088"/>
                      </a:lnTo>
                      <a:lnTo>
                        <a:pt x="3248" y="5103"/>
                      </a:lnTo>
                      <a:lnTo>
                        <a:pt x="3186" y="5116"/>
                      </a:lnTo>
                      <a:lnTo>
                        <a:pt x="3124" y="5128"/>
                      </a:lnTo>
                      <a:lnTo>
                        <a:pt x="3060" y="5140"/>
                      </a:lnTo>
                      <a:lnTo>
                        <a:pt x="2997" y="5149"/>
                      </a:lnTo>
                      <a:lnTo>
                        <a:pt x="2934" y="5156"/>
                      </a:lnTo>
                      <a:lnTo>
                        <a:pt x="2869" y="5162"/>
                      </a:lnTo>
                      <a:lnTo>
                        <a:pt x="2804" y="5165"/>
                      </a:lnTo>
                      <a:lnTo>
                        <a:pt x="2738" y="5168"/>
                      </a:lnTo>
                      <a:lnTo>
                        <a:pt x="2673" y="5169"/>
                      </a:lnTo>
                      <a:lnTo>
                        <a:pt x="2673" y="5169"/>
                      </a:lnTo>
                      <a:lnTo>
                        <a:pt x="2606" y="5168"/>
                      </a:lnTo>
                      <a:lnTo>
                        <a:pt x="2540" y="5165"/>
                      </a:lnTo>
                      <a:lnTo>
                        <a:pt x="2475" y="5162"/>
                      </a:lnTo>
                      <a:lnTo>
                        <a:pt x="2410" y="5156"/>
                      </a:lnTo>
                      <a:lnTo>
                        <a:pt x="2345" y="5149"/>
                      </a:lnTo>
                      <a:lnTo>
                        <a:pt x="2281" y="5140"/>
                      </a:lnTo>
                      <a:lnTo>
                        <a:pt x="2217" y="5128"/>
                      </a:lnTo>
                      <a:lnTo>
                        <a:pt x="2154" y="5116"/>
                      </a:lnTo>
                      <a:lnTo>
                        <a:pt x="2090" y="5103"/>
                      </a:lnTo>
                      <a:lnTo>
                        <a:pt x="2029" y="5088"/>
                      </a:lnTo>
                      <a:lnTo>
                        <a:pt x="1967" y="5071"/>
                      </a:lnTo>
                      <a:lnTo>
                        <a:pt x="1906" y="5053"/>
                      </a:lnTo>
                      <a:lnTo>
                        <a:pt x="1846" y="5034"/>
                      </a:lnTo>
                      <a:lnTo>
                        <a:pt x="1785" y="5012"/>
                      </a:lnTo>
                      <a:lnTo>
                        <a:pt x="1726" y="4989"/>
                      </a:lnTo>
                      <a:lnTo>
                        <a:pt x="1667" y="4966"/>
                      </a:lnTo>
                      <a:lnTo>
                        <a:pt x="1608" y="4941"/>
                      </a:lnTo>
                      <a:lnTo>
                        <a:pt x="1551" y="4914"/>
                      </a:lnTo>
                      <a:lnTo>
                        <a:pt x="1495" y="4886"/>
                      </a:lnTo>
                      <a:lnTo>
                        <a:pt x="1439" y="4857"/>
                      </a:lnTo>
                      <a:lnTo>
                        <a:pt x="1383" y="4827"/>
                      </a:lnTo>
                      <a:lnTo>
                        <a:pt x="1328" y="4795"/>
                      </a:lnTo>
                      <a:lnTo>
                        <a:pt x="1275" y="4762"/>
                      </a:lnTo>
                      <a:lnTo>
                        <a:pt x="1222" y="4727"/>
                      </a:lnTo>
                      <a:lnTo>
                        <a:pt x="1171" y="4692"/>
                      </a:lnTo>
                      <a:lnTo>
                        <a:pt x="1119" y="4656"/>
                      </a:lnTo>
                      <a:lnTo>
                        <a:pt x="1069" y="4618"/>
                      </a:lnTo>
                      <a:lnTo>
                        <a:pt x="1019" y="4578"/>
                      </a:lnTo>
                      <a:lnTo>
                        <a:pt x="970" y="4538"/>
                      </a:lnTo>
                      <a:lnTo>
                        <a:pt x="923" y="4497"/>
                      </a:lnTo>
                      <a:lnTo>
                        <a:pt x="876" y="4456"/>
                      </a:lnTo>
                      <a:lnTo>
                        <a:pt x="830" y="4412"/>
                      </a:lnTo>
                      <a:lnTo>
                        <a:pt x="784" y="4367"/>
                      </a:lnTo>
                      <a:lnTo>
                        <a:pt x="742" y="4323"/>
                      </a:lnTo>
                      <a:lnTo>
                        <a:pt x="699" y="4276"/>
                      </a:lnTo>
                      <a:lnTo>
                        <a:pt x="657" y="4229"/>
                      </a:lnTo>
                      <a:lnTo>
                        <a:pt x="616" y="4180"/>
                      </a:lnTo>
                      <a:lnTo>
                        <a:pt x="576" y="4131"/>
                      </a:lnTo>
                      <a:lnTo>
                        <a:pt x="538" y="4081"/>
                      </a:lnTo>
                      <a:lnTo>
                        <a:pt x="501" y="4030"/>
                      </a:lnTo>
                      <a:lnTo>
                        <a:pt x="464" y="3978"/>
                      </a:lnTo>
                      <a:lnTo>
                        <a:pt x="430" y="3925"/>
                      </a:lnTo>
                      <a:lnTo>
                        <a:pt x="397" y="3870"/>
                      </a:lnTo>
                      <a:lnTo>
                        <a:pt x="364" y="3816"/>
                      </a:lnTo>
                      <a:lnTo>
                        <a:pt x="333" y="3761"/>
                      </a:lnTo>
                      <a:lnTo>
                        <a:pt x="302" y="3705"/>
                      </a:lnTo>
                      <a:lnTo>
                        <a:pt x="274" y="3648"/>
                      </a:lnTo>
                      <a:lnTo>
                        <a:pt x="246" y="3590"/>
                      </a:lnTo>
                      <a:lnTo>
                        <a:pt x="221" y="3533"/>
                      </a:lnTo>
                      <a:lnTo>
                        <a:pt x="196" y="3474"/>
                      </a:lnTo>
                      <a:lnTo>
                        <a:pt x="172" y="3413"/>
                      </a:lnTo>
                      <a:lnTo>
                        <a:pt x="150" y="3353"/>
                      </a:lnTo>
                      <a:lnTo>
                        <a:pt x="130" y="3292"/>
                      </a:lnTo>
                      <a:lnTo>
                        <a:pt x="111" y="3231"/>
                      </a:lnTo>
                      <a:lnTo>
                        <a:pt x="93" y="3169"/>
                      </a:lnTo>
                      <a:lnTo>
                        <a:pt x="77" y="3105"/>
                      </a:lnTo>
                      <a:lnTo>
                        <a:pt x="62" y="3042"/>
                      </a:lnTo>
                      <a:lnTo>
                        <a:pt x="49" y="2978"/>
                      </a:lnTo>
                      <a:lnTo>
                        <a:pt x="37" y="2914"/>
                      </a:lnTo>
                      <a:lnTo>
                        <a:pt x="27" y="2849"/>
                      </a:lnTo>
                      <a:lnTo>
                        <a:pt x="19" y="2784"/>
                      </a:lnTo>
                      <a:lnTo>
                        <a:pt x="12" y="2717"/>
                      </a:lnTo>
                      <a:lnTo>
                        <a:pt x="6" y="2651"/>
                      </a:lnTo>
                      <a:lnTo>
                        <a:pt x="3" y="2585"/>
                      </a:lnTo>
                      <a:lnTo>
                        <a:pt x="3" y="2585"/>
                      </a:lnTo>
                      <a:lnTo>
                        <a:pt x="1" y="2518"/>
                      </a:lnTo>
                      <a:lnTo>
                        <a:pt x="0" y="2452"/>
                      </a:lnTo>
                      <a:lnTo>
                        <a:pt x="1" y="2386"/>
                      </a:lnTo>
                      <a:lnTo>
                        <a:pt x="4" y="2321"/>
                      </a:lnTo>
                      <a:lnTo>
                        <a:pt x="9" y="2256"/>
                      </a:lnTo>
                      <a:lnTo>
                        <a:pt x="16" y="2191"/>
                      </a:lnTo>
                      <a:lnTo>
                        <a:pt x="24" y="2128"/>
                      </a:lnTo>
                      <a:lnTo>
                        <a:pt x="32" y="2064"/>
                      </a:lnTo>
                      <a:lnTo>
                        <a:pt x="44" y="2001"/>
                      </a:lnTo>
                      <a:lnTo>
                        <a:pt x="56" y="1939"/>
                      </a:lnTo>
                      <a:lnTo>
                        <a:pt x="71" y="1877"/>
                      </a:lnTo>
                      <a:lnTo>
                        <a:pt x="86" y="1817"/>
                      </a:lnTo>
                      <a:lnTo>
                        <a:pt x="102" y="1756"/>
                      </a:lnTo>
                      <a:lnTo>
                        <a:pt x="121" y="1696"/>
                      </a:lnTo>
                      <a:lnTo>
                        <a:pt x="140" y="1637"/>
                      </a:lnTo>
                      <a:lnTo>
                        <a:pt x="162" y="1579"/>
                      </a:lnTo>
                      <a:lnTo>
                        <a:pt x="184" y="1522"/>
                      </a:lnTo>
                      <a:lnTo>
                        <a:pt x="208" y="1464"/>
                      </a:lnTo>
                      <a:lnTo>
                        <a:pt x="233" y="1408"/>
                      </a:lnTo>
                      <a:lnTo>
                        <a:pt x="259" y="1354"/>
                      </a:lnTo>
                      <a:lnTo>
                        <a:pt x="287" y="1299"/>
                      </a:lnTo>
                      <a:lnTo>
                        <a:pt x="317" y="1244"/>
                      </a:lnTo>
                      <a:lnTo>
                        <a:pt x="348" y="1191"/>
                      </a:lnTo>
                      <a:lnTo>
                        <a:pt x="379" y="1140"/>
                      </a:lnTo>
                      <a:lnTo>
                        <a:pt x="413" y="1090"/>
                      </a:lnTo>
                      <a:lnTo>
                        <a:pt x="447" y="1038"/>
                      </a:lnTo>
                      <a:lnTo>
                        <a:pt x="482" y="989"/>
                      </a:lnTo>
                      <a:lnTo>
                        <a:pt x="519" y="941"/>
                      </a:lnTo>
                      <a:lnTo>
                        <a:pt x="556" y="894"/>
                      </a:lnTo>
                      <a:lnTo>
                        <a:pt x="594" y="848"/>
                      </a:lnTo>
                      <a:lnTo>
                        <a:pt x="635" y="802"/>
                      </a:lnTo>
                      <a:lnTo>
                        <a:pt x="675" y="758"/>
                      </a:lnTo>
                      <a:lnTo>
                        <a:pt x="718" y="714"/>
                      </a:lnTo>
                      <a:lnTo>
                        <a:pt x="761" y="672"/>
                      </a:lnTo>
                      <a:lnTo>
                        <a:pt x="805" y="631"/>
                      </a:lnTo>
                      <a:lnTo>
                        <a:pt x="851" y="591"/>
                      </a:lnTo>
                      <a:lnTo>
                        <a:pt x="896" y="552"/>
                      </a:lnTo>
                      <a:lnTo>
                        <a:pt x="943" y="515"/>
                      </a:lnTo>
                      <a:lnTo>
                        <a:pt x="992" y="478"/>
                      </a:lnTo>
                      <a:lnTo>
                        <a:pt x="1041" y="442"/>
                      </a:lnTo>
                      <a:lnTo>
                        <a:pt x="1091" y="408"/>
                      </a:lnTo>
                      <a:lnTo>
                        <a:pt x="1143" y="375"/>
                      </a:lnTo>
                      <a:lnTo>
                        <a:pt x="1194" y="344"/>
                      </a:lnTo>
                      <a:lnTo>
                        <a:pt x="1247" y="313"/>
                      </a:lnTo>
                      <a:lnTo>
                        <a:pt x="1300" y="283"/>
                      </a:lnTo>
                      <a:lnTo>
                        <a:pt x="1355" y="255"/>
                      </a:lnTo>
                      <a:lnTo>
                        <a:pt x="1411" y="229"/>
                      </a:lnTo>
                      <a:lnTo>
                        <a:pt x="1467" y="204"/>
                      </a:lnTo>
                      <a:lnTo>
                        <a:pt x="1523" y="180"/>
                      </a:lnTo>
                      <a:lnTo>
                        <a:pt x="1580" y="158"/>
                      </a:lnTo>
                      <a:lnTo>
                        <a:pt x="1639" y="137"/>
                      </a:lnTo>
                      <a:lnTo>
                        <a:pt x="1698" y="117"/>
                      </a:lnTo>
                      <a:lnTo>
                        <a:pt x="1757" y="99"/>
                      </a:lnTo>
                      <a:lnTo>
                        <a:pt x="1818" y="83"/>
                      </a:lnTo>
                      <a:lnTo>
                        <a:pt x="1878" y="66"/>
                      </a:lnTo>
                      <a:lnTo>
                        <a:pt x="1940" y="53"/>
                      </a:lnTo>
                      <a:lnTo>
                        <a:pt x="2002" y="41"/>
                      </a:lnTo>
                      <a:lnTo>
                        <a:pt x="2065" y="31"/>
                      </a:lnTo>
                      <a:lnTo>
                        <a:pt x="2129" y="22"/>
                      </a:lnTo>
                      <a:lnTo>
                        <a:pt x="2194" y="15"/>
                      </a:lnTo>
                      <a:lnTo>
                        <a:pt x="2257" y="9"/>
                      </a:lnTo>
                      <a:lnTo>
                        <a:pt x="2322" y="5"/>
                      </a:lnTo>
                      <a:lnTo>
                        <a:pt x="2388" y="2"/>
                      </a:lnTo>
                      <a:lnTo>
                        <a:pt x="2455" y="0"/>
                      </a:lnTo>
                      <a:lnTo>
                        <a:pt x="2455" y="0"/>
                      </a:lnTo>
                      <a:lnTo>
                        <a:pt x="2521" y="2"/>
                      </a:lnTo>
                      <a:lnTo>
                        <a:pt x="2586" y="5"/>
                      </a:lnTo>
                      <a:lnTo>
                        <a:pt x="2652" y="9"/>
                      </a:lnTo>
                      <a:lnTo>
                        <a:pt x="2717" y="15"/>
                      </a:lnTo>
                      <a:lnTo>
                        <a:pt x="2782" y="22"/>
                      </a:lnTo>
                      <a:lnTo>
                        <a:pt x="2845" y="31"/>
                      </a:lnTo>
                      <a:lnTo>
                        <a:pt x="2909" y="41"/>
                      </a:lnTo>
                      <a:lnTo>
                        <a:pt x="2972" y="53"/>
                      </a:lnTo>
                      <a:lnTo>
                        <a:pt x="3035" y="66"/>
                      </a:lnTo>
                      <a:lnTo>
                        <a:pt x="3097" y="83"/>
                      </a:lnTo>
                      <a:lnTo>
                        <a:pt x="3159" y="99"/>
                      </a:lnTo>
                      <a:lnTo>
                        <a:pt x="3221" y="117"/>
                      </a:lnTo>
                      <a:lnTo>
                        <a:pt x="3282" y="137"/>
                      </a:lnTo>
                      <a:lnTo>
                        <a:pt x="3341" y="158"/>
                      </a:lnTo>
                      <a:lnTo>
                        <a:pt x="3401" y="180"/>
                      </a:lnTo>
                      <a:lnTo>
                        <a:pt x="3460" y="204"/>
                      </a:lnTo>
                      <a:lnTo>
                        <a:pt x="3517" y="229"/>
                      </a:lnTo>
                      <a:lnTo>
                        <a:pt x="3575" y="255"/>
                      </a:lnTo>
                      <a:lnTo>
                        <a:pt x="3631" y="283"/>
                      </a:lnTo>
                      <a:lnTo>
                        <a:pt x="3687" y="313"/>
                      </a:lnTo>
                      <a:lnTo>
                        <a:pt x="3743" y="344"/>
                      </a:lnTo>
                      <a:lnTo>
                        <a:pt x="3798" y="375"/>
                      </a:lnTo>
                      <a:lnTo>
                        <a:pt x="3851" y="408"/>
                      </a:lnTo>
                      <a:lnTo>
                        <a:pt x="3904" y="442"/>
                      </a:lnTo>
                      <a:lnTo>
                        <a:pt x="3957" y="478"/>
                      </a:lnTo>
                      <a:lnTo>
                        <a:pt x="4008" y="515"/>
                      </a:lnTo>
                      <a:lnTo>
                        <a:pt x="4059" y="552"/>
                      </a:lnTo>
                      <a:lnTo>
                        <a:pt x="4107" y="591"/>
                      </a:lnTo>
                      <a:lnTo>
                        <a:pt x="4156" y="631"/>
                      </a:lnTo>
                      <a:lnTo>
                        <a:pt x="4204" y="672"/>
                      </a:lnTo>
                      <a:lnTo>
                        <a:pt x="4250" y="714"/>
                      </a:lnTo>
                      <a:lnTo>
                        <a:pt x="4296" y="758"/>
                      </a:lnTo>
                      <a:lnTo>
                        <a:pt x="4342" y="802"/>
                      </a:lnTo>
                      <a:lnTo>
                        <a:pt x="4384" y="848"/>
                      </a:lnTo>
                      <a:lnTo>
                        <a:pt x="4427" y="894"/>
                      </a:lnTo>
                      <a:lnTo>
                        <a:pt x="4470" y="941"/>
                      </a:lnTo>
                      <a:lnTo>
                        <a:pt x="4510" y="989"/>
                      </a:lnTo>
                      <a:lnTo>
                        <a:pt x="4549" y="1038"/>
                      </a:lnTo>
                      <a:lnTo>
                        <a:pt x="4588" y="1090"/>
                      </a:lnTo>
                      <a:lnTo>
                        <a:pt x="4625" y="1140"/>
                      </a:lnTo>
                      <a:lnTo>
                        <a:pt x="4661" y="1191"/>
                      </a:lnTo>
                      <a:lnTo>
                        <a:pt x="4697" y="1244"/>
                      </a:lnTo>
                      <a:lnTo>
                        <a:pt x="4729" y="1299"/>
                      </a:lnTo>
                      <a:lnTo>
                        <a:pt x="4763" y="1354"/>
                      </a:lnTo>
                      <a:lnTo>
                        <a:pt x="4794" y="1408"/>
                      </a:lnTo>
                      <a:lnTo>
                        <a:pt x="4824" y="1464"/>
                      </a:lnTo>
                      <a:lnTo>
                        <a:pt x="4853" y="1522"/>
                      </a:lnTo>
                      <a:lnTo>
                        <a:pt x="4880" y="1579"/>
                      </a:lnTo>
                      <a:lnTo>
                        <a:pt x="4906" y="1637"/>
                      </a:lnTo>
                      <a:lnTo>
                        <a:pt x="4931" y="1696"/>
                      </a:lnTo>
                      <a:lnTo>
                        <a:pt x="4953" y="1756"/>
                      </a:lnTo>
                      <a:lnTo>
                        <a:pt x="4975" y="1817"/>
                      </a:lnTo>
                      <a:lnTo>
                        <a:pt x="4996" y="1877"/>
                      </a:lnTo>
                      <a:lnTo>
                        <a:pt x="5015" y="1939"/>
                      </a:lnTo>
                      <a:lnTo>
                        <a:pt x="5033" y="2001"/>
                      </a:lnTo>
                      <a:lnTo>
                        <a:pt x="5049" y="2064"/>
                      </a:lnTo>
                      <a:lnTo>
                        <a:pt x="5064" y="2128"/>
                      </a:lnTo>
                      <a:lnTo>
                        <a:pt x="5077" y="2191"/>
                      </a:lnTo>
                      <a:lnTo>
                        <a:pt x="5089" y="2256"/>
                      </a:lnTo>
                      <a:lnTo>
                        <a:pt x="5099" y="2321"/>
                      </a:lnTo>
                      <a:lnTo>
                        <a:pt x="5108" y="2386"/>
                      </a:lnTo>
                      <a:lnTo>
                        <a:pt x="5114" y="2452"/>
                      </a:lnTo>
                      <a:lnTo>
                        <a:pt x="5120" y="2518"/>
                      </a:lnTo>
                      <a:lnTo>
                        <a:pt x="5123" y="2585"/>
                      </a:lnTo>
                      <a:lnTo>
                        <a:pt x="5123" y="2585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99" name="Freeform 8">
                  <a:extLst>
                    <a:ext uri="{FF2B5EF4-FFF2-40B4-BE49-F238E27FC236}">
                      <a16:creationId xmlns:a16="http://schemas.microsoft.com/office/drawing/2014/main" xmlns="" id="{57DECC87-BA30-AA49-9E98-1188FD067C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93112" y="406400"/>
                  <a:ext cx="2947988" cy="2871788"/>
                </a:xfrm>
                <a:custGeom>
                  <a:avLst/>
                  <a:gdLst/>
                  <a:ahLst/>
                  <a:cxnLst>
                    <a:cxn ang="0">
                      <a:pos x="5553" y="2571"/>
                    </a:cxn>
                    <a:cxn ang="0">
                      <a:pos x="5490" y="2225"/>
                    </a:cxn>
                    <a:cxn ang="0">
                      <a:pos x="5385" y="1893"/>
                    </a:cxn>
                    <a:cxn ang="0">
                      <a:pos x="5244" y="1577"/>
                    </a:cxn>
                    <a:cxn ang="0">
                      <a:pos x="5067" y="1284"/>
                    </a:cxn>
                    <a:cxn ang="0">
                      <a:pos x="4859" y="1014"/>
                    </a:cxn>
                    <a:cxn ang="0">
                      <a:pos x="4620" y="769"/>
                    </a:cxn>
                    <a:cxn ang="0">
                      <a:pos x="4356" y="554"/>
                    </a:cxn>
                    <a:cxn ang="0">
                      <a:pos x="4069" y="370"/>
                    </a:cxn>
                    <a:cxn ang="0">
                      <a:pos x="3759" y="219"/>
                    </a:cxn>
                    <a:cxn ang="0">
                      <a:pos x="3433" y="106"/>
                    </a:cxn>
                    <a:cxn ang="0">
                      <a:pos x="3091" y="32"/>
                    </a:cxn>
                    <a:cxn ang="0">
                      <a:pos x="2737" y="1"/>
                    </a:cxn>
                    <a:cxn ang="0">
                      <a:pos x="2463" y="7"/>
                    </a:cxn>
                    <a:cxn ang="0">
                      <a:pos x="2137" y="51"/>
                    </a:cxn>
                    <a:cxn ang="0">
                      <a:pos x="1825" y="131"/>
                    </a:cxn>
                    <a:cxn ang="0">
                      <a:pos x="1530" y="246"/>
                    </a:cxn>
                    <a:cxn ang="0">
                      <a:pos x="1254" y="393"/>
                    </a:cxn>
                    <a:cxn ang="0">
                      <a:pos x="1001" y="572"/>
                    </a:cxn>
                    <a:cxn ang="0">
                      <a:pos x="769" y="778"/>
                    </a:cxn>
                    <a:cxn ang="0">
                      <a:pos x="564" y="1008"/>
                    </a:cxn>
                    <a:cxn ang="0">
                      <a:pos x="387" y="1263"/>
                    </a:cxn>
                    <a:cxn ang="0">
                      <a:pos x="240" y="1539"/>
                    </a:cxn>
                    <a:cxn ang="0">
                      <a:pos x="127" y="1832"/>
                    </a:cxn>
                    <a:cxn ang="0">
                      <a:pos x="47" y="2142"/>
                    </a:cxn>
                    <a:cxn ang="0">
                      <a:pos x="4" y="2466"/>
                    </a:cxn>
                    <a:cxn ang="0">
                      <a:pos x="199" y="2438"/>
                    </a:cxn>
                    <a:cxn ang="0">
                      <a:pos x="550" y="2322"/>
                    </a:cxn>
                    <a:cxn ang="0">
                      <a:pos x="926" y="2258"/>
                    </a:cxn>
                    <a:cxn ang="0">
                      <a:pos x="1226" y="2248"/>
                    </a:cxn>
                    <a:cxn ang="0">
                      <a:pos x="1551" y="2278"/>
                    </a:cxn>
                    <a:cxn ang="0">
                      <a:pos x="1865" y="2345"/>
                    </a:cxn>
                    <a:cxn ang="0">
                      <a:pos x="2164" y="2450"/>
                    </a:cxn>
                    <a:cxn ang="0">
                      <a:pos x="2448" y="2590"/>
                    </a:cxn>
                    <a:cxn ang="0">
                      <a:pos x="2712" y="2761"/>
                    </a:cxn>
                    <a:cxn ang="0">
                      <a:pos x="2956" y="2962"/>
                    </a:cxn>
                    <a:cxn ang="0">
                      <a:pos x="3175" y="3187"/>
                    </a:cxn>
                    <a:cxn ang="0">
                      <a:pos x="3367" y="3439"/>
                    </a:cxn>
                    <a:cxn ang="0">
                      <a:pos x="3529" y="3711"/>
                    </a:cxn>
                    <a:cxn ang="0">
                      <a:pos x="3659" y="4003"/>
                    </a:cxn>
                    <a:cxn ang="0">
                      <a:pos x="3755" y="4311"/>
                    </a:cxn>
                    <a:cxn ang="0">
                      <a:pos x="3814" y="4632"/>
                    </a:cxn>
                    <a:cxn ang="0">
                      <a:pos x="3831" y="4908"/>
                    </a:cxn>
                    <a:cxn ang="0">
                      <a:pos x="3809" y="5281"/>
                    </a:cxn>
                    <a:cxn ang="0">
                      <a:pos x="3886" y="5390"/>
                    </a:cxn>
                    <a:cxn ang="0">
                      <a:pos x="4129" y="5281"/>
                    </a:cxn>
                    <a:cxn ang="0">
                      <a:pos x="4358" y="5150"/>
                    </a:cxn>
                    <a:cxn ang="0">
                      <a:pos x="4571" y="4998"/>
                    </a:cxn>
                    <a:cxn ang="0">
                      <a:pos x="4767" y="4825"/>
                    </a:cxn>
                    <a:cxn ang="0">
                      <a:pos x="4946" y="4635"/>
                    </a:cxn>
                    <a:cxn ang="0">
                      <a:pos x="5105" y="4427"/>
                    </a:cxn>
                    <a:cxn ang="0">
                      <a:pos x="5242" y="4203"/>
                    </a:cxn>
                    <a:cxn ang="0">
                      <a:pos x="5359" y="3966"/>
                    </a:cxn>
                    <a:cxn ang="0">
                      <a:pos x="5450" y="3715"/>
                    </a:cxn>
                    <a:cxn ang="0">
                      <a:pos x="5518" y="3453"/>
                    </a:cxn>
                    <a:cxn ang="0">
                      <a:pos x="5559" y="3181"/>
                    </a:cxn>
                    <a:cxn ang="0">
                      <a:pos x="5572" y="2900"/>
                    </a:cxn>
                  </a:cxnLst>
                  <a:rect l="0" t="0" r="r" b="b"/>
                  <a:pathLst>
                    <a:path w="5572" h="5427">
                      <a:moveTo>
                        <a:pt x="5569" y="2786"/>
                      </a:moveTo>
                      <a:lnTo>
                        <a:pt x="5569" y="2786"/>
                      </a:lnTo>
                      <a:lnTo>
                        <a:pt x="5566" y="2714"/>
                      </a:lnTo>
                      <a:lnTo>
                        <a:pt x="5560" y="2642"/>
                      </a:lnTo>
                      <a:lnTo>
                        <a:pt x="5553" y="2571"/>
                      </a:lnTo>
                      <a:lnTo>
                        <a:pt x="5543" y="2500"/>
                      </a:lnTo>
                      <a:lnTo>
                        <a:pt x="5532" y="2431"/>
                      </a:lnTo>
                      <a:lnTo>
                        <a:pt x="5519" y="2362"/>
                      </a:lnTo>
                      <a:lnTo>
                        <a:pt x="5504" y="2292"/>
                      </a:lnTo>
                      <a:lnTo>
                        <a:pt x="5490" y="2225"/>
                      </a:lnTo>
                      <a:lnTo>
                        <a:pt x="5472" y="2157"/>
                      </a:lnTo>
                      <a:lnTo>
                        <a:pt x="5453" y="2089"/>
                      </a:lnTo>
                      <a:lnTo>
                        <a:pt x="5432" y="2023"/>
                      </a:lnTo>
                      <a:lnTo>
                        <a:pt x="5409" y="1958"/>
                      </a:lnTo>
                      <a:lnTo>
                        <a:pt x="5385" y="1893"/>
                      </a:lnTo>
                      <a:lnTo>
                        <a:pt x="5360" y="1828"/>
                      </a:lnTo>
                      <a:lnTo>
                        <a:pt x="5333" y="1765"/>
                      </a:lnTo>
                      <a:lnTo>
                        <a:pt x="5304" y="1701"/>
                      </a:lnTo>
                      <a:lnTo>
                        <a:pt x="5274" y="1639"/>
                      </a:lnTo>
                      <a:lnTo>
                        <a:pt x="5244" y="1577"/>
                      </a:lnTo>
                      <a:lnTo>
                        <a:pt x="5211" y="1517"/>
                      </a:lnTo>
                      <a:lnTo>
                        <a:pt x="5177" y="1458"/>
                      </a:lnTo>
                      <a:lnTo>
                        <a:pt x="5142" y="1399"/>
                      </a:lnTo>
                      <a:lnTo>
                        <a:pt x="5105" y="1341"/>
                      </a:lnTo>
                      <a:lnTo>
                        <a:pt x="5067" y="1284"/>
                      </a:lnTo>
                      <a:lnTo>
                        <a:pt x="5028" y="1228"/>
                      </a:lnTo>
                      <a:lnTo>
                        <a:pt x="4987" y="1173"/>
                      </a:lnTo>
                      <a:lnTo>
                        <a:pt x="4946" y="1119"/>
                      </a:lnTo>
                      <a:lnTo>
                        <a:pt x="4903" y="1066"/>
                      </a:lnTo>
                      <a:lnTo>
                        <a:pt x="4859" y="1014"/>
                      </a:lnTo>
                      <a:lnTo>
                        <a:pt x="4813" y="962"/>
                      </a:lnTo>
                      <a:lnTo>
                        <a:pt x="4766" y="912"/>
                      </a:lnTo>
                      <a:lnTo>
                        <a:pt x="4719" y="864"/>
                      </a:lnTo>
                      <a:lnTo>
                        <a:pt x="4670" y="817"/>
                      </a:lnTo>
                      <a:lnTo>
                        <a:pt x="4620" y="769"/>
                      </a:lnTo>
                      <a:lnTo>
                        <a:pt x="4570" y="724"/>
                      </a:lnTo>
                      <a:lnTo>
                        <a:pt x="4518" y="679"/>
                      </a:lnTo>
                      <a:lnTo>
                        <a:pt x="4465" y="637"/>
                      </a:lnTo>
                      <a:lnTo>
                        <a:pt x="4411" y="594"/>
                      </a:lnTo>
                      <a:lnTo>
                        <a:pt x="4356" y="554"/>
                      </a:lnTo>
                      <a:lnTo>
                        <a:pt x="4300" y="514"/>
                      </a:lnTo>
                      <a:lnTo>
                        <a:pt x="4244" y="476"/>
                      </a:lnTo>
                      <a:lnTo>
                        <a:pt x="4187" y="439"/>
                      </a:lnTo>
                      <a:lnTo>
                        <a:pt x="4128" y="404"/>
                      </a:lnTo>
                      <a:lnTo>
                        <a:pt x="4069" y="370"/>
                      </a:lnTo>
                      <a:lnTo>
                        <a:pt x="4008" y="336"/>
                      </a:lnTo>
                      <a:lnTo>
                        <a:pt x="3946" y="305"/>
                      </a:lnTo>
                      <a:lnTo>
                        <a:pt x="3886" y="275"/>
                      </a:lnTo>
                      <a:lnTo>
                        <a:pt x="3822" y="246"/>
                      </a:lnTo>
                      <a:lnTo>
                        <a:pt x="3759" y="219"/>
                      </a:lnTo>
                      <a:lnTo>
                        <a:pt x="3696" y="193"/>
                      </a:lnTo>
                      <a:lnTo>
                        <a:pt x="3631" y="169"/>
                      </a:lnTo>
                      <a:lnTo>
                        <a:pt x="3566" y="147"/>
                      </a:lnTo>
                      <a:lnTo>
                        <a:pt x="3500" y="125"/>
                      </a:lnTo>
                      <a:lnTo>
                        <a:pt x="3433" y="106"/>
                      </a:lnTo>
                      <a:lnTo>
                        <a:pt x="3365" y="88"/>
                      </a:lnTo>
                      <a:lnTo>
                        <a:pt x="3298" y="72"/>
                      </a:lnTo>
                      <a:lnTo>
                        <a:pt x="3230" y="57"/>
                      </a:lnTo>
                      <a:lnTo>
                        <a:pt x="3160" y="44"/>
                      </a:lnTo>
                      <a:lnTo>
                        <a:pt x="3091" y="32"/>
                      </a:lnTo>
                      <a:lnTo>
                        <a:pt x="3022" y="23"/>
                      </a:lnTo>
                      <a:lnTo>
                        <a:pt x="2951" y="14"/>
                      </a:lnTo>
                      <a:lnTo>
                        <a:pt x="2880" y="9"/>
                      </a:lnTo>
                      <a:lnTo>
                        <a:pt x="2810" y="4"/>
                      </a:lnTo>
                      <a:lnTo>
                        <a:pt x="2737" y="1"/>
                      </a:lnTo>
                      <a:lnTo>
                        <a:pt x="2667" y="0"/>
                      </a:lnTo>
                      <a:lnTo>
                        <a:pt x="2667" y="0"/>
                      </a:lnTo>
                      <a:lnTo>
                        <a:pt x="2599" y="1"/>
                      </a:lnTo>
                      <a:lnTo>
                        <a:pt x="2531" y="4"/>
                      </a:lnTo>
                      <a:lnTo>
                        <a:pt x="2463" y="7"/>
                      </a:lnTo>
                      <a:lnTo>
                        <a:pt x="2397" y="13"/>
                      </a:lnTo>
                      <a:lnTo>
                        <a:pt x="2332" y="20"/>
                      </a:lnTo>
                      <a:lnTo>
                        <a:pt x="2266" y="29"/>
                      </a:lnTo>
                      <a:lnTo>
                        <a:pt x="2201" y="39"/>
                      </a:lnTo>
                      <a:lnTo>
                        <a:pt x="2137" y="51"/>
                      </a:lnTo>
                      <a:lnTo>
                        <a:pt x="2074" y="65"/>
                      </a:lnTo>
                      <a:lnTo>
                        <a:pt x="2011" y="79"/>
                      </a:lnTo>
                      <a:lnTo>
                        <a:pt x="1949" y="94"/>
                      </a:lnTo>
                      <a:lnTo>
                        <a:pt x="1887" y="112"/>
                      </a:lnTo>
                      <a:lnTo>
                        <a:pt x="1825" y="131"/>
                      </a:lnTo>
                      <a:lnTo>
                        <a:pt x="1764" y="152"/>
                      </a:lnTo>
                      <a:lnTo>
                        <a:pt x="1705" y="174"/>
                      </a:lnTo>
                      <a:lnTo>
                        <a:pt x="1646" y="196"/>
                      </a:lnTo>
                      <a:lnTo>
                        <a:pt x="1587" y="221"/>
                      </a:lnTo>
                      <a:lnTo>
                        <a:pt x="1530" y="246"/>
                      </a:lnTo>
                      <a:lnTo>
                        <a:pt x="1474" y="274"/>
                      </a:lnTo>
                      <a:lnTo>
                        <a:pt x="1418" y="302"/>
                      </a:lnTo>
                      <a:lnTo>
                        <a:pt x="1362" y="331"/>
                      </a:lnTo>
                      <a:lnTo>
                        <a:pt x="1307" y="362"/>
                      </a:lnTo>
                      <a:lnTo>
                        <a:pt x="1254" y="393"/>
                      </a:lnTo>
                      <a:lnTo>
                        <a:pt x="1201" y="427"/>
                      </a:lnTo>
                      <a:lnTo>
                        <a:pt x="1150" y="461"/>
                      </a:lnTo>
                      <a:lnTo>
                        <a:pt x="1100" y="497"/>
                      </a:lnTo>
                      <a:lnTo>
                        <a:pt x="1049" y="533"/>
                      </a:lnTo>
                      <a:lnTo>
                        <a:pt x="1001" y="572"/>
                      </a:lnTo>
                      <a:lnTo>
                        <a:pt x="952" y="610"/>
                      </a:lnTo>
                      <a:lnTo>
                        <a:pt x="905" y="651"/>
                      </a:lnTo>
                      <a:lnTo>
                        <a:pt x="859" y="693"/>
                      </a:lnTo>
                      <a:lnTo>
                        <a:pt x="814" y="734"/>
                      </a:lnTo>
                      <a:lnTo>
                        <a:pt x="769" y="778"/>
                      </a:lnTo>
                      <a:lnTo>
                        <a:pt x="727" y="822"/>
                      </a:lnTo>
                      <a:lnTo>
                        <a:pt x="684" y="867"/>
                      </a:lnTo>
                      <a:lnTo>
                        <a:pt x="643" y="914"/>
                      </a:lnTo>
                      <a:lnTo>
                        <a:pt x="603" y="961"/>
                      </a:lnTo>
                      <a:lnTo>
                        <a:pt x="564" y="1008"/>
                      </a:lnTo>
                      <a:lnTo>
                        <a:pt x="526" y="1058"/>
                      </a:lnTo>
                      <a:lnTo>
                        <a:pt x="491" y="1108"/>
                      </a:lnTo>
                      <a:lnTo>
                        <a:pt x="455" y="1159"/>
                      </a:lnTo>
                      <a:lnTo>
                        <a:pt x="420" y="1210"/>
                      </a:lnTo>
                      <a:lnTo>
                        <a:pt x="387" y="1263"/>
                      </a:lnTo>
                      <a:lnTo>
                        <a:pt x="355" y="1316"/>
                      </a:lnTo>
                      <a:lnTo>
                        <a:pt x="326" y="1371"/>
                      </a:lnTo>
                      <a:lnTo>
                        <a:pt x="296" y="1425"/>
                      </a:lnTo>
                      <a:lnTo>
                        <a:pt x="268" y="1481"/>
                      </a:lnTo>
                      <a:lnTo>
                        <a:pt x="240" y="1539"/>
                      </a:lnTo>
                      <a:lnTo>
                        <a:pt x="215" y="1596"/>
                      </a:lnTo>
                      <a:lnTo>
                        <a:pt x="191" y="1654"/>
                      </a:lnTo>
                      <a:lnTo>
                        <a:pt x="168" y="1713"/>
                      </a:lnTo>
                      <a:lnTo>
                        <a:pt x="147" y="1772"/>
                      </a:lnTo>
                      <a:lnTo>
                        <a:pt x="127" y="1832"/>
                      </a:lnTo>
                      <a:lnTo>
                        <a:pt x="107" y="1893"/>
                      </a:lnTo>
                      <a:lnTo>
                        <a:pt x="90" y="1955"/>
                      </a:lnTo>
                      <a:lnTo>
                        <a:pt x="75" y="2017"/>
                      </a:lnTo>
                      <a:lnTo>
                        <a:pt x="60" y="2080"/>
                      </a:lnTo>
                      <a:lnTo>
                        <a:pt x="47" y="2142"/>
                      </a:lnTo>
                      <a:lnTo>
                        <a:pt x="35" y="2207"/>
                      </a:lnTo>
                      <a:lnTo>
                        <a:pt x="25" y="2270"/>
                      </a:lnTo>
                      <a:lnTo>
                        <a:pt x="17" y="2335"/>
                      </a:lnTo>
                      <a:lnTo>
                        <a:pt x="10" y="2401"/>
                      </a:lnTo>
                      <a:lnTo>
                        <a:pt x="4" y="2466"/>
                      </a:lnTo>
                      <a:lnTo>
                        <a:pt x="0" y="2533"/>
                      </a:lnTo>
                      <a:lnTo>
                        <a:pt x="0" y="2533"/>
                      </a:lnTo>
                      <a:lnTo>
                        <a:pt x="65" y="2500"/>
                      </a:lnTo>
                      <a:lnTo>
                        <a:pt x="131" y="2468"/>
                      </a:lnTo>
                      <a:lnTo>
                        <a:pt x="199" y="2438"/>
                      </a:lnTo>
                      <a:lnTo>
                        <a:pt x="267" y="2412"/>
                      </a:lnTo>
                      <a:lnTo>
                        <a:pt x="336" y="2387"/>
                      </a:lnTo>
                      <a:lnTo>
                        <a:pt x="407" y="2363"/>
                      </a:lnTo>
                      <a:lnTo>
                        <a:pt x="477" y="2341"/>
                      </a:lnTo>
                      <a:lnTo>
                        <a:pt x="550" y="2322"/>
                      </a:lnTo>
                      <a:lnTo>
                        <a:pt x="623" y="2304"/>
                      </a:lnTo>
                      <a:lnTo>
                        <a:pt x="697" y="2289"/>
                      </a:lnTo>
                      <a:lnTo>
                        <a:pt x="772" y="2278"/>
                      </a:lnTo>
                      <a:lnTo>
                        <a:pt x="849" y="2266"/>
                      </a:lnTo>
                      <a:lnTo>
                        <a:pt x="926" y="2258"/>
                      </a:lnTo>
                      <a:lnTo>
                        <a:pt x="1002" y="2253"/>
                      </a:lnTo>
                      <a:lnTo>
                        <a:pt x="1080" y="2248"/>
                      </a:lnTo>
                      <a:lnTo>
                        <a:pt x="1160" y="2248"/>
                      </a:lnTo>
                      <a:lnTo>
                        <a:pt x="1160" y="2248"/>
                      </a:lnTo>
                      <a:lnTo>
                        <a:pt x="1226" y="2248"/>
                      </a:lnTo>
                      <a:lnTo>
                        <a:pt x="1291" y="2251"/>
                      </a:lnTo>
                      <a:lnTo>
                        <a:pt x="1358" y="2256"/>
                      </a:lnTo>
                      <a:lnTo>
                        <a:pt x="1422" y="2261"/>
                      </a:lnTo>
                      <a:lnTo>
                        <a:pt x="1486" y="2269"/>
                      </a:lnTo>
                      <a:lnTo>
                        <a:pt x="1551" y="2278"/>
                      </a:lnTo>
                      <a:lnTo>
                        <a:pt x="1614" y="2288"/>
                      </a:lnTo>
                      <a:lnTo>
                        <a:pt x="1677" y="2300"/>
                      </a:lnTo>
                      <a:lnTo>
                        <a:pt x="1741" y="2313"/>
                      </a:lnTo>
                      <a:lnTo>
                        <a:pt x="1803" y="2329"/>
                      </a:lnTo>
                      <a:lnTo>
                        <a:pt x="1865" y="2345"/>
                      </a:lnTo>
                      <a:lnTo>
                        <a:pt x="1925" y="2363"/>
                      </a:lnTo>
                      <a:lnTo>
                        <a:pt x="1987" y="2384"/>
                      </a:lnTo>
                      <a:lnTo>
                        <a:pt x="2046" y="2404"/>
                      </a:lnTo>
                      <a:lnTo>
                        <a:pt x="2106" y="2427"/>
                      </a:lnTo>
                      <a:lnTo>
                        <a:pt x="2164" y="2450"/>
                      </a:lnTo>
                      <a:lnTo>
                        <a:pt x="2223" y="2475"/>
                      </a:lnTo>
                      <a:lnTo>
                        <a:pt x="2280" y="2502"/>
                      </a:lnTo>
                      <a:lnTo>
                        <a:pt x="2336" y="2530"/>
                      </a:lnTo>
                      <a:lnTo>
                        <a:pt x="2392" y="2559"/>
                      </a:lnTo>
                      <a:lnTo>
                        <a:pt x="2448" y="2590"/>
                      </a:lnTo>
                      <a:lnTo>
                        <a:pt x="2503" y="2621"/>
                      </a:lnTo>
                      <a:lnTo>
                        <a:pt x="2556" y="2655"/>
                      </a:lnTo>
                      <a:lnTo>
                        <a:pt x="2609" y="2689"/>
                      </a:lnTo>
                      <a:lnTo>
                        <a:pt x="2662" y="2724"/>
                      </a:lnTo>
                      <a:lnTo>
                        <a:pt x="2712" y="2761"/>
                      </a:lnTo>
                      <a:lnTo>
                        <a:pt x="2764" y="2798"/>
                      </a:lnTo>
                      <a:lnTo>
                        <a:pt x="2813" y="2838"/>
                      </a:lnTo>
                      <a:lnTo>
                        <a:pt x="2861" y="2878"/>
                      </a:lnTo>
                      <a:lnTo>
                        <a:pt x="2910" y="2919"/>
                      </a:lnTo>
                      <a:lnTo>
                        <a:pt x="2956" y="2962"/>
                      </a:lnTo>
                      <a:lnTo>
                        <a:pt x="3001" y="3005"/>
                      </a:lnTo>
                      <a:lnTo>
                        <a:pt x="3047" y="3049"/>
                      </a:lnTo>
                      <a:lnTo>
                        <a:pt x="3090" y="3094"/>
                      </a:lnTo>
                      <a:lnTo>
                        <a:pt x="3132" y="3140"/>
                      </a:lnTo>
                      <a:lnTo>
                        <a:pt x="3175" y="3187"/>
                      </a:lnTo>
                      <a:lnTo>
                        <a:pt x="3215" y="3236"/>
                      </a:lnTo>
                      <a:lnTo>
                        <a:pt x="3255" y="3286"/>
                      </a:lnTo>
                      <a:lnTo>
                        <a:pt x="3293" y="3336"/>
                      </a:lnTo>
                      <a:lnTo>
                        <a:pt x="3330" y="3386"/>
                      </a:lnTo>
                      <a:lnTo>
                        <a:pt x="3367" y="3439"/>
                      </a:lnTo>
                      <a:lnTo>
                        <a:pt x="3402" y="3491"/>
                      </a:lnTo>
                      <a:lnTo>
                        <a:pt x="3435" y="3546"/>
                      </a:lnTo>
                      <a:lnTo>
                        <a:pt x="3467" y="3600"/>
                      </a:lnTo>
                      <a:lnTo>
                        <a:pt x="3500" y="3655"/>
                      </a:lnTo>
                      <a:lnTo>
                        <a:pt x="3529" y="3711"/>
                      </a:lnTo>
                      <a:lnTo>
                        <a:pt x="3557" y="3768"/>
                      </a:lnTo>
                      <a:lnTo>
                        <a:pt x="3585" y="3826"/>
                      </a:lnTo>
                      <a:lnTo>
                        <a:pt x="3612" y="3885"/>
                      </a:lnTo>
                      <a:lnTo>
                        <a:pt x="3635" y="3944"/>
                      </a:lnTo>
                      <a:lnTo>
                        <a:pt x="3659" y="4003"/>
                      </a:lnTo>
                      <a:lnTo>
                        <a:pt x="3681" y="4063"/>
                      </a:lnTo>
                      <a:lnTo>
                        <a:pt x="3702" y="4124"/>
                      </a:lnTo>
                      <a:lnTo>
                        <a:pt x="3721" y="4186"/>
                      </a:lnTo>
                      <a:lnTo>
                        <a:pt x="3738" y="4247"/>
                      </a:lnTo>
                      <a:lnTo>
                        <a:pt x="3755" y="4311"/>
                      </a:lnTo>
                      <a:lnTo>
                        <a:pt x="3769" y="4374"/>
                      </a:lnTo>
                      <a:lnTo>
                        <a:pt x="3783" y="4438"/>
                      </a:lnTo>
                      <a:lnTo>
                        <a:pt x="3794" y="4503"/>
                      </a:lnTo>
                      <a:lnTo>
                        <a:pt x="3805" y="4567"/>
                      </a:lnTo>
                      <a:lnTo>
                        <a:pt x="3814" y="4632"/>
                      </a:lnTo>
                      <a:lnTo>
                        <a:pt x="3819" y="4699"/>
                      </a:lnTo>
                      <a:lnTo>
                        <a:pt x="3825" y="4765"/>
                      </a:lnTo>
                      <a:lnTo>
                        <a:pt x="3828" y="4831"/>
                      </a:lnTo>
                      <a:lnTo>
                        <a:pt x="3828" y="4831"/>
                      </a:lnTo>
                      <a:lnTo>
                        <a:pt x="3831" y="4908"/>
                      </a:lnTo>
                      <a:lnTo>
                        <a:pt x="3831" y="4985"/>
                      </a:lnTo>
                      <a:lnTo>
                        <a:pt x="3828" y="5060"/>
                      </a:lnTo>
                      <a:lnTo>
                        <a:pt x="3824" y="5134"/>
                      </a:lnTo>
                      <a:lnTo>
                        <a:pt x="3818" y="5209"/>
                      </a:lnTo>
                      <a:lnTo>
                        <a:pt x="3809" y="5281"/>
                      </a:lnTo>
                      <a:lnTo>
                        <a:pt x="3799" y="5355"/>
                      </a:lnTo>
                      <a:lnTo>
                        <a:pt x="3786" y="5427"/>
                      </a:lnTo>
                      <a:lnTo>
                        <a:pt x="3786" y="5427"/>
                      </a:lnTo>
                      <a:lnTo>
                        <a:pt x="3836" y="5408"/>
                      </a:lnTo>
                      <a:lnTo>
                        <a:pt x="3886" y="5390"/>
                      </a:lnTo>
                      <a:lnTo>
                        <a:pt x="3936" y="5369"/>
                      </a:lnTo>
                      <a:lnTo>
                        <a:pt x="3985" y="5349"/>
                      </a:lnTo>
                      <a:lnTo>
                        <a:pt x="4033" y="5327"/>
                      </a:lnTo>
                      <a:lnTo>
                        <a:pt x="4082" y="5305"/>
                      </a:lnTo>
                      <a:lnTo>
                        <a:pt x="4129" y="5281"/>
                      </a:lnTo>
                      <a:lnTo>
                        <a:pt x="4176" y="5256"/>
                      </a:lnTo>
                      <a:lnTo>
                        <a:pt x="4223" y="5231"/>
                      </a:lnTo>
                      <a:lnTo>
                        <a:pt x="4269" y="5204"/>
                      </a:lnTo>
                      <a:lnTo>
                        <a:pt x="4313" y="5178"/>
                      </a:lnTo>
                      <a:lnTo>
                        <a:pt x="4358" y="5150"/>
                      </a:lnTo>
                      <a:lnTo>
                        <a:pt x="4402" y="5122"/>
                      </a:lnTo>
                      <a:lnTo>
                        <a:pt x="4446" y="5092"/>
                      </a:lnTo>
                      <a:lnTo>
                        <a:pt x="4489" y="5061"/>
                      </a:lnTo>
                      <a:lnTo>
                        <a:pt x="4530" y="5030"/>
                      </a:lnTo>
                      <a:lnTo>
                        <a:pt x="4571" y="4998"/>
                      </a:lnTo>
                      <a:lnTo>
                        <a:pt x="4613" y="4965"/>
                      </a:lnTo>
                      <a:lnTo>
                        <a:pt x="4652" y="4932"/>
                      </a:lnTo>
                      <a:lnTo>
                        <a:pt x="4691" y="4896"/>
                      </a:lnTo>
                      <a:lnTo>
                        <a:pt x="4731" y="4861"/>
                      </a:lnTo>
                      <a:lnTo>
                        <a:pt x="4767" y="4825"/>
                      </a:lnTo>
                      <a:lnTo>
                        <a:pt x="4804" y="4789"/>
                      </a:lnTo>
                      <a:lnTo>
                        <a:pt x="4841" y="4752"/>
                      </a:lnTo>
                      <a:lnTo>
                        <a:pt x="4876" y="4713"/>
                      </a:lnTo>
                      <a:lnTo>
                        <a:pt x="4912" y="4675"/>
                      </a:lnTo>
                      <a:lnTo>
                        <a:pt x="4946" y="4635"/>
                      </a:lnTo>
                      <a:lnTo>
                        <a:pt x="4980" y="4595"/>
                      </a:lnTo>
                      <a:lnTo>
                        <a:pt x="5012" y="4554"/>
                      </a:lnTo>
                      <a:lnTo>
                        <a:pt x="5043" y="4513"/>
                      </a:lnTo>
                      <a:lnTo>
                        <a:pt x="5074" y="4470"/>
                      </a:lnTo>
                      <a:lnTo>
                        <a:pt x="5105" y="4427"/>
                      </a:lnTo>
                      <a:lnTo>
                        <a:pt x="5134" y="4383"/>
                      </a:lnTo>
                      <a:lnTo>
                        <a:pt x="5162" y="4340"/>
                      </a:lnTo>
                      <a:lnTo>
                        <a:pt x="5190" y="4295"/>
                      </a:lnTo>
                      <a:lnTo>
                        <a:pt x="5217" y="4250"/>
                      </a:lnTo>
                      <a:lnTo>
                        <a:pt x="5242" y="4203"/>
                      </a:lnTo>
                      <a:lnTo>
                        <a:pt x="5267" y="4158"/>
                      </a:lnTo>
                      <a:lnTo>
                        <a:pt x="5292" y="4110"/>
                      </a:lnTo>
                      <a:lnTo>
                        <a:pt x="5314" y="4063"/>
                      </a:lnTo>
                      <a:lnTo>
                        <a:pt x="5336" y="4014"/>
                      </a:lnTo>
                      <a:lnTo>
                        <a:pt x="5359" y="3966"/>
                      </a:lnTo>
                      <a:lnTo>
                        <a:pt x="5379" y="3917"/>
                      </a:lnTo>
                      <a:lnTo>
                        <a:pt x="5398" y="3867"/>
                      </a:lnTo>
                      <a:lnTo>
                        <a:pt x="5416" y="3817"/>
                      </a:lnTo>
                      <a:lnTo>
                        <a:pt x="5434" y="3767"/>
                      </a:lnTo>
                      <a:lnTo>
                        <a:pt x="5450" y="3715"/>
                      </a:lnTo>
                      <a:lnTo>
                        <a:pt x="5466" y="3664"/>
                      </a:lnTo>
                      <a:lnTo>
                        <a:pt x="5481" y="3612"/>
                      </a:lnTo>
                      <a:lnTo>
                        <a:pt x="5494" y="3559"/>
                      </a:lnTo>
                      <a:lnTo>
                        <a:pt x="5506" y="3507"/>
                      </a:lnTo>
                      <a:lnTo>
                        <a:pt x="5518" y="3453"/>
                      </a:lnTo>
                      <a:lnTo>
                        <a:pt x="5528" y="3400"/>
                      </a:lnTo>
                      <a:lnTo>
                        <a:pt x="5537" y="3345"/>
                      </a:lnTo>
                      <a:lnTo>
                        <a:pt x="5546" y="3291"/>
                      </a:lnTo>
                      <a:lnTo>
                        <a:pt x="5553" y="3236"/>
                      </a:lnTo>
                      <a:lnTo>
                        <a:pt x="5559" y="3181"/>
                      </a:lnTo>
                      <a:lnTo>
                        <a:pt x="5563" y="3125"/>
                      </a:lnTo>
                      <a:lnTo>
                        <a:pt x="5568" y="3069"/>
                      </a:lnTo>
                      <a:lnTo>
                        <a:pt x="5571" y="3013"/>
                      </a:lnTo>
                      <a:lnTo>
                        <a:pt x="5572" y="2957"/>
                      </a:lnTo>
                      <a:lnTo>
                        <a:pt x="5572" y="2900"/>
                      </a:lnTo>
                      <a:lnTo>
                        <a:pt x="5571" y="2842"/>
                      </a:lnTo>
                      <a:lnTo>
                        <a:pt x="5569" y="2786"/>
                      </a:lnTo>
                      <a:lnTo>
                        <a:pt x="5569" y="2786"/>
                      </a:lnTo>
                      <a:close/>
                    </a:path>
                  </a:pathLst>
                </a:custGeom>
                <a:gradFill flip="none" rotWithShape="1">
                  <a:gsLst>
                    <a:gs pos="45000">
                      <a:schemeClr val="accent6">
                        <a:lumMod val="75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  <a:gs pos="30000">
                      <a:schemeClr val="accent6">
                        <a:lumMod val="50000"/>
                      </a:schemeClr>
                    </a:gs>
                    <a:gs pos="83000">
                      <a:schemeClr val="accent6">
                        <a:lumMod val="75000"/>
                      </a:schemeClr>
                    </a:gs>
                    <a:gs pos="55000">
                      <a:schemeClr val="accent6">
                        <a:lumMod val="50000"/>
                      </a:schemeClr>
                    </a:gs>
                    <a:gs pos="69000">
                      <a:schemeClr val="accent6">
                        <a:lumMod val="50000"/>
                      </a:schemeClr>
                    </a:gs>
                  </a:gsLst>
                  <a:lin ang="27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0" name="Freeform 10">
                  <a:extLst>
                    <a:ext uri="{FF2B5EF4-FFF2-40B4-BE49-F238E27FC236}">
                      <a16:creationId xmlns:a16="http://schemas.microsoft.com/office/drawing/2014/main" xmlns="" id="{7BE59EB1-FDC7-3E49-A817-7035E57D78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42325" y="1582738"/>
                  <a:ext cx="2017713" cy="1719263"/>
                </a:xfrm>
                <a:custGeom>
                  <a:avLst/>
                  <a:gdLst/>
                  <a:ahLst/>
                  <a:cxnLst>
                    <a:cxn ang="0">
                      <a:pos x="3757" y="3095"/>
                    </a:cxn>
                    <a:cxn ang="0">
                      <a:pos x="3794" y="3057"/>
                    </a:cxn>
                    <a:cxn ang="0">
                      <a:pos x="3810" y="3002"/>
                    </a:cxn>
                    <a:cxn ang="0">
                      <a:pos x="3809" y="2896"/>
                    </a:cxn>
                    <a:cxn ang="0">
                      <a:pos x="3774" y="2695"/>
                    </a:cxn>
                    <a:cxn ang="0">
                      <a:pos x="3759" y="2585"/>
                    </a:cxn>
                    <a:cxn ang="0">
                      <a:pos x="3735" y="2321"/>
                    </a:cxn>
                    <a:cxn ang="0">
                      <a:pos x="3685" y="2064"/>
                    </a:cxn>
                    <a:cxn ang="0">
                      <a:pos x="3611" y="1817"/>
                    </a:cxn>
                    <a:cxn ang="0">
                      <a:pos x="3516" y="1579"/>
                    </a:cxn>
                    <a:cxn ang="0">
                      <a:pos x="3399" y="1354"/>
                    </a:cxn>
                    <a:cxn ang="0">
                      <a:pos x="3261" y="1140"/>
                    </a:cxn>
                    <a:cxn ang="0">
                      <a:pos x="3106" y="941"/>
                    </a:cxn>
                    <a:cxn ang="0">
                      <a:pos x="2932" y="758"/>
                    </a:cxn>
                    <a:cxn ang="0">
                      <a:pos x="2743" y="591"/>
                    </a:cxn>
                    <a:cxn ang="0">
                      <a:pos x="2540" y="442"/>
                    </a:cxn>
                    <a:cxn ang="0">
                      <a:pos x="2323" y="313"/>
                    </a:cxn>
                    <a:cxn ang="0">
                      <a:pos x="2096" y="204"/>
                    </a:cxn>
                    <a:cxn ang="0">
                      <a:pos x="1857" y="117"/>
                    </a:cxn>
                    <a:cxn ang="0">
                      <a:pos x="1608" y="53"/>
                    </a:cxn>
                    <a:cxn ang="0">
                      <a:pos x="1353" y="15"/>
                    </a:cxn>
                    <a:cxn ang="0">
                      <a:pos x="1091" y="0"/>
                    </a:cxn>
                    <a:cxn ang="0">
                      <a:pos x="902" y="7"/>
                    </a:cxn>
                    <a:cxn ang="0">
                      <a:pos x="676" y="31"/>
                    </a:cxn>
                    <a:cxn ang="0">
                      <a:pos x="480" y="69"/>
                    </a:cxn>
                    <a:cxn ang="0">
                      <a:pos x="216" y="149"/>
                    </a:cxn>
                    <a:cxn ang="0">
                      <a:pos x="41" y="229"/>
                    </a:cxn>
                    <a:cxn ang="0">
                      <a:pos x="1" y="308"/>
                    </a:cxn>
                    <a:cxn ang="0">
                      <a:pos x="37" y="667"/>
                    </a:cxn>
                    <a:cxn ang="0">
                      <a:pos x="95" y="972"/>
                    </a:cxn>
                    <a:cxn ang="0">
                      <a:pos x="166" y="1246"/>
                    </a:cxn>
                    <a:cxn ang="0">
                      <a:pos x="265" y="1536"/>
                    </a:cxn>
                    <a:cxn ang="0">
                      <a:pos x="395" y="1833"/>
                    </a:cxn>
                    <a:cxn ang="0">
                      <a:pos x="560" y="2125"/>
                    </a:cxn>
                    <a:cxn ang="0">
                      <a:pos x="762" y="2403"/>
                    </a:cxn>
                    <a:cxn ang="0">
                      <a:pos x="1007" y="2658"/>
                    </a:cxn>
                    <a:cxn ang="0">
                      <a:pos x="1145" y="2775"/>
                    </a:cxn>
                    <a:cxn ang="0">
                      <a:pos x="1297" y="2881"/>
                    </a:cxn>
                    <a:cxn ang="0">
                      <a:pos x="1461" y="2975"/>
                    </a:cxn>
                    <a:cxn ang="0">
                      <a:pos x="1637" y="3059"/>
                    </a:cxn>
                    <a:cxn ang="0">
                      <a:pos x="1828" y="3129"/>
                    </a:cxn>
                    <a:cxn ang="0">
                      <a:pos x="2031" y="3185"/>
                    </a:cxn>
                    <a:cxn ang="0">
                      <a:pos x="2249" y="3223"/>
                    </a:cxn>
                    <a:cxn ang="0">
                      <a:pos x="2484" y="3247"/>
                    </a:cxn>
                    <a:cxn ang="0">
                      <a:pos x="2731" y="3251"/>
                    </a:cxn>
                    <a:cxn ang="0">
                      <a:pos x="2997" y="3236"/>
                    </a:cxn>
                    <a:cxn ang="0">
                      <a:pos x="3277" y="3201"/>
                    </a:cxn>
                    <a:cxn ang="0">
                      <a:pos x="3575" y="3144"/>
                    </a:cxn>
                  </a:cxnLst>
                  <a:rect l="0" t="0" r="r" b="b"/>
                  <a:pathLst>
                    <a:path w="3813" h="3251">
                      <a:moveTo>
                        <a:pt x="3729" y="3105"/>
                      </a:moveTo>
                      <a:lnTo>
                        <a:pt x="3729" y="3105"/>
                      </a:lnTo>
                      <a:lnTo>
                        <a:pt x="3744" y="3101"/>
                      </a:lnTo>
                      <a:lnTo>
                        <a:pt x="3757" y="3095"/>
                      </a:lnTo>
                      <a:lnTo>
                        <a:pt x="3768" y="3087"/>
                      </a:lnTo>
                      <a:lnTo>
                        <a:pt x="3778" y="3079"/>
                      </a:lnTo>
                      <a:lnTo>
                        <a:pt x="3787" y="3068"/>
                      </a:lnTo>
                      <a:lnTo>
                        <a:pt x="3794" y="3057"/>
                      </a:lnTo>
                      <a:lnTo>
                        <a:pt x="3800" y="3045"/>
                      </a:lnTo>
                      <a:lnTo>
                        <a:pt x="3805" y="3031"/>
                      </a:lnTo>
                      <a:lnTo>
                        <a:pt x="3809" y="3017"/>
                      </a:lnTo>
                      <a:lnTo>
                        <a:pt x="3810" y="3002"/>
                      </a:lnTo>
                      <a:lnTo>
                        <a:pt x="3812" y="2986"/>
                      </a:lnTo>
                      <a:lnTo>
                        <a:pt x="3813" y="2970"/>
                      </a:lnTo>
                      <a:lnTo>
                        <a:pt x="3812" y="2934"/>
                      </a:lnTo>
                      <a:lnTo>
                        <a:pt x="3809" y="2896"/>
                      </a:lnTo>
                      <a:lnTo>
                        <a:pt x="3803" y="2857"/>
                      </a:lnTo>
                      <a:lnTo>
                        <a:pt x="3797" y="2816"/>
                      </a:lnTo>
                      <a:lnTo>
                        <a:pt x="3781" y="2735"/>
                      </a:lnTo>
                      <a:lnTo>
                        <a:pt x="3774" y="2695"/>
                      </a:lnTo>
                      <a:lnTo>
                        <a:pt x="3768" y="2657"/>
                      </a:lnTo>
                      <a:lnTo>
                        <a:pt x="3762" y="2620"/>
                      </a:lnTo>
                      <a:lnTo>
                        <a:pt x="3759" y="2585"/>
                      </a:lnTo>
                      <a:lnTo>
                        <a:pt x="3759" y="2585"/>
                      </a:lnTo>
                      <a:lnTo>
                        <a:pt x="3756" y="2518"/>
                      </a:lnTo>
                      <a:lnTo>
                        <a:pt x="3750" y="2452"/>
                      </a:lnTo>
                      <a:lnTo>
                        <a:pt x="3744" y="2386"/>
                      </a:lnTo>
                      <a:lnTo>
                        <a:pt x="3735" y="2321"/>
                      </a:lnTo>
                      <a:lnTo>
                        <a:pt x="3725" y="2256"/>
                      </a:lnTo>
                      <a:lnTo>
                        <a:pt x="3713" y="2191"/>
                      </a:lnTo>
                      <a:lnTo>
                        <a:pt x="3700" y="2128"/>
                      </a:lnTo>
                      <a:lnTo>
                        <a:pt x="3685" y="2064"/>
                      </a:lnTo>
                      <a:lnTo>
                        <a:pt x="3669" y="2001"/>
                      </a:lnTo>
                      <a:lnTo>
                        <a:pt x="3651" y="1939"/>
                      </a:lnTo>
                      <a:lnTo>
                        <a:pt x="3632" y="1877"/>
                      </a:lnTo>
                      <a:lnTo>
                        <a:pt x="3611" y="1817"/>
                      </a:lnTo>
                      <a:lnTo>
                        <a:pt x="3589" y="1756"/>
                      </a:lnTo>
                      <a:lnTo>
                        <a:pt x="3567" y="1696"/>
                      </a:lnTo>
                      <a:lnTo>
                        <a:pt x="3542" y="1637"/>
                      </a:lnTo>
                      <a:lnTo>
                        <a:pt x="3516" y="1579"/>
                      </a:lnTo>
                      <a:lnTo>
                        <a:pt x="3489" y="1522"/>
                      </a:lnTo>
                      <a:lnTo>
                        <a:pt x="3460" y="1464"/>
                      </a:lnTo>
                      <a:lnTo>
                        <a:pt x="3430" y="1408"/>
                      </a:lnTo>
                      <a:lnTo>
                        <a:pt x="3399" y="1354"/>
                      </a:lnTo>
                      <a:lnTo>
                        <a:pt x="3365" y="1299"/>
                      </a:lnTo>
                      <a:lnTo>
                        <a:pt x="3333" y="1244"/>
                      </a:lnTo>
                      <a:lnTo>
                        <a:pt x="3297" y="1191"/>
                      </a:lnTo>
                      <a:lnTo>
                        <a:pt x="3261" y="1140"/>
                      </a:lnTo>
                      <a:lnTo>
                        <a:pt x="3224" y="1090"/>
                      </a:lnTo>
                      <a:lnTo>
                        <a:pt x="3185" y="1038"/>
                      </a:lnTo>
                      <a:lnTo>
                        <a:pt x="3146" y="989"/>
                      </a:lnTo>
                      <a:lnTo>
                        <a:pt x="3106" y="941"/>
                      </a:lnTo>
                      <a:lnTo>
                        <a:pt x="3063" y="894"/>
                      </a:lnTo>
                      <a:lnTo>
                        <a:pt x="3020" y="848"/>
                      </a:lnTo>
                      <a:lnTo>
                        <a:pt x="2978" y="802"/>
                      </a:lnTo>
                      <a:lnTo>
                        <a:pt x="2932" y="758"/>
                      </a:lnTo>
                      <a:lnTo>
                        <a:pt x="2886" y="714"/>
                      </a:lnTo>
                      <a:lnTo>
                        <a:pt x="2840" y="672"/>
                      </a:lnTo>
                      <a:lnTo>
                        <a:pt x="2792" y="631"/>
                      </a:lnTo>
                      <a:lnTo>
                        <a:pt x="2743" y="591"/>
                      </a:lnTo>
                      <a:lnTo>
                        <a:pt x="2695" y="552"/>
                      </a:lnTo>
                      <a:lnTo>
                        <a:pt x="2644" y="515"/>
                      </a:lnTo>
                      <a:lnTo>
                        <a:pt x="2593" y="478"/>
                      </a:lnTo>
                      <a:lnTo>
                        <a:pt x="2540" y="442"/>
                      </a:lnTo>
                      <a:lnTo>
                        <a:pt x="2487" y="408"/>
                      </a:lnTo>
                      <a:lnTo>
                        <a:pt x="2434" y="375"/>
                      </a:lnTo>
                      <a:lnTo>
                        <a:pt x="2379" y="344"/>
                      </a:lnTo>
                      <a:lnTo>
                        <a:pt x="2323" y="313"/>
                      </a:lnTo>
                      <a:lnTo>
                        <a:pt x="2267" y="283"/>
                      </a:lnTo>
                      <a:lnTo>
                        <a:pt x="2211" y="255"/>
                      </a:lnTo>
                      <a:lnTo>
                        <a:pt x="2153" y="229"/>
                      </a:lnTo>
                      <a:lnTo>
                        <a:pt x="2096" y="204"/>
                      </a:lnTo>
                      <a:lnTo>
                        <a:pt x="2037" y="180"/>
                      </a:lnTo>
                      <a:lnTo>
                        <a:pt x="1977" y="158"/>
                      </a:lnTo>
                      <a:lnTo>
                        <a:pt x="1918" y="137"/>
                      </a:lnTo>
                      <a:lnTo>
                        <a:pt x="1857" y="117"/>
                      </a:lnTo>
                      <a:lnTo>
                        <a:pt x="1795" y="99"/>
                      </a:lnTo>
                      <a:lnTo>
                        <a:pt x="1733" y="83"/>
                      </a:lnTo>
                      <a:lnTo>
                        <a:pt x="1671" y="66"/>
                      </a:lnTo>
                      <a:lnTo>
                        <a:pt x="1608" y="53"/>
                      </a:lnTo>
                      <a:lnTo>
                        <a:pt x="1545" y="41"/>
                      </a:lnTo>
                      <a:lnTo>
                        <a:pt x="1481" y="31"/>
                      </a:lnTo>
                      <a:lnTo>
                        <a:pt x="1418" y="22"/>
                      </a:lnTo>
                      <a:lnTo>
                        <a:pt x="1353" y="15"/>
                      </a:lnTo>
                      <a:lnTo>
                        <a:pt x="1288" y="9"/>
                      </a:lnTo>
                      <a:lnTo>
                        <a:pt x="1222" y="5"/>
                      </a:lnTo>
                      <a:lnTo>
                        <a:pt x="1157" y="2"/>
                      </a:lnTo>
                      <a:lnTo>
                        <a:pt x="1091" y="0"/>
                      </a:lnTo>
                      <a:lnTo>
                        <a:pt x="1091" y="0"/>
                      </a:lnTo>
                      <a:lnTo>
                        <a:pt x="1026" y="2"/>
                      </a:lnTo>
                      <a:lnTo>
                        <a:pt x="962" y="3"/>
                      </a:lnTo>
                      <a:lnTo>
                        <a:pt x="902" y="7"/>
                      </a:lnTo>
                      <a:lnTo>
                        <a:pt x="841" y="12"/>
                      </a:lnTo>
                      <a:lnTo>
                        <a:pt x="785" y="18"/>
                      </a:lnTo>
                      <a:lnTo>
                        <a:pt x="729" y="24"/>
                      </a:lnTo>
                      <a:lnTo>
                        <a:pt x="676" y="31"/>
                      </a:lnTo>
                      <a:lnTo>
                        <a:pt x="625" y="40"/>
                      </a:lnTo>
                      <a:lnTo>
                        <a:pt x="575" y="49"/>
                      </a:lnTo>
                      <a:lnTo>
                        <a:pt x="527" y="59"/>
                      </a:lnTo>
                      <a:lnTo>
                        <a:pt x="480" y="69"/>
                      </a:lnTo>
                      <a:lnTo>
                        <a:pt x="437" y="80"/>
                      </a:lnTo>
                      <a:lnTo>
                        <a:pt x="355" y="103"/>
                      </a:lnTo>
                      <a:lnTo>
                        <a:pt x="283" y="125"/>
                      </a:lnTo>
                      <a:lnTo>
                        <a:pt x="216" y="149"/>
                      </a:lnTo>
                      <a:lnTo>
                        <a:pt x="160" y="173"/>
                      </a:lnTo>
                      <a:lnTo>
                        <a:pt x="112" y="193"/>
                      </a:lnTo>
                      <a:lnTo>
                        <a:pt x="72" y="212"/>
                      </a:lnTo>
                      <a:lnTo>
                        <a:pt x="41" y="229"/>
                      </a:lnTo>
                      <a:lnTo>
                        <a:pt x="17" y="240"/>
                      </a:lnTo>
                      <a:lnTo>
                        <a:pt x="0" y="251"/>
                      </a:lnTo>
                      <a:lnTo>
                        <a:pt x="0" y="251"/>
                      </a:lnTo>
                      <a:lnTo>
                        <a:pt x="1" y="308"/>
                      </a:lnTo>
                      <a:lnTo>
                        <a:pt x="6" y="379"/>
                      </a:lnTo>
                      <a:lnTo>
                        <a:pt x="11" y="463"/>
                      </a:lnTo>
                      <a:lnTo>
                        <a:pt x="23" y="559"/>
                      </a:lnTo>
                      <a:lnTo>
                        <a:pt x="37" y="667"/>
                      </a:lnTo>
                      <a:lnTo>
                        <a:pt x="57" y="782"/>
                      </a:lnTo>
                      <a:lnTo>
                        <a:pt x="67" y="843"/>
                      </a:lnTo>
                      <a:lnTo>
                        <a:pt x="81" y="907"/>
                      </a:lnTo>
                      <a:lnTo>
                        <a:pt x="95" y="972"/>
                      </a:lnTo>
                      <a:lnTo>
                        <a:pt x="110" y="1038"/>
                      </a:lnTo>
                      <a:lnTo>
                        <a:pt x="128" y="1106"/>
                      </a:lnTo>
                      <a:lnTo>
                        <a:pt x="147" y="1175"/>
                      </a:lnTo>
                      <a:lnTo>
                        <a:pt x="166" y="1246"/>
                      </a:lnTo>
                      <a:lnTo>
                        <a:pt x="188" y="1318"/>
                      </a:lnTo>
                      <a:lnTo>
                        <a:pt x="212" y="1390"/>
                      </a:lnTo>
                      <a:lnTo>
                        <a:pt x="238" y="1463"/>
                      </a:lnTo>
                      <a:lnTo>
                        <a:pt x="265" y="1536"/>
                      </a:lnTo>
                      <a:lnTo>
                        <a:pt x="294" y="1610"/>
                      </a:lnTo>
                      <a:lnTo>
                        <a:pt x="327" y="1684"/>
                      </a:lnTo>
                      <a:lnTo>
                        <a:pt x="359" y="1759"/>
                      </a:lnTo>
                      <a:lnTo>
                        <a:pt x="395" y="1833"/>
                      </a:lnTo>
                      <a:lnTo>
                        <a:pt x="433" y="1906"/>
                      </a:lnTo>
                      <a:lnTo>
                        <a:pt x="473" y="1980"/>
                      </a:lnTo>
                      <a:lnTo>
                        <a:pt x="514" y="2052"/>
                      </a:lnTo>
                      <a:lnTo>
                        <a:pt x="560" y="2125"/>
                      </a:lnTo>
                      <a:lnTo>
                        <a:pt x="606" y="2197"/>
                      </a:lnTo>
                      <a:lnTo>
                        <a:pt x="656" y="2266"/>
                      </a:lnTo>
                      <a:lnTo>
                        <a:pt x="707" y="2336"/>
                      </a:lnTo>
                      <a:lnTo>
                        <a:pt x="762" y="2403"/>
                      </a:lnTo>
                      <a:lnTo>
                        <a:pt x="819" y="2470"/>
                      </a:lnTo>
                      <a:lnTo>
                        <a:pt x="878" y="2535"/>
                      </a:lnTo>
                      <a:lnTo>
                        <a:pt x="940" y="2598"/>
                      </a:lnTo>
                      <a:lnTo>
                        <a:pt x="1007" y="2658"/>
                      </a:lnTo>
                      <a:lnTo>
                        <a:pt x="1040" y="2688"/>
                      </a:lnTo>
                      <a:lnTo>
                        <a:pt x="1074" y="2717"/>
                      </a:lnTo>
                      <a:lnTo>
                        <a:pt x="1110" y="2747"/>
                      </a:lnTo>
                      <a:lnTo>
                        <a:pt x="1145" y="2775"/>
                      </a:lnTo>
                      <a:lnTo>
                        <a:pt x="1182" y="2801"/>
                      </a:lnTo>
                      <a:lnTo>
                        <a:pt x="1220" y="2829"/>
                      </a:lnTo>
                      <a:lnTo>
                        <a:pt x="1257" y="2855"/>
                      </a:lnTo>
                      <a:lnTo>
                        <a:pt x="1297" y="2881"/>
                      </a:lnTo>
                      <a:lnTo>
                        <a:pt x="1337" y="2905"/>
                      </a:lnTo>
                      <a:lnTo>
                        <a:pt x="1377" y="2930"/>
                      </a:lnTo>
                      <a:lnTo>
                        <a:pt x="1418" y="2953"/>
                      </a:lnTo>
                      <a:lnTo>
                        <a:pt x="1461" y="2975"/>
                      </a:lnTo>
                      <a:lnTo>
                        <a:pt x="1503" y="2998"/>
                      </a:lnTo>
                      <a:lnTo>
                        <a:pt x="1548" y="3018"/>
                      </a:lnTo>
                      <a:lnTo>
                        <a:pt x="1592" y="3039"/>
                      </a:lnTo>
                      <a:lnTo>
                        <a:pt x="1637" y="3059"/>
                      </a:lnTo>
                      <a:lnTo>
                        <a:pt x="1683" y="3077"/>
                      </a:lnTo>
                      <a:lnTo>
                        <a:pt x="1730" y="3095"/>
                      </a:lnTo>
                      <a:lnTo>
                        <a:pt x="1779" y="3113"/>
                      </a:lnTo>
                      <a:lnTo>
                        <a:pt x="1828" y="3129"/>
                      </a:lnTo>
                      <a:lnTo>
                        <a:pt x="1878" y="3144"/>
                      </a:lnTo>
                      <a:lnTo>
                        <a:pt x="1928" y="3158"/>
                      </a:lnTo>
                      <a:lnTo>
                        <a:pt x="1980" y="3172"/>
                      </a:lnTo>
                      <a:lnTo>
                        <a:pt x="2031" y="3185"/>
                      </a:lnTo>
                      <a:lnTo>
                        <a:pt x="2084" y="3195"/>
                      </a:lnTo>
                      <a:lnTo>
                        <a:pt x="2139" y="3205"/>
                      </a:lnTo>
                      <a:lnTo>
                        <a:pt x="2193" y="3216"/>
                      </a:lnTo>
                      <a:lnTo>
                        <a:pt x="2249" y="3223"/>
                      </a:lnTo>
                      <a:lnTo>
                        <a:pt x="2307" y="3231"/>
                      </a:lnTo>
                      <a:lnTo>
                        <a:pt x="2364" y="3238"/>
                      </a:lnTo>
                      <a:lnTo>
                        <a:pt x="2423" y="3242"/>
                      </a:lnTo>
                      <a:lnTo>
                        <a:pt x="2484" y="3247"/>
                      </a:lnTo>
                      <a:lnTo>
                        <a:pt x="2544" y="3250"/>
                      </a:lnTo>
                      <a:lnTo>
                        <a:pt x="2606" y="3251"/>
                      </a:lnTo>
                      <a:lnTo>
                        <a:pt x="2668" y="3251"/>
                      </a:lnTo>
                      <a:lnTo>
                        <a:pt x="2731" y="3251"/>
                      </a:lnTo>
                      <a:lnTo>
                        <a:pt x="2796" y="3250"/>
                      </a:lnTo>
                      <a:lnTo>
                        <a:pt x="2863" y="3247"/>
                      </a:lnTo>
                      <a:lnTo>
                        <a:pt x="2929" y="3242"/>
                      </a:lnTo>
                      <a:lnTo>
                        <a:pt x="2997" y="3236"/>
                      </a:lnTo>
                      <a:lnTo>
                        <a:pt x="3065" y="3229"/>
                      </a:lnTo>
                      <a:lnTo>
                        <a:pt x="3134" y="3220"/>
                      </a:lnTo>
                      <a:lnTo>
                        <a:pt x="3205" y="3211"/>
                      </a:lnTo>
                      <a:lnTo>
                        <a:pt x="3277" y="3201"/>
                      </a:lnTo>
                      <a:lnTo>
                        <a:pt x="3349" y="3188"/>
                      </a:lnTo>
                      <a:lnTo>
                        <a:pt x="3423" y="3174"/>
                      </a:lnTo>
                      <a:lnTo>
                        <a:pt x="3498" y="3160"/>
                      </a:lnTo>
                      <a:lnTo>
                        <a:pt x="3575" y="3144"/>
                      </a:lnTo>
                      <a:lnTo>
                        <a:pt x="3651" y="3124"/>
                      </a:lnTo>
                      <a:lnTo>
                        <a:pt x="3729" y="3105"/>
                      </a:lnTo>
                      <a:lnTo>
                        <a:pt x="3729" y="3105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accent6">
                        <a:lumMod val="60000"/>
                        <a:lumOff val="40000"/>
                      </a:schemeClr>
                    </a:gs>
                    <a:gs pos="3000">
                      <a:schemeClr val="accent6">
                        <a:lumMod val="5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Freeform 11">
                  <a:extLst>
                    <a:ext uri="{FF2B5EF4-FFF2-40B4-BE49-F238E27FC236}">
                      <a16:creationId xmlns:a16="http://schemas.microsoft.com/office/drawing/2014/main" xmlns="" id="{2DA57E79-8332-464C-94CA-6B99D1D9D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9550" y="862013"/>
                  <a:ext cx="3157538" cy="3313113"/>
                </a:xfrm>
                <a:custGeom>
                  <a:avLst/>
                  <a:gdLst/>
                  <a:ahLst/>
                  <a:cxnLst>
                    <a:cxn ang="0">
                      <a:pos x="4176" y="5653"/>
                    </a:cxn>
                    <a:cxn ang="0">
                      <a:pos x="3948" y="5836"/>
                    </a:cxn>
                    <a:cxn ang="0">
                      <a:pos x="3697" y="5989"/>
                    </a:cxn>
                    <a:cxn ang="0">
                      <a:pos x="3426" y="6110"/>
                    </a:cxn>
                    <a:cxn ang="0">
                      <a:pos x="3137" y="6199"/>
                    </a:cxn>
                    <a:cxn ang="0">
                      <a:pos x="2832" y="6249"/>
                    </a:cxn>
                    <a:cxn ang="0">
                      <a:pos x="2578" y="6262"/>
                    </a:cxn>
                    <a:cxn ang="0">
                      <a:pos x="2263" y="6243"/>
                    </a:cxn>
                    <a:cxn ang="0">
                      <a:pos x="1958" y="6184"/>
                    </a:cxn>
                    <a:cxn ang="0">
                      <a:pos x="1666" y="6091"/>
                    </a:cxn>
                    <a:cxn ang="0">
                      <a:pos x="1389" y="5964"/>
                    </a:cxn>
                    <a:cxn ang="0">
                      <a:pos x="1129" y="5806"/>
                    </a:cxn>
                    <a:cxn ang="0">
                      <a:pos x="890" y="5621"/>
                    </a:cxn>
                    <a:cxn ang="0">
                      <a:pos x="674" y="5408"/>
                    </a:cxn>
                    <a:cxn ang="0">
                      <a:pos x="484" y="5172"/>
                    </a:cxn>
                    <a:cxn ang="0">
                      <a:pos x="320" y="4916"/>
                    </a:cxn>
                    <a:cxn ang="0">
                      <a:pos x="189" y="4640"/>
                    </a:cxn>
                    <a:cxn ang="0">
                      <a:pos x="90" y="4348"/>
                    </a:cxn>
                    <a:cxn ang="0">
                      <a:pos x="25" y="4043"/>
                    </a:cxn>
                    <a:cxn ang="0">
                      <a:pos x="3" y="3791"/>
                    </a:cxn>
                    <a:cxn ang="0">
                      <a:pos x="9" y="3521"/>
                    </a:cxn>
                    <a:cxn ang="0">
                      <a:pos x="47" y="3263"/>
                    </a:cxn>
                    <a:cxn ang="0">
                      <a:pos x="113" y="3017"/>
                    </a:cxn>
                    <a:cxn ang="0">
                      <a:pos x="245" y="2686"/>
                    </a:cxn>
                    <a:cxn ang="0">
                      <a:pos x="485" y="2237"/>
                    </a:cxn>
                    <a:cxn ang="0">
                      <a:pos x="1589" y="146"/>
                    </a:cxn>
                    <a:cxn ang="0">
                      <a:pos x="1418" y="406"/>
                    </a:cxn>
                    <a:cxn ang="0">
                      <a:pos x="1277" y="684"/>
                    </a:cxn>
                    <a:cxn ang="0">
                      <a:pos x="1168" y="984"/>
                    </a:cxn>
                    <a:cxn ang="0">
                      <a:pos x="1095" y="1296"/>
                    </a:cxn>
                    <a:cxn ang="0">
                      <a:pos x="1058" y="1623"/>
                    </a:cxn>
                    <a:cxn ang="0">
                      <a:pos x="1057" y="1893"/>
                    </a:cxn>
                    <a:cxn ang="0">
                      <a:pos x="1095" y="2253"/>
                    </a:cxn>
                    <a:cxn ang="0">
                      <a:pos x="1175" y="2599"/>
                    </a:cxn>
                    <a:cxn ang="0">
                      <a:pos x="1296" y="2928"/>
                    </a:cxn>
                    <a:cxn ang="0">
                      <a:pos x="1455" y="3238"/>
                    </a:cxn>
                    <a:cxn ang="0">
                      <a:pos x="1647" y="3527"/>
                    </a:cxn>
                    <a:cxn ang="0">
                      <a:pos x="1871" y="3791"/>
                    </a:cxn>
                    <a:cxn ang="0">
                      <a:pos x="2123" y="4027"/>
                    </a:cxn>
                    <a:cxn ang="0">
                      <a:pos x="2400" y="4233"/>
                    </a:cxn>
                    <a:cxn ang="0">
                      <a:pos x="2701" y="4406"/>
                    </a:cxn>
                    <a:cxn ang="0">
                      <a:pos x="3021" y="4544"/>
                    </a:cxn>
                    <a:cxn ang="0">
                      <a:pos x="3357" y="4643"/>
                    </a:cxn>
                    <a:cxn ang="0">
                      <a:pos x="3708" y="4701"/>
                    </a:cxn>
                    <a:cxn ang="0">
                      <a:pos x="3997" y="4715"/>
                    </a:cxn>
                    <a:cxn ang="0">
                      <a:pos x="4358" y="4692"/>
                    </a:cxn>
                    <a:cxn ang="0">
                      <a:pos x="4701" y="4625"/>
                    </a:cxn>
                    <a:cxn ang="0">
                      <a:pos x="5028" y="4518"/>
                    </a:cxn>
                    <a:cxn ang="0">
                      <a:pos x="5334" y="4372"/>
                    </a:cxn>
                    <a:cxn ang="0">
                      <a:pos x="5615" y="4189"/>
                    </a:cxn>
                    <a:cxn ang="0">
                      <a:pos x="5870" y="3975"/>
                    </a:cxn>
                  </a:cxnLst>
                  <a:rect l="0" t="0" r="r" b="b"/>
                  <a:pathLst>
                    <a:path w="5965" h="6262">
                      <a:moveTo>
                        <a:pt x="4302" y="5531"/>
                      </a:moveTo>
                      <a:lnTo>
                        <a:pt x="4302" y="5531"/>
                      </a:lnTo>
                      <a:lnTo>
                        <a:pt x="4262" y="5573"/>
                      </a:lnTo>
                      <a:lnTo>
                        <a:pt x="4219" y="5613"/>
                      </a:lnTo>
                      <a:lnTo>
                        <a:pt x="4176" y="5653"/>
                      </a:lnTo>
                      <a:lnTo>
                        <a:pt x="4134" y="5693"/>
                      </a:lnTo>
                      <a:lnTo>
                        <a:pt x="4088" y="5730"/>
                      </a:lnTo>
                      <a:lnTo>
                        <a:pt x="4042" y="5767"/>
                      </a:lnTo>
                      <a:lnTo>
                        <a:pt x="3997" y="5802"/>
                      </a:lnTo>
                      <a:lnTo>
                        <a:pt x="3948" y="5836"/>
                      </a:lnTo>
                      <a:lnTo>
                        <a:pt x="3899" y="5868"/>
                      </a:lnTo>
                      <a:lnTo>
                        <a:pt x="3851" y="5901"/>
                      </a:lnTo>
                      <a:lnTo>
                        <a:pt x="3800" y="5932"/>
                      </a:lnTo>
                      <a:lnTo>
                        <a:pt x="3749" y="5961"/>
                      </a:lnTo>
                      <a:lnTo>
                        <a:pt x="3697" y="5989"/>
                      </a:lnTo>
                      <a:lnTo>
                        <a:pt x="3644" y="6016"/>
                      </a:lnTo>
                      <a:lnTo>
                        <a:pt x="3591" y="6041"/>
                      </a:lnTo>
                      <a:lnTo>
                        <a:pt x="3537" y="6066"/>
                      </a:lnTo>
                      <a:lnTo>
                        <a:pt x="3482" y="6089"/>
                      </a:lnTo>
                      <a:lnTo>
                        <a:pt x="3426" y="6110"/>
                      </a:lnTo>
                      <a:lnTo>
                        <a:pt x="3370" y="6131"/>
                      </a:lnTo>
                      <a:lnTo>
                        <a:pt x="3313" y="6150"/>
                      </a:lnTo>
                      <a:lnTo>
                        <a:pt x="3255" y="6168"/>
                      </a:lnTo>
                      <a:lnTo>
                        <a:pt x="3196" y="6184"/>
                      </a:lnTo>
                      <a:lnTo>
                        <a:pt x="3137" y="6199"/>
                      </a:lnTo>
                      <a:lnTo>
                        <a:pt x="3077" y="6212"/>
                      </a:lnTo>
                      <a:lnTo>
                        <a:pt x="3016" y="6224"/>
                      </a:lnTo>
                      <a:lnTo>
                        <a:pt x="2956" y="6234"/>
                      </a:lnTo>
                      <a:lnTo>
                        <a:pt x="2894" y="6241"/>
                      </a:lnTo>
                      <a:lnTo>
                        <a:pt x="2832" y="6249"/>
                      </a:lnTo>
                      <a:lnTo>
                        <a:pt x="2770" y="6255"/>
                      </a:lnTo>
                      <a:lnTo>
                        <a:pt x="2707" y="6259"/>
                      </a:lnTo>
                      <a:lnTo>
                        <a:pt x="2643" y="6260"/>
                      </a:lnTo>
                      <a:lnTo>
                        <a:pt x="2578" y="6262"/>
                      </a:lnTo>
                      <a:lnTo>
                        <a:pt x="2578" y="6262"/>
                      </a:lnTo>
                      <a:lnTo>
                        <a:pt x="2515" y="6260"/>
                      </a:lnTo>
                      <a:lnTo>
                        <a:pt x="2452" y="6259"/>
                      </a:lnTo>
                      <a:lnTo>
                        <a:pt x="2388" y="6255"/>
                      </a:lnTo>
                      <a:lnTo>
                        <a:pt x="2325" y="6249"/>
                      </a:lnTo>
                      <a:lnTo>
                        <a:pt x="2263" y="6243"/>
                      </a:lnTo>
                      <a:lnTo>
                        <a:pt x="2201" y="6234"/>
                      </a:lnTo>
                      <a:lnTo>
                        <a:pt x="2139" y="6224"/>
                      </a:lnTo>
                      <a:lnTo>
                        <a:pt x="2079" y="6212"/>
                      </a:lnTo>
                      <a:lnTo>
                        <a:pt x="2018" y="6199"/>
                      </a:lnTo>
                      <a:lnTo>
                        <a:pt x="1958" y="6184"/>
                      </a:lnTo>
                      <a:lnTo>
                        <a:pt x="1899" y="6168"/>
                      </a:lnTo>
                      <a:lnTo>
                        <a:pt x="1838" y="6151"/>
                      </a:lnTo>
                      <a:lnTo>
                        <a:pt x="1781" y="6132"/>
                      </a:lnTo>
                      <a:lnTo>
                        <a:pt x="1722" y="6112"/>
                      </a:lnTo>
                      <a:lnTo>
                        <a:pt x="1666" y="6091"/>
                      </a:lnTo>
                      <a:lnTo>
                        <a:pt x="1608" y="6067"/>
                      </a:lnTo>
                      <a:lnTo>
                        <a:pt x="1552" y="6044"/>
                      </a:lnTo>
                      <a:lnTo>
                        <a:pt x="1496" y="6019"/>
                      </a:lnTo>
                      <a:lnTo>
                        <a:pt x="1442" y="5992"/>
                      </a:lnTo>
                      <a:lnTo>
                        <a:pt x="1389" y="5964"/>
                      </a:lnTo>
                      <a:lnTo>
                        <a:pt x="1334" y="5935"/>
                      </a:lnTo>
                      <a:lnTo>
                        <a:pt x="1283" y="5904"/>
                      </a:lnTo>
                      <a:lnTo>
                        <a:pt x="1229" y="5873"/>
                      </a:lnTo>
                      <a:lnTo>
                        <a:pt x="1179" y="5840"/>
                      </a:lnTo>
                      <a:lnTo>
                        <a:pt x="1129" y="5806"/>
                      </a:lnTo>
                      <a:lnTo>
                        <a:pt x="1079" y="5771"/>
                      </a:lnTo>
                      <a:lnTo>
                        <a:pt x="1030" y="5734"/>
                      </a:lnTo>
                      <a:lnTo>
                        <a:pt x="983" y="5697"/>
                      </a:lnTo>
                      <a:lnTo>
                        <a:pt x="936" y="5659"/>
                      </a:lnTo>
                      <a:lnTo>
                        <a:pt x="890" y="5621"/>
                      </a:lnTo>
                      <a:lnTo>
                        <a:pt x="845" y="5579"/>
                      </a:lnTo>
                      <a:lnTo>
                        <a:pt x="800" y="5538"/>
                      </a:lnTo>
                      <a:lnTo>
                        <a:pt x="758" y="5495"/>
                      </a:lnTo>
                      <a:lnTo>
                        <a:pt x="715" y="5452"/>
                      </a:lnTo>
                      <a:lnTo>
                        <a:pt x="674" y="5408"/>
                      </a:lnTo>
                      <a:lnTo>
                        <a:pt x="634" y="5363"/>
                      </a:lnTo>
                      <a:lnTo>
                        <a:pt x="594" y="5317"/>
                      </a:lnTo>
                      <a:lnTo>
                        <a:pt x="556" y="5270"/>
                      </a:lnTo>
                      <a:lnTo>
                        <a:pt x="519" y="5221"/>
                      </a:lnTo>
                      <a:lnTo>
                        <a:pt x="484" y="5172"/>
                      </a:lnTo>
                      <a:lnTo>
                        <a:pt x="448" y="5122"/>
                      </a:lnTo>
                      <a:lnTo>
                        <a:pt x="414" y="5072"/>
                      </a:lnTo>
                      <a:lnTo>
                        <a:pt x="382" y="5020"/>
                      </a:lnTo>
                      <a:lnTo>
                        <a:pt x="351" y="4969"/>
                      </a:lnTo>
                      <a:lnTo>
                        <a:pt x="320" y="4916"/>
                      </a:lnTo>
                      <a:lnTo>
                        <a:pt x="292" y="4861"/>
                      </a:lnTo>
                      <a:lnTo>
                        <a:pt x="264" y="4808"/>
                      </a:lnTo>
                      <a:lnTo>
                        <a:pt x="237" y="4752"/>
                      </a:lnTo>
                      <a:lnTo>
                        <a:pt x="212" y="4696"/>
                      </a:lnTo>
                      <a:lnTo>
                        <a:pt x="189" y="4640"/>
                      </a:lnTo>
                      <a:lnTo>
                        <a:pt x="165" y="4583"/>
                      </a:lnTo>
                      <a:lnTo>
                        <a:pt x="144" y="4525"/>
                      </a:lnTo>
                      <a:lnTo>
                        <a:pt x="125" y="4468"/>
                      </a:lnTo>
                      <a:lnTo>
                        <a:pt x="106" y="4409"/>
                      </a:lnTo>
                      <a:lnTo>
                        <a:pt x="90" y="4348"/>
                      </a:lnTo>
                      <a:lnTo>
                        <a:pt x="74" y="4289"/>
                      </a:lnTo>
                      <a:lnTo>
                        <a:pt x="59" y="4227"/>
                      </a:lnTo>
                      <a:lnTo>
                        <a:pt x="47" y="4167"/>
                      </a:lnTo>
                      <a:lnTo>
                        <a:pt x="35" y="4105"/>
                      </a:lnTo>
                      <a:lnTo>
                        <a:pt x="25" y="4043"/>
                      </a:lnTo>
                      <a:lnTo>
                        <a:pt x="18" y="3981"/>
                      </a:lnTo>
                      <a:lnTo>
                        <a:pt x="10" y="3918"/>
                      </a:lnTo>
                      <a:lnTo>
                        <a:pt x="6" y="3854"/>
                      </a:lnTo>
                      <a:lnTo>
                        <a:pt x="3" y="3791"/>
                      </a:lnTo>
                      <a:lnTo>
                        <a:pt x="3" y="3791"/>
                      </a:lnTo>
                      <a:lnTo>
                        <a:pt x="0" y="3735"/>
                      </a:lnTo>
                      <a:lnTo>
                        <a:pt x="0" y="3682"/>
                      </a:lnTo>
                      <a:lnTo>
                        <a:pt x="1" y="3627"/>
                      </a:lnTo>
                      <a:lnTo>
                        <a:pt x="4" y="3574"/>
                      </a:lnTo>
                      <a:lnTo>
                        <a:pt x="9" y="3521"/>
                      </a:lnTo>
                      <a:lnTo>
                        <a:pt x="13" y="3468"/>
                      </a:lnTo>
                      <a:lnTo>
                        <a:pt x="21" y="3416"/>
                      </a:lnTo>
                      <a:lnTo>
                        <a:pt x="28" y="3365"/>
                      </a:lnTo>
                      <a:lnTo>
                        <a:pt x="37" y="3315"/>
                      </a:lnTo>
                      <a:lnTo>
                        <a:pt x="47" y="3263"/>
                      </a:lnTo>
                      <a:lnTo>
                        <a:pt x="59" y="3213"/>
                      </a:lnTo>
                      <a:lnTo>
                        <a:pt x="71" y="3164"/>
                      </a:lnTo>
                      <a:lnTo>
                        <a:pt x="84" y="3114"/>
                      </a:lnTo>
                      <a:lnTo>
                        <a:pt x="99" y="3065"/>
                      </a:lnTo>
                      <a:lnTo>
                        <a:pt x="113" y="3017"/>
                      </a:lnTo>
                      <a:lnTo>
                        <a:pt x="130" y="2968"/>
                      </a:lnTo>
                      <a:lnTo>
                        <a:pt x="147" y="2921"/>
                      </a:lnTo>
                      <a:lnTo>
                        <a:pt x="165" y="2874"/>
                      </a:lnTo>
                      <a:lnTo>
                        <a:pt x="203" y="2779"/>
                      </a:lnTo>
                      <a:lnTo>
                        <a:pt x="245" y="2686"/>
                      </a:lnTo>
                      <a:lnTo>
                        <a:pt x="289" y="2594"/>
                      </a:lnTo>
                      <a:lnTo>
                        <a:pt x="335" y="2504"/>
                      </a:lnTo>
                      <a:lnTo>
                        <a:pt x="383" y="2414"/>
                      </a:lnTo>
                      <a:lnTo>
                        <a:pt x="433" y="2325"/>
                      </a:lnTo>
                      <a:lnTo>
                        <a:pt x="485" y="2237"/>
                      </a:lnTo>
                      <a:lnTo>
                        <a:pt x="1706" y="0"/>
                      </a:lnTo>
                      <a:lnTo>
                        <a:pt x="1706" y="0"/>
                      </a:lnTo>
                      <a:lnTo>
                        <a:pt x="1666" y="47"/>
                      </a:lnTo>
                      <a:lnTo>
                        <a:pt x="1627" y="96"/>
                      </a:lnTo>
                      <a:lnTo>
                        <a:pt x="1589" y="146"/>
                      </a:lnTo>
                      <a:lnTo>
                        <a:pt x="1552" y="196"/>
                      </a:lnTo>
                      <a:lnTo>
                        <a:pt x="1517" y="246"/>
                      </a:lnTo>
                      <a:lnTo>
                        <a:pt x="1483" y="299"/>
                      </a:lnTo>
                      <a:lnTo>
                        <a:pt x="1449" y="351"/>
                      </a:lnTo>
                      <a:lnTo>
                        <a:pt x="1418" y="406"/>
                      </a:lnTo>
                      <a:lnTo>
                        <a:pt x="1387" y="460"/>
                      </a:lnTo>
                      <a:lnTo>
                        <a:pt x="1358" y="515"/>
                      </a:lnTo>
                      <a:lnTo>
                        <a:pt x="1330" y="571"/>
                      </a:lnTo>
                      <a:lnTo>
                        <a:pt x="1302" y="627"/>
                      </a:lnTo>
                      <a:lnTo>
                        <a:pt x="1277" y="684"/>
                      </a:lnTo>
                      <a:lnTo>
                        <a:pt x="1252" y="743"/>
                      </a:lnTo>
                      <a:lnTo>
                        <a:pt x="1229" y="802"/>
                      </a:lnTo>
                      <a:lnTo>
                        <a:pt x="1207" y="861"/>
                      </a:lnTo>
                      <a:lnTo>
                        <a:pt x="1187" y="922"/>
                      </a:lnTo>
                      <a:lnTo>
                        <a:pt x="1168" y="984"/>
                      </a:lnTo>
                      <a:lnTo>
                        <a:pt x="1151" y="1044"/>
                      </a:lnTo>
                      <a:lnTo>
                        <a:pt x="1135" y="1106"/>
                      </a:lnTo>
                      <a:lnTo>
                        <a:pt x="1120" y="1169"/>
                      </a:lnTo>
                      <a:lnTo>
                        <a:pt x="1107" y="1233"/>
                      </a:lnTo>
                      <a:lnTo>
                        <a:pt x="1095" y="1296"/>
                      </a:lnTo>
                      <a:lnTo>
                        <a:pt x="1084" y="1361"/>
                      </a:lnTo>
                      <a:lnTo>
                        <a:pt x="1075" y="1426"/>
                      </a:lnTo>
                      <a:lnTo>
                        <a:pt x="1067" y="1492"/>
                      </a:lnTo>
                      <a:lnTo>
                        <a:pt x="1063" y="1557"/>
                      </a:lnTo>
                      <a:lnTo>
                        <a:pt x="1058" y="1623"/>
                      </a:lnTo>
                      <a:lnTo>
                        <a:pt x="1056" y="1691"/>
                      </a:lnTo>
                      <a:lnTo>
                        <a:pt x="1054" y="1758"/>
                      </a:lnTo>
                      <a:lnTo>
                        <a:pt x="1054" y="1825"/>
                      </a:lnTo>
                      <a:lnTo>
                        <a:pt x="1057" y="1893"/>
                      </a:lnTo>
                      <a:lnTo>
                        <a:pt x="1057" y="1893"/>
                      </a:lnTo>
                      <a:lnTo>
                        <a:pt x="1061" y="1967"/>
                      </a:lnTo>
                      <a:lnTo>
                        <a:pt x="1066" y="2039"/>
                      </a:lnTo>
                      <a:lnTo>
                        <a:pt x="1075" y="2111"/>
                      </a:lnTo>
                      <a:lnTo>
                        <a:pt x="1084" y="2182"/>
                      </a:lnTo>
                      <a:lnTo>
                        <a:pt x="1095" y="2253"/>
                      </a:lnTo>
                      <a:lnTo>
                        <a:pt x="1107" y="2324"/>
                      </a:lnTo>
                      <a:lnTo>
                        <a:pt x="1122" y="2393"/>
                      </a:lnTo>
                      <a:lnTo>
                        <a:pt x="1138" y="2462"/>
                      </a:lnTo>
                      <a:lnTo>
                        <a:pt x="1156" y="2532"/>
                      </a:lnTo>
                      <a:lnTo>
                        <a:pt x="1175" y="2599"/>
                      </a:lnTo>
                      <a:lnTo>
                        <a:pt x="1197" y="2666"/>
                      </a:lnTo>
                      <a:lnTo>
                        <a:pt x="1219" y="2732"/>
                      </a:lnTo>
                      <a:lnTo>
                        <a:pt x="1243" y="2799"/>
                      </a:lnTo>
                      <a:lnTo>
                        <a:pt x="1269" y="2863"/>
                      </a:lnTo>
                      <a:lnTo>
                        <a:pt x="1296" y="2928"/>
                      </a:lnTo>
                      <a:lnTo>
                        <a:pt x="1325" y="2992"/>
                      </a:lnTo>
                      <a:lnTo>
                        <a:pt x="1355" y="3055"/>
                      </a:lnTo>
                      <a:lnTo>
                        <a:pt x="1387" y="3117"/>
                      </a:lnTo>
                      <a:lnTo>
                        <a:pt x="1420" y="3179"/>
                      </a:lnTo>
                      <a:lnTo>
                        <a:pt x="1455" y="3238"/>
                      </a:lnTo>
                      <a:lnTo>
                        <a:pt x="1490" y="3298"/>
                      </a:lnTo>
                      <a:lnTo>
                        <a:pt x="1527" y="3357"/>
                      </a:lnTo>
                      <a:lnTo>
                        <a:pt x="1566" y="3415"/>
                      </a:lnTo>
                      <a:lnTo>
                        <a:pt x="1605" y="3471"/>
                      </a:lnTo>
                      <a:lnTo>
                        <a:pt x="1647" y="3527"/>
                      </a:lnTo>
                      <a:lnTo>
                        <a:pt x="1689" y="3581"/>
                      </a:lnTo>
                      <a:lnTo>
                        <a:pt x="1732" y="3636"/>
                      </a:lnTo>
                      <a:lnTo>
                        <a:pt x="1776" y="3689"/>
                      </a:lnTo>
                      <a:lnTo>
                        <a:pt x="1824" y="3741"/>
                      </a:lnTo>
                      <a:lnTo>
                        <a:pt x="1871" y="3791"/>
                      </a:lnTo>
                      <a:lnTo>
                        <a:pt x="1918" y="3841"/>
                      </a:lnTo>
                      <a:lnTo>
                        <a:pt x="1968" y="3888"/>
                      </a:lnTo>
                      <a:lnTo>
                        <a:pt x="2018" y="3935"/>
                      </a:lnTo>
                      <a:lnTo>
                        <a:pt x="2070" y="3982"/>
                      </a:lnTo>
                      <a:lnTo>
                        <a:pt x="2123" y="4027"/>
                      </a:lnTo>
                      <a:lnTo>
                        <a:pt x="2176" y="4071"/>
                      </a:lnTo>
                      <a:lnTo>
                        <a:pt x="2230" y="4114"/>
                      </a:lnTo>
                      <a:lnTo>
                        <a:pt x="2286" y="4155"/>
                      </a:lnTo>
                      <a:lnTo>
                        <a:pt x="2342" y="4195"/>
                      </a:lnTo>
                      <a:lnTo>
                        <a:pt x="2400" y="4233"/>
                      </a:lnTo>
                      <a:lnTo>
                        <a:pt x="2457" y="4270"/>
                      </a:lnTo>
                      <a:lnTo>
                        <a:pt x="2518" y="4307"/>
                      </a:lnTo>
                      <a:lnTo>
                        <a:pt x="2577" y="4341"/>
                      </a:lnTo>
                      <a:lnTo>
                        <a:pt x="2639" y="4375"/>
                      </a:lnTo>
                      <a:lnTo>
                        <a:pt x="2701" y="4406"/>
                      </a:lnTo>
                      <a:lnTo>
                        <a:pt x="2763" y="4437"/>
                      </a:lnTo>
                      <a:lnTo>
                        <a:pt x="2826" y="4466"/>
                      </a:lnTo>
                      <a:lnTo>
                        <a:pt x="2889" y="4493"/>
                      </a:lnTo>
                      <a:lnTo>
                        <a:pt x="2954" y="4519"/>
                      </a:lnTo>
                      <a:lnTo>
                        <a:pt x="3021" y="4544"/>
                      </a:lnTo>
                      <a:lnTo>
                        <a:pt x="3087" y="4566"/>
                      </a:lnTo>
                      <a:lnTo>
                        <a:pt x="3153" y="4588"/>
                      </a:lnTo>
                      <a:lnTo>
                        <a:pt x="3221" y="4608"/>
                      </a:lnTo>
                      <a:lnTo>
                        <a:pt x="3289" y="4627"/>
                      </a:lnTo>
                      <a:lnTo>
                        <a:pt x="3357" y="4643"/>
                      </a:lnTo>
                      <a:lnTo>
                        <a:pt x="3426" y="4658"/>
                      </a:lnTo>
                      <a:lnTo>
                        <a:pt x="3497" y="4671"/>
                      </a:lnTo>
                      <a:lnTo>
                        <a:pt x="3566" y="4683"/>
                      </a:lnTo>
                      <a:lnTo>
                        <a:pt x="3637" y="4692"/>
                      </a:lnTo>
                      <a:lnTo>
                        <a:pt x="3708" y="4701"/>
                      </a:lnTo>
                      <a:lnTo>
                        <a:pt x="3780" y="4706"/>
                      </a:lnTo>
                      <a:lnTo>
                        <a:pt x="3852" y="4711"/>
                      </a:lnTo>
                      <a:lnTo>
                        <a:pt x="3924" y="4714"/>
                      </a:lnTo>
                      <a:lnTo>
                        <a:pt x="3997" y="4715"/>
                      </a:lnTo>
                      <a:lnTo>
                        <a:pt x="3997" y="4715"/>
                      </a:lnTo>
                      <a:lnTo>
                        <a:pt x="4070" y="4714"/>
                      </a:lnTo>
                      <a:lnTo>
                        <a:pt x="4142" y="4711"/>
                      </a:lnTo>
                      <a:lnTo>
                        <a:pt x="4215" y="4706"/>
                      </a:lnTo>
                      <a:lnTo>
                        <a:pt x="4287" y="4701"/>
                      </a:lnTo>
                      <a:lnTo>
                        <a:pt x="4358" y="4692"/>
                      </a:lnTo>
                      <a:lnTo>
                        <a:pt x="4427" y="4683"/>
                      </a:lnTo>
                      <a:lnTo>
                        <a:pt x="4498" y="4671"/>
                      </a:lnTo>
                      <a:lnTo>
                        <a:pt x="4566" y="4658"/>
                      </a:lnTo>
                      <a:lnTo>
                        <a:pt x="4635" y="4642"/>
                      </a:lnTo>
                      <a:lnTo>
                        <a:pt x="4701" y="4625"/>
                      </a:lnTo>
                      <a:lnTo>
                        <a:pt x="4769" y="4606"/>
                      </a:lnTo>
                      <a:lnTo>
                        <a:pt x="4835" y="4587"/>
                      </a:lnTo>
                      <a:lnTo>
                        <a:pt x="4900" y="4565"/>
                      </a:lnTo>
                      <a:lnTo>
                        <a:pt x="4965" y="4543"/>
                      </a:lnTo>
                      <a:lnTo>
                        <a:pt x="5028" y="4518"/>
                      </a:lnTo>
                      <a:lnTo>
                        <a:pt x="5090" y="4491"/>
                      </a:lnTo>
                      <a:lnTo>
                        <a:pt x="5152" y="4463"/>
                      </a:lnTo>
                      <a:lnTo>
                        <a:pt x="5214" y="4434"/>
                      </a:lnTo>
                      <a:lnTo>
                        <a:pt x="5275" y="4403"/>
                      </a:lnTo>
                      <a:lnTo>
                        <a:pt x="5334" y="4372"/>
                      </a:lnTo>
                      <a:lnTo>
                        <a:pt x="5391" y="4338"/>
                      </a:lnTo>
                      <a:lnTo>
                        <a:pt x="5449" y="4302"/>
                      </a:lnTo>
                      <a:lnTo>
                        <a:pt x="5505" y="4266"/>
                      </a:lnTo>
                      <a:lnTo>
                        <a:pt x="5561" y="4229"/>
                      </a:lnTo>
                      <a:lnTo>
                        <a:pt x="5615" y="4189"/>
                      </a:lnTo>
                      <a:lnTo>
                        <a:pt x="5668" y="4149"/>
                      </a:lnTo>
                      <a:lnTo>
                        <a:pt x="5720" y="4108"/>
                      </a:lnTo>
                      <a:lnTo>
                        <a:pt x="5772" y="4065"/>
                      </a:lnTo>
                      <a:lnTo>
                        <a:pt x="5822" y="4021"/>
                      </a:lnTo>
                      <a:lnTo>
                        <a:pt x="5870" y="3975"/>
                      </a:lnTo>
                      <a:lnTo>
                        <a:pt x="5917" y="3928"/>
                      </a:lnTo>
                      <a:lnTo>
                        <a:pt x="5965" y="3881"/>
                      </a:lnTo>
                      <a:lnTo>
                        <a:pt x="4302" y="5531"/>
                      </a:lnTo>
                      <a:close/>
                    </a:path>
                  </a:pathLst>
                </a:custGeom>
                <a:gradFill flip="none" rotWithShape="1">
                  <a:gsLst>
                    <a:gs pos="66000">
                      <a:schemeClr val="accent6">
                        <a:lumMod val="60000"/>
                        <a:lumOff val="40000"/>
                      </a:schemeClr>
                    </a:gs>
                    <a:gs pos="30000">
                      <a:schemeClr val="accent6">
                        <a:lumMod val="50000"/>
                      </a:schemeClr>
                    </a:gs>
                    <a:gs pos="57000">
                      <a:schemeClr val="accent6">
                        <a:lumMod val="75000"/>
                      </a:schemeClr>
                    </a:gs>
                    <a:gs pos="96000">
                      <a:schemeClr val="accent6">
                        <a:lumMod val="40000"/>
                        <a:lumOff val="60000"/>
                      </a:schemeClr>
                    </a:gs>
                  </a:gsLst>
                  <a:lin ang="13260000" scaled="0"/>
                  <a:tileRect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2" name="Freeform 12">
                  <a:extLst>
                    <a:ext uri="{FF2B5EF4-FFF2-40B4-BE49-F238E27FC236}">
                      <a16:creationId xmlns:a16="http://schemas.microsoft.com/office/drawing/2014/main" xmlns="" id="{A6B4928A-CD10-384B-9B2B-DBEEBF5156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5062" y="407988"/>
                  <a:ext cx="2586038" cy="2505075"/>
                </a:xfrm>
                <a:custGeom>
                  <a:avLst/>
                  <a:gdLst/>
                  <a:ahLst/>
                  <a:cxnLst>
                    <a:cxn ang="0">
                      <a:pos x="372" y="914"/>
                    </a:cxn>
                    <a:cxn ang="0">
                      <a:pos x="605" y="734"/>
                    </a:cxn>
                    <a:cxn ang="0">
                      <a:pos x="857" y="586"/>
                    </a:cxn>
                    <a:cxn ang="0">
                      <a:pos x="1125" y="471"/>
                    </a:cxn>
                    <a:cxn ang="0">
                      <a:pos x="1407" y="389"/>
                    </a:cxn>
                    <a:cxn ang="0">
                      <a:pos x="1702" y="343"/>
                    </a:cxn>
                    <a:cxn ang="0">
                      <a:pos x="1943" y="331"/>
                    </a:cxn>
                    <a:cxn ang="0">
                      <a:pos x="2263" y="351"/>
                    </a:cxn>
                    <a:cxn ang="0">
                      <a:pos x="2573" y="410"/>
                    </a:cxn>
                    <a:cxn ang="0">
                      <a:pos x="2868" y="505"/>
                    </a:cxn>
                    <a:cxn ang="0">
                      <a:pos x="3149" y="634"/>
                    </a:cxn>
                    <a:cxn ang="0">
                      <a:pos x="3412" y="793"/>
                    </a:cxn>
                    <a:cxn ang="0">
                      <a:pos x="3653" y="982"/>
                    </a:cxn>
                    <a:cxn ang="0">
                      <a:pos x="3873" y="1197"/>
                    </a:cxn>
                    <a:cxn ang="0">
                      <a:pos x="4066" y="1436"/>
                    </a:cxn>
                    <a:cxn ang="0">
                      <a:pos x="4231" y="1695"/>
                    </a:cxn>
                    <a:cxn ang="0">
                      <a:pos x="4364" y="1974"/>
                    </a:cxn>
                    <a:cxn ang="0">
                      <a:pos x="4466" y="2270"/>
                    </a:cxn>
                    <a:cxn ang="0">
                      <a:pos x="4529" y="2578"/>
                    </a:cxn>
                    <a:cxn ang="0">
                      <a:pos x="4553" y="2835"/>
                    </a:cxn>
                    <a:cxn ang="0">
                      <a:pos x="4548" y="3125"/>
                    </a:cxn>
                    <a:cxn ang="0">
                      <a:pos x="4511" y="3408"/>
                    </a:cxn>
                    <a:cxn ang="0">
                      <a:pos x="4442" y="3683"/>
                    </a:cxn>
                    <a:cxn ang="0">
                      <a:pos x="4340" y="3944"/>
                    </a:cxn>
                    <a:cxn ang="0">
                      <a:pos x="4208" y="4191"/>
                    </a:cxn>
                    <a:cxn ang="0">
                      <a:pos x="4046" y="4423"/>
                    </a:cxn>
                    <a:cxn ang="0">
                      <a:pos x="4256" y="4688"/>
                    </a:cxn>
                    <a:cxn ang="0">
                      <a:pos x="4445" y="4436"/>
                    </a:cxn>
                    <a:cxn ang="0">
                      <a:pos x="4603" y="4162"/>
                    </a:cxn>
                    <a:cxn ang="0">
                      <a:pos x="4728" y="3867"/>
                    </a:cxn>
                    <a:cxn ang="0">
                      <a:pos x="4819" y="3556"/>
                    </a:cxn>
                    <a:cxn ang="0">
                      <a:pos x="4873" y="3229"/>
                    </a:cxn>
                    <a:cxn ang="0">
                      <a:pos x="4887" y="2889"/>
                    </a:cxn>
                    <a:cxn ang="0">
                      <a:pos x="4867" y="2603"/>
                    </a:cxn>
                    <a:cxn ang="0">
                      <a:pos x="4803" y="2251"/>
                    </a:cxn>
                    <a:cxn ang="0">
                      <a:pos x="4699" y="1915"/>
                    </a:cxn>
                    <a:cxn ang="0">
                      <a:pos x="4554" y="1598"/>
                    </a:cxn>
                    <a:cxn ang="0">
                      <a:pos x="4376" y="1300"/>
                    </a:cxn>
                    <a:cxn ang="0">
                      <a:pos x="4165" y="1026"/>
                    </a:cxn>
                    <a:cxn ang="0">
                      <a:pos x="3923" y="778"/>
                    </a:cxn>
                    <a:cxn ang="0">
                      <a:pos x="3655" y="560"/>
                    </a:cxn>
                    <a:cxn ang="0">
                      <a:pos x="3364" y="373"/>
                    </a:cxn>
                    <a:cxn ang="0">
                      <a:pos x="3052" y="221"/>
                    </a:cxn>
                    <a:cxn ang="0">
                      <a:pos x="2720" y="106"/>
                    </a:cxn>
                    <a:cxn ang="0">
                      <a:pos x="2375" y="32"/>
                    </a:cxn>
                    <a:cxn ang="0">
                      <a:pos x="2017" y="0"/>
                    </a:cxn>
                    <a:cxn ang="0">
                      <a:pos x="1730" y="7"/>
                    </a:cxn>
                    <a:cxn ang="0">
                      <a:pos x="1383" y="56"/>
                    </a:cxn>
                    <a:cxn ang="0">
                      <a:pos x="1054" y="144"/>
                    </a:cxn>
                    <a:cxn ang="0">
                      <a:pos x="745" y="272"/>
                    </a:cxn>
                    <a:cxn ang="0">
                      <a:pos x="456" y="435"/>
                    </a:cxn>
                    <a:cxn ang="0">
                      <a:pos x="192" y="631"/>
                    </a:cxn>
                    <a:cxn ang="0">
                      <a:pos x="244" y="1036"/>
                    </a:cxn>
                  </a:cxnLst>
                  <a:rect l="0" t="0" r="r" b="b"/>
                  <a:pathLst>
                    <a:path w="4887" h="4735">
                      <a:moveTo>
                        <a:pt x="244" y="1036"/>
                      </a:moveTo>
                      <a:lnTo>
                        <a:pt x="244" y="1036"/>
                      </a:lnTo>
                      <a:lnTo>
                        <a:pt x="285" y="993"/>
                      </a:lnTo>
                      <a:lnTo>
                        <a:pt x="329" y="954"/>
                      </a:lnTo>
                      <a:lnTo>
                        <a:pt x="372" y="914"/>
                      </a:lnTo>
                      <a:lnTo>
                        <a:pt x="417" y="875"/>
                      </a:lnTo>
                      <a:lnTo>
                        <a:pt x="463" y="837"/>
                      </a:lnTo>
                      <a:lnTo>
                        <a:pt x="509" y="802"/>
                      </a:lnTo>
                      <a:lnTo>
                        <a:pt x="556" y="768"/>
                      </a:lnTo>
                      <a:lnTo>
                        <a:pt x="605" y="734"/>
                      </a:lnTo>
                      <a:lnTo>
                        <a:pt x="653" y="701"/>
                      </a:lnTo>
                      <a:lnTo>
                        <a:pt x="703" y="670"/>
                      </a:lnTo>
                      <a:lnTo>
                        <a:pt x="754" y="641"/>
                      </a:lnTo>
                      <a:lnTo>
                        <a:pt x="805" y="613"/>
                      </a:lnTo>
                      <a:lnTo>
                        <a:pt x="857" y="586"/>
                      </a:lnTo>
                      <a:lnTo>
                        <a:pt x="908" y="560"/>
                      </a:lnTo>
                      <a:lnTo>
                        <a:pt x="961" y="536"/>
                      </a:lnTo>
                      <a:lnTo>
                        <a:pt x="1016" y="513"/>
                      </a:lnTo>
                      <a:lnTo>
                        <a:pt x="1071" y="491"/>
                      </a:lnTo>
                      <a:lnTo>
                        <a:pt x="1125" y="471"/>
                      </a:lnTo>
                      <a:lnTo>
                        <a:pt x="1180" y="452"/>
                      </a:lnTo>
                      <a:lnTo>
                        <a:pt x="1236" y="435"/>
                      </a:lnTo>
                      <a:lnTo>
                        <a:pt x="1293" y="418"/>
                      </a:lnTo>
                      <a:lnTo>
                        <a:pt x="1349" y="402"/>
                      </a:lnTo>
                      <a:lnTo>
                        <a:pt x="1407" y="389"/>
                      </a:lnTo>
                      <a:lnTo>
                        <a:pt x="1466" y="377"/>
                      </a:lnTo>
                      <a:lnTo>
                        <a:pt x="1523" y="367"/>
                      </a:lnTo>
                      <a:lnTo>
                        <a:pt x="1582" y="356"/>
                      </a:lnTo>
                      <a:lnTo>
                        <a:pt x="1643" y="349"/>
                      </a:lnTo>
                      <a:lnTo>
                        <a:pt x="1702" y="343"/>
                      </a:lnTo>
                      <a:lnTo>
                        <a:pt x="1762" y="337"/>
                      </a:lnTo>
                      <a:lnTo>
                        <a:pt x="1822" y="334"/>
                      </a:lnTo>
                      <a:lnTo>
                        <a:pt x="1883" y="331"/>
                      </a:lnTo>
                      <a:lnTo>
                        <a:pt x="1943" y="331"/>
                      </a:lnTo>
                      <a:lnTo>
                        <a:pt x="1943" y="331"/>
                      </a:lnTo>
                      <a:lnTo>
                        <a:pt x="2008" y="331"/>
                      </a:lnTo>
                      <a:lnTo>
                        <a:pt x="2073" y="334"/>
                      </a:lnTo>
                      <a:lnTo>
                        <a:pt x="2136" y="339"/>
                      </a:lnTo>
                      <a:lnTo>
                        <a:pt x="2200" y="345"/>
                      </a:lnTo>
                      <a:lnTo>
                        <a:pt x="2263" y="351"/>
                      </a:lnTo>
                      <a:lnTo>
                        <a:pt x="2327" y="359"/>
                      </a:lnTo>
                      <a:lnTo>
                        <a:pt x="2388" y="370"/>
                      </a:lnTo>
                      <a:lnTo>
                        <a:pt x="2450" y="382"/>
                      </a:lnTo>
                      <a:lnTo>
                        <a:pt x="2511" y="395"/>
                      </a:lnTo>
                      <a:lnTo>
                        <a:pt x="2573" y="410"/>
                      </a:lnTo>
                      <a:lnTo>
                        <a:pt x="2632" y="426"/>
                      </a:lnTo>
                      <a:lnTo>
                        <a:pt x="2692" y="443"/>
                      </a:lnTo>
                      <a:lnTo>
                        <a:pt x="2751" y="463"/>
                      </a:lnTo>
                      <a:lnTo>
                        <a:pt x="2810" y="483"/>
                      </a:lnTo>
                      <a:lnTo>
                        <a:pt x="2868" y="505"/>
                      </a:lnTo>
                      <a:lnTo>
                        <a:pt x="2925" y="527"/>
                      </a:lnTo>
                      <a:lnTo>
                        <a:pt x="2983" y="553"/>
                      </a:lnTo>
                      <a:lnTo>
                        <a:pt x="3039" y="578"/>
                      </a:lnTo>
                      <a:lnTo>
                        <a:pt x="3095" y="606"/>
                      </a:lnTo>
                      <a:lnTo>
                        <a:pt x="3149" y="634"/>
                      </a:lnTo>
                      <a:lnTo>
                        <a:pt x="3202" y="663"/>
                      </a:lnTo>
                      <a:lnTo>
                        <a:pt x="3257" y="694"/>
                      </a:lnTo>
                      <a:lnTo>
                        <a:pt x="3308" y="727"/>
                      </a:lnTo>
                      <a:lnTo>
                        <a:pt x="3360" y="759"/>
                      </a:lnTo>
                      <a:lnTo>
                        <a:pt x="3412" y="793"/>
                      </a:lnTo>
                      <a:lnTo>
                        <a:pt x="3462" y="828"/>
                      </a:lnTo>
                      <a:lnTo>
                        <a:pt x="3510" y="865"/>
                      </a:lnTo>
                      <a:lnTo>
                        <a:pt x="3559" y="903"/>
                      </a:lnTo>
                      <a:lnTo>
                        <a:pt x="3608" y="942"/>
                      </a:lnTo>
                      <a:lnTo>
                        <a:pt x="3653" y="982"/>
                      </a:lnTo>
                      <a:lnTo>
                        <a:pt x="3699" y="1023"/>
                      </a:lnTo>
                      <a:lnTo>
                        <a:pt x="3745" y="1066"/>
                      </a:lnTo>
                      <a:lnTo>
                        <a:pt x="3788" y="1108"/>
                      </a:lnTo>
                      <a:lnTo>
                        <a:pt x="3830" y="1153"/>
                      </a:lnTo>
                      <a:lnTo>
                        <a:pt x="3873" y="1197"/>
                      </a:lnTo>
                      <a:lnTo>
                        <a:pt x="3913" y="1243"/>
                      </a:lnTo>
                      <a:lnTo>
                        <a:pt x="3953" y="1290"/>
                      </a:lnTo>
                      <a:lnTo>
                        <a:pt x="3992" y="1337"/>
                      </a:lnTo>
                      <a:lnTo>
                        <a:pt x="4029" y="1386"/>
                      </a:lnTo>
                      <a:lnTo>
                        <a:pt x="4066" y="1436"/>
                      </a:lnTo>
                      <a:lnTo>
                        <a:pt x="4102" y="1486"/>
                      </a:lnTo>
                      <a:lnTo>
                        <a:pt x="4135" y="1537"/>
                      </a:lnTo>
                      <a:lnTo>
                        <a:pt x="4168" y="1589"/>
                      </a:lnTo>
                      <a:lnTo>
                        <a:pt x="4200" y="1642"/>
                      </a:lnTo>
                      <a:lnTo>
                        <a:pt x="4231" y="1695"/>
                      </a:lnTo>
                      <a:lnTo>
                        <a:pt x="4259" y="1750"/>
                      </a:lnTo>
                      <a:lnTo>
                        <a:pt x="4289" y="1806"/>
                      </a:lnTo>
                      <a:lnTo>
                        <a:pt x="4315" y="1860"/>
                      </a:lnTo>
                      <a:lnTo>
                        <a:pt x="4340" y="1918"/>
                      </a:lnTo>
                      <a:lnTo>
                        <a:pt x="4364" y="1974"/>
                      </a:lnTo>
                      <a:lnTo>
                        <a:pt x="4388" y="2033"/>
                      </a:lnTo>
                      <a:lnTo>
                        <a:pt x="4410" y="2090"/>
                      </a:lnTo>
                      <a:lnTo>
                        <a:pt x="4429" y="2149"/>
                      </a:lnTo>
                      <a:lnTo>
                        <a:pt x="4448" y="2210"/>
                      </a:lnTo>
                      <a:lnTo>
                        <a:pt x="4466" y="2270"/>
                      </a:lnTo>
                      <a:lnTo>
                        <a:pt x="4480" y="2331"/>
                      </a:lnTo>
                      <a:lnTo>
                        <a:pt x="4495" y="2391"/>
                      </a:lnTo>
                      <a:lnTo>
                        <a:pt x="4508" y="2453"/>
                      </a:lnTo>
                      <a:lnTo>
                        <a:pt x="4520" y="2516"/>
                      </a:lnTo>
                      <a:lnTo>
                        <a:pt x="4529" y="2578"/>
                      </a:lnTo>
                      <a:lnTo>
                        <a:pt x="4538" y="2642"/>
                      </a:lnTo>
                      <a:lnTo>
                        <a:pt x="4545" y="2705"/>
                      </a:lnTo>
                      <a:lnTo>
                        <a:pt x="4550" y="2770"/>
                      </a:lnTo>
                      <a:lnTo>
                        <a:pt x="4553" y="2835"/>
                      </a:lnTo>
                      <a:lnTo>
                        <a:pt x="4553" y="2835"/>
                      </a:lnTo>
                      <a:lnTo>
                        <a:pt x="4556" y="2892"/>
                      </a:lnTo>
                      <a:lnTo>
                        <a:pt x="4556" y="2951"/>
                      </a:lnTo>
                      <a:lnTo>
                        <a:pt x="4554" y="3010"/>
                      </a:lnTo>
                      <a:lnTo>
                        <a:pt x="4553" y="3068"/>
                      </a:lnTo>
                      <a:lnTo>
                        <a:pt x="4548" y="3125"/>
                      </a:lnTo>
                      <a:lnTo>
                        <a:pt x="4544" y="3183"/>
                      </a:lnTo>
                      <a:lnTo>
                        <a:pt x="4538" y="3240"/>
                      </a:lnTo>
                      <a:lnTo>
                        <a:pt x="4531" y="3296"/>
                      </a:lnTo>
                      <a:lnTo>
                        <a:pt x="4522" y="3352"/>
                      </a:lnTo>
                      <a:lnTo>
                        <a:pt x="4511" y="3408"/>
                      </a:lnTo>
                      <a:lnTo>
                        <a:pt x="4500" y="3464"/>
                      </a:lnTo>
                      <a:lnTo>
                        <a:pt x="4488" y="3519"/>
                      </a:lnTo>
                      <a:lnTo>
                        <a:pt x="4473" y="3574"/>
                      </a:lnTo>
                      <a:lnTo>
                        <a:pt x="4458" y="3628"/>
                      </a:lnTo>
                      <a:lnTo>
                        <a:pt x="4442" y="3683"/>
                      </a:lnTo>
                      <a:lnTo>
                        <a:pt x="4424" y="3736"/>
                      </a:lnTo>
                      <a:lnTo>
                        <a:pt x="4405" y="3789"/>
                      </a:lnTo>
                      <a:lnTo>
                        <a:pt x="4385" y="3840"/>
                      </a:lnTo>
                      <a:lnTo>
                        <a:pt x="4362" y="3894"/>
                      </a:lnTo>
                      <a:lnTo>
                        <a:pt x="4340" y="3944"/>
                      </a:lnTo>
                      <a:lnTo>
                        <a:pt x="4317" y="3995"/>
                      </a:lnTo>
                      <a:lnTo>
                        <a:pt x="4290" y="4045"/>
                      </a:lnTo>
                      <a:lnTo>
                        <a:pt x="4264" y="4094"/>
                      </a:lnTo>
                      <a:lnTo>
                        <a:pt x="4237" y="4143"/>
                      </a:lnTo>
                      <a:lnTo>
                        <a:pt x="4208" y="4191"/>
                      </a:lnTo>
                      <a:lnTo>
                        <a:pt x="4178" y="4239"/>
                      </a:lnTo>
                      <a:lnTo>
                        <a:pt x="4147" y="4286"/>
                      </a:lnTo>
                      <a:lnTo>
                        <a:pt x="4115" y="4333"/>
                      </a:lnTo>
                      <a:lnTo>
                        <a:pt x="4081" y="4377"/>
                      </a:lnTo>
                      <a:lnTo>
                        <a:pt x="4046" y="4423"/>
                      </a:lnTo>
                      <a:lnTo>
                        <a:pt x="4010" y="4467"/>
                      </a:lnTo>
                      <a:lnTo>
                        <a:pt x="3973" y="4510"/>
                      </a:lnTo>
                      <a:lnTo>
                        <a:pt x="4215" y="4735"/>
                      </a:lnTo>
                      <a:lnTo>
                        <a:pt x="4215" y="4735"/>
                      </a:lnTo>
                      <a:lnTo>
                        <a:pt x="4256" y="4688"/>
                      </a:lnTo>
                      <a:lnTo>
                        <a:pt x="4296" y="4640"/>
                      </a:lnTo>
                      <a:lnTo>
                        <a:pt x="4336" y="4589"/>
                      </a:lnTo>
                      <a:lnTo>
                        <a:pt x="4373" y="4539"/>
                      </a:lnTo>
                      <a:lnTo>
                        <a:pt x="4410" y="4488"/>
                      </a:lnTo>
                      <a:lnTo>
                        <a:pt x="4445" y="4436"/>
                      </a:lnTo>
                      <a:lnTo>
                        <a:pt x="4479" y="4383"/>
                      </a:lnTo>
                      <a:lnTo>
                        <a:pt x="4511" y="4328"/>
                      </a:lnTo>
                      <a:lnTo>
                        <a:pt x="4544" y="4274"/>
                      </a:lnTo>
                      <a:lnTo>
                        <a:pt x="4575" y="4218"/>
                      </a:lnTo>
                      <a:lnTo>
                        <a:pt x="4603" y="4162"/>
                      </a:lnTo>
                      <a:lnTo>
                        <a:pt x="4631" y="4104"/>
                      </a:lnTo>
                      <a:lnTo>
                        <a:pt x="4657" y="4045"/>
                      </a:lnTo>
                      <a:lnTo>
                        <a:pt x="4682" y="3986"/>
                      </a:lnTo>
                      <a:lnTo>
                        <a:pt x="4706" y="3927"/>
                      </a:lnTo>
                      <a:lnTo>
                        <a:pt x="4728" y="3867"/>
                      </a:lnTo>
                      <a:lnTo>
                        <a:pt x="4750" y="3807"/>
                      </a:lnTo>
                      <a:lnTo>
                        <a:pt x="4769" y="3745"/>
                      </a:lnTo>
                      <a:lnTo>
                        <a:pt x="4787" y="3681"/>
                      </a:lnTo>
                      <a:lnTo>
                        <a:pt x="4803" y="3619"/>
                      </a:lnTo>
                      <a:lnTo>
                        <a:pt x="4819" y="3556"/>
                      </a:lnTo>
                      <a:lnTo>
                        <a:pt x="4833" y="3491"/>
                      </a:lnTo>
                      <a:lnTo>
                        <a:pt x="4845" y="3426"/>
                      </a:lnTo>
                      <a:lnTo>
                        <a:pt x="4856" y="3361"/>
                      </a:lnTo>
                      <a:lnTo>
                        <a:pt x="4865" y="3295"/>
                      </a:lnTo>
                      <a:lnTo>
                        <a:pt x="4873" y="3229"/>
                      </a:lnTo>
                      <a:lnTo>
                        <a:pt x="4878" y="3162"/>
                      </a:lnTo>
                      <a:lnTo>
                        <a:pt x="4883" y="3094"/>
                      </a:lnTo>
                      <a:lnTo>
                        <a:pt x="4886" y="3027"/>
                      </a:lnTo>
                      <a:lnTo>
                        <a:pt x="4887" y="2959"/>
                      </a:lnTo>
                      <a:lnTo>
                        <a:pt x="4887" y="2889"/>
                      </a:lnTo>
                      <a:lnTo>
                        <a:pt x="4884" y="2820"/>
                      </a:lnTo>
                      <a:lnTo>
                        <a:pt x="4884" y="2820"/>
                      </a:lnTo>
                      <a:lnTo>
                        <a:pt x="4880" y="2748"/>
                      </a:lnTo>
                      <a:lnTo>
                        <a:pt x="4875" y="2676"/>
                      </a:lnTo>
                      <a:lnTo>
                        <a:pt x="4867" y="2603"/>
                      </a:lnTo>
                      <a:lnTo>
                        <a:pt x="4858" y="2531"/>
                      </a:lnTo>
                      <a:lnTo>
                        <a:pt x="4846" y="2460"/>
                      </a:lnTo>
                      <a:lnTo>
                        <a:pt x="4834" y="2391"/>
                      </a:lnTo>
                      <a:lnTo>
                        <a:pt x="4819" y="2320"/>
                      </a:lnTo>
                      <a:lnTo>
                        <a:pt x="4803" y="2251"/>
                      </a:lnTo>
                      <a:lnTo>
                        <a:pt x="4786" y="2183"/>
                      </a:lnTo>
                      <a:lnTo>
                        <a:pt x="4766" y="2115"/>
                      </a:lnTo>
                      <a:lnTo>
                        <a:pt x="4744" y="2048"/>
                      </a:lnTo>
                      <a:lnTo>
                        <a:pt x="4722" y="1981"/>
                      </a:lnTo>
                      <a:lnTo>
                        <a:pt x="4699" y="1915"/>
                      </a:lnTo>
                      <a:lnTo>
                        <a:pt x="4672" y="1850"/>
                      </a:lnTo>
                      <a:lnTo>
                        <a:pt x="4646" y="1785"/>
                      </a:lnTo>
                      <a:lnTo>
                        <a:pt x="4616" y="1722"/>
                      </a:lnTo>
                      <a:lnTo>
                        <a:pt x="4587" y="1660"/>
                      </a:lnTo>
                      <a:lnTo>
                        <a:pt x="4554" y="1598"/>
                      </a:lnTo>
                      <a:lnTo>
                        <a:pt x="4522" y="1536"/>
                      </a:lnTo>
                      <a:lnTo>
                        <a:pt x="4486" y="1476"/>
                      </a:lnTo>
                      <a:lnTo>
                        <a:pt x="4451" y="1417"/>
                      </a:lnTo>
                      <a:lnTo>
                        <a:pt x="4414" y="1358"/>
                      </a:lnTo>
                      <a:lnTo>
                        <a:pt x="4376" y="1300"/>
                      </a:lnTo>
                      <a:lnTo>
                        <a:pt x="4336" y="1243"/>
                      </a:lnTo>
                      <a:lnTo>
                        <a:pt x="4295" y="1187"/>
                      </a:lnTo>
                      <a:lnTo>
                        <a:pt x="4252" y="1132"/>
                      </a:lnTo>
                      <a:lnTo>
                        <a:pt x="4209" y="1079"/>
                      </a:lnTo>
                      <a:lnTo>
                        <a:pt x="4165" y="1026"/>
                      </a:lnTo>
                      <a:lnTo>
                        <a:pt x="4118" y="974"/>
                      </a:lnTo>
                      <a:lnTo>
                        <a:pt x="4071" y="924"/>
                      </a:lnTo>
                      <a:lnTo>
                        <a:pt x="4023" y="874"/>
                      </a:lnTo>
                      <a:lnTo>
                        <a:pt x="3973" y="825"/>
                      </a:lnTo>
                      <a:lnTo>
                        <a:pt x="3923" y="778"/>
                      </a:lnTo>
                      <a:lnTo>
                        <a:pt x="3872" y="732"/>
                      </a:lnTo>
                      <a:lnTo>
                        <a:pt x="3818" y="687"/>
                      </a:lnTo>
                      <a:lnTo>
                        <a:pt x="3765" y="644"/>
                      </a:lnTo>
                      <a:lnTo>
                        <a:pt x="3711" y="601"/>
                      </a:lnTo>
                      <a:lnTo>
                        <a:pt x="3655" y="560"/>
                      </a:lnTo>
                      <a:lnTo>
                        <a:pt x="3599" y="520"/>
                      </a:lnTo>
                      <a:lnTo>
                        <a:pt x="3541" y="482"/>
                      </a:lnTo>
                      <a:lnTo>
                        <a:pt x="3484" y="443"/>
                      </a:lnTo>
                      <a:lnTo>
                        <a:pt x="3423" y="408"/>
                      </a:lnTo>
                      <a:lnTo>
                        <a:pt x="3364" y="373"/>
                      </a:lnTo>
                      <a:lnTo>
                        <a:pt x="3303" y="340"/>
                      </a:lnTo>
                      <a:lnTo>
                        <a:pt x="3241" y="308"/>
                      </a:lnTo>
                      <a:lnTo>
                        <a:pt x="3179" y="277"/>
                      </a:lnTo>
                      <a:lnTo>
                        <a:pt x="3115" y="249"/>
                      </a:lnTo>
                      <a:lnTo>
                        <a:pt x="3052" y="221"/>
                      </a:lnTo>
                      <a:lnTo>
                        <a:pt x="2987" y="194"/>
                      </a:lnTo>
                      <a:lnTo>
                        <a:pt x="2921" y="171"/>
                      </a:lnTo>
                      <a:lnTo>
                        <a:pt x="2854" y="147"/>
                      </a:lnTo>
                      <a:lnTo>
                        <a:pt x="2788" y="126"/>
                      </a:lnTo>
                      <a:lnTo>
                        <a:pt x="2720" y="106"/>
                      </a:lnTo>
                      <a:lnTo>
                        <a:pt x="2652" y="88"/>
                      </a:lnTo>
                      <a:lnTo>
                        <a:pt x="2585" y="72"/>
                      </a:lnTo>
                      <a:lnTo>
                        <a:pt x="2515" y="57"/>
                      </a:lnTo>
                      <a:lnTo>
                        <a:pt x="2445" y="44"/>
                      </a:lnTo>
                      <a:lnTo>
                        <a:pt x="2375" y="32"/>
                      </a:lnTo>
                      <a:lnTo>
                        <a:pt x="2304" y="22"/>
                      </a:lnTo>
                      <a:lnTo>
                        <a:pt x="2234" y="14"/>
                      </a:lnTo>
                      <a:lnTo>
                        <a:pt x="2161" y="7"/>
                      </a:lnTo>
                      <a:lnTo>
                        <a:pt x="2089" y="3"/>
                      </a:lnTo>
                      <a:lnTo>
                        <a:pt x="2017" y="0"/>
                      </a:lnTo>
                      <a:lnTo>
                        <a:pt x="1943" y="0"/>
                      </a:lnTo>
                      <a:lnTo>
                        <a:pt x="1943" y="0"/>
                      </a:lnTo>
                      <a:lnTo>
                        <a:pt x="1873" y="0"/>
                      </a:lnTo>
                      <a:lnTo>
                        <a:pt x="1800" y="3"/>
                      </a:lnTo>
                      <a:lnTo>
                        <a:pt x="1730" y="7"/>
                      </a:lnTo>
                      <a:lnTo>
                        <a:pt x="1659" y="13"/>
                      </a:lnTo>
                      <a:lnTo>
                        <a:pt x="1589" y="22"/>
                      </a:lnTo>
                      <a:lnTo>
                        <a:pt x="1520" y="31"/>
                      </a:lnTo>
                      <a:lnTo>
                        <a:pt x="1452" y="42"/>
                      </a:lnTo>
                      <a:lnTo>
                        <a:pt x="1383" y="56"/>
                      </a:lnTo>
                      <a:lnTo>
                        <a:pt x="1317" y="70"/>
                      </a:lnTo>
                      <a:lnTo>
                        <a:pt x="1250" y="87"/>
                      </a:lnTo>
                      <a:lnTo>
                        <a:pt x="1184" y="104"/>
                      </a:lnTo>
                      <a:lnTo>
                        <a:pt x="1119" y="123"/>
                      </a:lnTo>
                      <a:lnTo>
                        <a:pt x="1054" y="144"/>
                      </a:lnTo>
                      <a:lnTo>
                        <a:pt x="991" y="168"/>
                      </a:lnTo>
                      <a:lnTo>
                        <a:pt x="928" y="191"/>
                      </a:lnTo>
                      <a:lnTo>
                        <a:pt x="866" y="216"/>
                      </a:lnTo>
                      <a:lnTo>
                        <a:pt x="805" y="243"/>
                      </a:lnTo>
                      <a:lnTo>
                        <a:pt x="745" y="272"/>
                      </a:lnTo>
                      <a:lnTo>
                        <a:pt x="684" y="302"/>
                      </a:lnTo>
                      <a:lnTo>
                        <a:pt x="627" y="333"/>
                      </a:lnTo>
                      <a:lnTo>
                        <a:pt x="569" y="365"/>
                      </a:lnTo>
                      <a:lnTo>
                        <a:pt x="512" y="399"/>
                      </a:lnTo>
                      <a:lnTo>
                        <a:pt x="456" y="435"/>
                      </a:lnTo>
                      <a:lnTo>
                        <a:pt x="401" y="471"/>
                      </a:lnTo>
                      <a:lnTo>
                        <a:pt x="348" y="510"/>
                      </a:lnTo>
                      <a:lnTo>
                        <a:pt x="295" y="548"/>
                      </a:lnTo>
                      <a:lnTo>
                        <a:pt x="244" y="589"/>
                      </a:lnTo>
                      <a:lnTo>
                        <a:pt x="192" y="631"/>
                      </a:lnTo>
                      <a:lnTo>
                        <a:pt x="143" y="673"/>
                      </a:lnTo>
                      <a:lnTo>
                        <a:pt x="95" y="718"/>
                      </a:lnTo>
                      <a:lnTo>
                        <a:pt x="46" y="763"/>
                      </a:lnTo>
                      <a:lnTo>
                        <a:pt x="0" y="809"/>
                      </a:lnTo>
                      <a:lnTo>
                        <a:pt x="244" y="1036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86000">
                      <a:srgbClr val="CFCFCF"/>
                    </a:gs>
                    <a:gs pos="0">
                      <a:srgbClr val="A6A6A6"/>
                    </a:gs>
                    <a:gs pos="35000">
                      <a:srgbClr val="262626"/>
                    </a:gs>
                    <a:gs pos="66000">
                      <a:srgbClr val="454545"/>
                    </a:gs>
                    <a:gs pos="46000">
                      <a:srgbClr val="616161"/>
                    </a:gs>
                    <a:gs pos="100000">
                      <a:srgbClr val="A6A6A6"/>
                    </a:gs>
                  </a:gsLst>
                  <a:lin ang="1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3" name="Freeform 13">
                  <a:extLst>
                    <a:ext uri="{FF2B5EF4-FFF2-40B4-BE49-F238E27FC236}">
                      <a16:creationId xmlns:a16="http://schemas.microsoft.com/office/drawing/2014/main" xmlns="" id="{F67EF63C-B0C1-2D43-A407-3A66FFF7E05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385175" y="374650"/>
                  <a:ext cx="2987675" cy="2986088"/>
                </a:xfrm>
                <a:custGeom>
                  <a:avLst/>
                  <a:gdLst/>
                  <a:ahLst/>
                  <a:cxnLst>
                    <a:cxn ang="0">
                      <a:pos x="3147" y="371"/>
                    </a:cxn>
                    <a:cxn ang="0">
                      <a:pos x="3686" y="529"/>
                    </a:cxn>
                    <a:cxn ang="0">
                      <a:pos x="4171" y="794"/>
                    </a:cxn>
                    <a:cxn ang="0">
                      <a:pos x="4591" y="1153"/>
                    </a:cxn>
                    <a:cxn ang="0">
                      <a:pos x="4927" y="1591"/>
                    </a:cxn>
                    <a:cxn ang="0">
                      <a:pos x="5169" y="2092"/>
                    </a:cxn>
                    <a:cxn ang="0">
                      <a:pos x="5297" y="2643"/>
                    </a:cxn>
                    <a:cxn ang="0">
                      <a:pos x="5307" y="3142"/>
                    </a:cxn>
                    <a:cxn ang="0">
                      <a:pos x="5204" y="3672"/>
                    </a:cxn>
                    <a:cxn ang="0">
                      <a:pos x="4987" y="4159"/>
                    </a:cxn>
                    <a:cxn ang="0">
                      <a:pos x="4663" y="4587"/>
                    </a:cxn>
                    <a:cxn ang="0">
                      <a:pos x="4299" y="4896"/>
                    </a:cxn>
                    <a:cxn ang="0">
                      <a:pos x="3829" y="5145"/>
                    </a:cxn>
                    <a:cxn ang="0">
                      <a:pos x="3310" y="5284"/>
                    </a:cxn>
                    <a:cxn ang="0">
                      <a:pos x="2814" y="5308"/>
                    </a:cxn>
                    <a:cxn ang="0">
                      <a:pos x="2256" y="5215"/>
                    </a:cxn>
                    <a:cxn ang="0">
                      <a:pos x="1738" y="5008"/>
                    </a:cxn>
                    <a:cxn ang="0">
                      <a:pos x="1280" y="4699"/>
                    </a:cxn>
                    <a:cxn ang="0">
                      <a:pos x="895" y="4303"/>
                    </a:cxn>
                    <a:cxn ang="0">
                      <a:pos x="599" y="3836"/>
                    </a:cxn>
                    <a:cxn ang="0">
                      <a:pos x="407" y="3311"/>
                    </a:cxn>
                    <a:cxn ang="0">
                      <a:pos x="335" y="2807"/>
                    </a:cxn>
                    <a:cxn ang="0">
                      <a:pos x="370" y="2260"/>
                    </a:cxn>
                    <a:cxn ang="0">
                      <a:pos x="525" y="1747"/>
                    </a:cxn>
                    <a:cxn ang="0">
                      <a:pos x="790" y="1285"/>
                    </a:cxn>
                    <a:cxn ang="0">
                      <a:pos x="1115" y="929"/>
                    </a:cxn>
                    <a:cxn ang="0">
                      <a:pos x="1549" y="620"/>
                    </a:cxn>
                    <a:cxn ang="0">
                      <a:pos x="2043" y="421"/>
                    </a:cxn>
                    <a:cxn ang="0">
                      <a:pos x="2580" y="334"/>
                    </a:cxn>
                    <a:cxn ang="0">
                      <a:pos x="2345" y="23"/>
                    </a:cxn>
                    <a:cxn ang="0">
                      <a:pos x="1741" y="171"/>
                    </a:cxn>
                    <a:cxn ang="0">
                      <a:pos x="1202" y="445"/>
                    </a:cxn>
                    <a:cxn ang="0">
                      <a:pos x="745" y="827"/>
                    </a:cxn>
                    <a:cxn ang="0">
                      <a:pos x="382" y="1300"/>
                    </a:cxn>
                    <a:cxn ang="0">
                      <a:pos x="133" y="1852"/>
                    </a:cxn>
                    <a:cxn ang="0">
                      <a:pos x="10" y="2462"/>
                    </a:cxn>
                    <a:cxn ang="0">
                      <a:pos x="21" y="3038"/>
                    </a:cxn>
                    <a:cxn ang="0">
                      <a:pos x="165" y="3659"/>
                    </a:cxn>
                    <a:cxn ang="0">
                      <a:pos x="436" y="4225"/>
                    </a:cxn>
                    <a:cxn ang="0">
                      <a:pos x="817" y="4718"/>
                    </a:cxn>
                    <a:cxn ang="0">
                      <a:pos x="1288" y="5122"/>
                    </a:cxn>
                    <a:cxn ang="0">
                      <a:pos x="1835" y="5420"/>
                    </a:cxn>
                    <a:cxn ang="0">
                      <a:pos x="2443" y="5598"/>
                    </a:cxn>
                    <a:cxn ang="0">
                      <a:pos x="3016" y="5641"/>
                    </a:cxn>
                    <a:cxn ang="0">
                      <a:pos x="3644" y="5554"/>
                    </a:cxn>
                    <a:cxn ang="0">
                      <a:pos x="4215" y="5333"/>
                    </a:cxn>
                    <a:cxn ang="0">
                      <a:pos x="4710" y="4998"/>
                    </a:cxn>
                    <a:cxn ang="0">
                      <a:pos x="5117" y="4563"/>
                    </a:cxn>
                    <a:cxn ang="0">
                      <a:pos x="5418" y="4044"/>
                    </a:cxn>
                    <a:cxn ang="0">
                      <a:pos x="5599" y="3459"/>
                    </a:cxn>
                    <a:cxn ang="0">
                      <a:pos x="5643" y="2820"/>
                    </a:cxn>
                    <a:cxn ang="0">
                      <a:pos x="5562" y="2253"/>
                    </a:cxn>
                    <a:cxn ang="0">
                      <a:pos x="5346" y="1660"/>
                    </a:cxn>
                    <a:cxn ang="0">
                      <a:pos x="5012" y="1134"/>
                    </a:cxn>
                    <a:cxn ang="0">
                      <a:pos x="4579" y="688"/>
                    </a:cxn>
                    <a:cxn ang="0">
                      <a:pos x="4061" y="340"/>
                    </a:cxn>
                    <a:cxn ang="0">
                      <a:pos x="3481" y="107"/>
                    </a:cxn>
                    <a:cxn ang="0">
                      <a:pos x="2848" y="4"/>
                    </a:cxn>
                  </a:cxnLst>
                  <a:rect l="0" t="0" r="r" b="b"/>
                  <a:pathLst>
                    <a:path w="5646" h="5642">
                      <a:moveTo>
                        <a:pt x="2704" y="331"/>
                      </a:moveTo>
                      <a:lnTo>
                        <a:pt x="2704" y="331"/>
                      </a:lnTo>
                      <a:lnTo>
                        <a:pt x="2767" y="333"/>
                      </a:lnTo>
                      <a:lnTo>
                        <a:pt x="2832" y="334"/>
                      </a:lnTo>
                      <a:lnTo>
                        <a:pt x="2895" y="339"/>
                      </a:lnTo>
                      <a:lnTo>
                        <a:pt x="2959" y="345"/>
                      </a:lnTo>
                      <a:lnTo>
                        <a:pt x="3022" y="352"/>
                      </a:lnTo>
                      <a:lnTo>
                        <a:pt x="3086" y="361"/>
                      </a:lnTo>
                      <a:lnTo>
                        <a:pt x="3147" y="371"/>
                      </a:lnTo>
                      <a:lnTo>
                        <a:pt x="3209" y="383"/>
                      </a:lnTo>
                      <a:lnTo>
                        <a:pt x="3270" y="396"/>
                      </a:lnTo>
                      <a:lnTo>
                        <a:pt x="3332" y="411"/>
                      </a:lnTo>
                      <a:lnTo>
                        <a:pt x="3392" y="427"/>
                      </a:lnTo>
                      <a:lnTo>
                        <a:pt x="3451" y="445"/>
                      </a:lnTo>
                      <a:lnTo>
                        <a:pt x="3510" y="464"/>
                      </a:lnTo>
                      <a:lnTo>
                        <a:pt x="3569" y="483"/>
                      </a:lnTo>
                      <a:lnTo>
                        <a:pt x="3628" y="505"/>
                      </a:lnTo>
                      <a:lnTo>
                        <a:pt x="3686" y="529"/>
                      </a:lnTo>
                      <a:lnTo>
                        <a:pt x="3742" y="553"/>
                      </a:lnTo>
                      <a:lnTo>
                        <a:pt x="3798" y="579"/>
                      </a:lnTo>
                      <a:lnTo>
                        <a:pt x="3854" y="606"/>
                      </a:lnTo>
                      <a:lnTo>
                        <a:pt x="3908" y="634"/>
                      </a:lnTo>
                      <a:lnTo>
                        <a:pt x="3963" y="663"/>
                      </a:lnTo>
                      <a:lnTo>
                        <a:pt x="4016" y="694"/>
                      </a:lnTo>
                      <a:lnTo>
                        <a:pt x="4067" y="727"/>
                      </a:lnTo>
                      <a:lnTo>
                        <a:pt x="4120" y="761"/>
                      </a:lnTo>
                      <a:lnTo>
                        <a:pt x="4171" y="794"/>
                      </a:lnTo>
                      <a:lnTo>
                        <a:pt x="4221" y="830"/>
                      </a:lnTo>
                      <a:lnTo>
                        <a:pt x="4271" y="867"/>
                      </a:lnTo>
                      <a:lnTo>
                        <a:pt x="4318" y="904"/>
                      </a:lnTo>
                      <a:lnTo>
                        <a:pt x="4367" y="943"/>
                      </a:lnTo>
                      <a:lnTo>
                        <a:pt x="4412" y="983"/>
                      </a:lnTo>
                      <a:lnTo>
                        <a:pt x="4458" y="1024"/>
                      </a:lnTo>
                      <a:lnTo>
                        <a:pt x="4504" y="1066"/>
                      </a:lnTo>
                      <a:lnTo>
                        <a:pt x="4546" y="1108"/>
                      </a:lnTo>
                      <a:lnTo>
                        <a:pt x="4591" y="1153"/>
                      </a:lnTo>
                      <a:lnTo>
                        <a:pt x="4632" y="1198"/>
                      </a:lnTo>
                      <a:lnTo>
                        <a:pt x="4673" y="1244"/>
                      </a:lnTo>
                      <a:lnTo>
                        <a:pt x="4712" y="1290"/>
                      </a:lnTo>
                      <a:lnTo>
                        <a:pt x="4751" y="1338"/>
                      </a:lnTo>
                      <a:lnTo>
                        <a:pt x="4788" y="1387"/>
                      </a:lnTo>
                      <a:lnTo>
                        <a:pt x="4825" y="1436"/>
                      </a:lnTo>
                      <a:lnTo>
                        <a:pt x="4861" y="1487"/>
                      </a:lnTo>
                      <a:lnTo>
                        <a:pt x="4894" y="1538"/>
                      </a:lnTo>
                      <a:lnTo>
                        <a:pt x="4927" y="1591"/>
                      </a:lnTo>
                      <a:lnTo>
                        <a:pt x="4959" y="1642"/>
                      </a:lnTo>
                      <a:lnTo>
                        <a:pt x="4990" y="1697"/>
                      </a:lnTo>
                      <a:lnTo>
                        <a:pt x="5020" y="1751"/>
                      </a:lnTo>
                      <a:lnTo>
                        <a:pt x="5048" y="1806"/>
                      </a:lnTo>
                      <a:lnTo>
                        <a:pt x="5074" y="1862"/>
                      </a:lnTo>
                      <a:lnTo>
                        <a:pt x="5099" y="1918"/>
                      </a:lnTo>
                      <a:lnTo>
                        <a:pt x="5124" y="1975"/>
                      </a:lnTo>
                      <a:lnTo>
                        <a:pt x="5146" y="2033"/>
                      </a:lnTo>
                      <a:lnTo>
                        <a:pt x="5169" y="2092"/>
                      </a:lnTo>
                      <a:lnTo>
                        <a:pt x="5188" y="2151"/>
                      </a:lnTo>
                      <a:lnTo>
                        <a:pt x="5207" y="2210"/>
                      </a:lnTo>
                      <a:lnTo>
                        <a:pt x="5225" y="2270"/>
                      </a:lnTo>
                      <a:lnTo>
                        <a:pt x="5241" y="2331"/>
                      </a:lnTo>
                      <a:lnTo>
                        <a:pt x="5254" y="2393"/>
                      </a:lnTo>
                      <a:lnTo>
                        <a:pt x="5267" y="2455"/>
                      </a:lnTo>
                      <a:lnTo>
                        <a:pt x="5279" y="2517"/>
                      </a:lnTo>
                      <a:lnTo>
                        <a:pt x="5288" y="2580"/>
                      </a:lnTo>
                      <a:lnTo>
                        <a:pt x="5297" y="2643"/>
                      </a:lnTo>
                      <a:lnTo>
                        <a:pt x="5304" y="2707"/>
                      </a:lnTo>
                      <a:lnTo>
                        <a:pt x="5309" y="2770"/>
                      </a:lnTo>
                      <a:lnTo>
                        <a:pt x="5313" y="2835"/>
                      </a:lnTo>
                      <a:lnTo>
                        <a:pt x="5313" y="2835"/>
                      </a:lnTo>
                      <a:lnTo>
                        <a:pt x="5315" y="2897"/>
                      </a:lnTo>
                      <a:lnTo>
                        <a:pt x="5315" y="2959"/>
                      </a:lnTo>
                      <a:lnTo>
                        <a:pt x="5313" y="3021"/>
                      </a:lnTo>
                      <a:lnTo>
                        <a:pt x="5312" y="3081"/>
                      </a:lnTo>
                      <a:lnTo>
                        <a:pt x="5307" y="3142"/>
                      </a:lnTo>
                      <a:lnTo>
                        <a:pt x="5301" y="3202"/>
                      </a:lnTo>
                      <a:lnTo>
                        <a:pt x="5294" y="3263"/>
                      </a:lnTo>
                      <a:lnTo>
                        <a:pt x="5285" y="3323"/>
                      </a:lnTo>
                      <a:lnTo>
                        <a:pt x="5276" y="3382"/>
                      </a:lnTo>
                      <a:lnTo>
                        <a:pt x="5264" y="3441"/>
                      </a:lnTo>
                      <a:lnTo>
                        <a:pt x="5251" y="3500"/>
                      </a:lnTo>
                      <a:lnTo>
                        <a:pt x="5238" y="3557"/>
                      </a:lnTo>
                      <a:lnTo>
                        <a:pt x="5222" y="3615"/>
                      </a:lnTo>
                      <a:lnTo>
                        <a:pt x="5204" y="3672"/>
                      </a:lnTo>
                      <a:lnTo>
                        <a:pt x="5186" y="3728"/>
                      </a:lnTo>
                      <a:lnTo>
                        <a:pt x="5166" y="3785"/>
                      </a:lnTo>
                      <a:lnTo>
                        <a:pt x="5145" y="3841"/>
                      </a:lnTo>
                      <a:lnTo>
                        <a:pt x="5121" y="3895"/>
                      </a:lnTo>
                      <a:lnTo>
                        <a:pt x="5098" y="3948"/>
                      </a:lnTo>
                      <a:lnTo>
                        <a:pt x="5073" y="4003"/>
                      </a:lnTo>
                      <a:lnTo>
                        <a:pt x="5045" y="4056"/>
                      </a:lnTo>
                      <a:lnTo>
                        <a:pt x="5017" y="4107"/>
                      </a:lnTo>
                      <a:lnTo>
                        <a:pt x="4987" y="4159"/>
                      </a:lnTo>
                      <a:lnTo>
                        <a:pt x="4956" y="4209"/>
                      </a:lnTo>
                      <a:lnTo>
                        <a:pt x="4924" y="4259"/>
                      </a:lnTo>
                      <a:lnTo>
                        <a:pt x="4891" y="4309"/>
                      </a:lnTo>
                      <a:lnTo>
                        <a:pt x="4856" y="4357"/>
                      </a:lnTo>
                      <a:lnTo>
                        <a:pt x="4819" y="4405"/>
                      </a:lnTo>
                      <a:lnTo>
                        <a:pt x="4782" y="4452"/>
                      </a:lnTo>
                      <a:lnTo>
                        <a:pt x="4744" y="4498"/>
                      </a:lnTo>
                      <a:lnTo>
                        <a:pt x="4704" y="4542"/>
                      </a:lnTo>
                      <a:lnTo>
                        <a:pt x="4663" y="4587"/>
                      </a:lnTo>
                      <a:lnTo>
                        <a:pt x="4663" y="4587"/>
                      </a:lnTo>
                      <a:lnTo>
                        <a:pt x="4620" y="4631"/>
                      </a:lnTo>
                      <a:lnTo>
                        <a:pt x="4576" y="4672"/>
                      </a:lnTo>
                      <a:lnTo>
                        <a:pt x="4532" y="4713"/>
                      </a:lnTo>
                      <a:lnTo>
                        <a:pt x="4488" y="4752"/>
                      </a:lnTo>
                      <a:lnTo>
                        <a:pt x="4442" y="4790"/>
                      </a:lnTo>
                      <a:lnTo>
                        <a:pt x="4395" y="4827"/>
                      </a:lnTo>
                      <a:lnTo>
                        <a:pt x="4346" y="4862"/>
                      </a:lnTo>
                      <a:lnTo>
                        <a:pt x="4299" y="4896"/>
                      </a:lnTo>
                      <a:lnTo>
                        <a:pt x="4249" y="4930"/>
                      </a:lnTo>
                      <a:lnTo>
                        <a:pt x="4199" y="4961"/>
                      </a:lnTo>
                      <a:lnTo>
                        <a:pt x="4148" y="4992"/>
                      </a:lnTo>
                      <a:lnTo>
                        <a:pt x="4097" y="5022"/>
                      </a:lnTo>
                      <a:lnTo>
                        <a:pt x="4044" y="5048"/>
                      </a:lnTo>
                      <a:lnTo>
                        <a:pt x="3991" y="5075"/>
                      </a:lnTo>
                      <a:lnTo>
                        <a:pt x="3938" y="5100"/>
                      </a:lnTo>
                      <a:lnTo>
                        <a:pt x="3883" y="5123"/>
                      </a:lnTo>
                      <a:lnTo>
                        <a:pt x="3829" y="5145"/>
                      </a:lnTo>
                      <a:lnTo>
                        <a:pt x="3773" y="5166"/>
                      </a:lnTo>
                      <a:lnTo>
                        <a:pt x="3717" y="5187"/>
                      </a:lnTo>
                      <a:lnTo>
                        <a:pt x="3660" y="5204"/>
                      </a:lnTo>
                      <a:lnTo>
                        <a:pt x="3603" y="5221"/>
                      </a:lnTo>
                      <a:lnTo>
                        <a:pt x="3546" y="5237"/>
                      </a:lnTo>
                      <a:lnTo>
                        <a:pt x="3487" y="5250"/>
                      </a:lnTo>
                      <a:lnTo>
                        <a:pt x="3428" y="5263"/>
                      </a:lnTo>
                      <a:lnTo>
                        <a:pt x="3369" y="5274"/>
                      </a:lnTo>
                      <a:lnTo>
                        <a:pt x="3310" y="5284"/>
                      </a:lnTo>
                      <a:lnTo>
                        <a:pt x="3249" y="5291"/>
                      </a:lnTo>
                      <a:lnTo>
                        <a:pt x="3189" y="5299"/>
                      </a:lnTo>
                      <a:lnTo>
                        <a:pt x="3128" y="5303"/>
                      </a:lnTo>
                      <a:lnTo>
                        <a:pt x="3066" y="5308"/>
                      </a:lnTo>
                      <a:lnTo>
                        <a:pt x="3004" y="5309"/>
                      </a:lnTo>
                      <a:lnTo>
                        <a:pt x="2943" y="5311"/>
                      </a:lnTo>
                      <a:lnTo>
                        <a:pt x="2943" y="5311"/>
                      </a:lnTo>
                      <a:lnTo>
                        <a:pt x="2879" y="5309"/>
                      </a:lnTo>
                      <a:lnTo>
                        <a:pt x="2814" y="5308"/>
                      </a:lnTo>
                      <a:lnTo>
                        <a:pt x="2751" y="5303"/>
                      </a:lnTo>
                      <a:lnTo>
                        <a:pt x="2688" y="5297"/>
                      </a:lnTo>
                      <a:lnTo>
                        <a:pt x="2624" y="5290"/>
                      </a:lnTo>
                      <a:lnTo>
                        <a:pt x="2561" y="5281"/>
                      </a:lnTo>
                      <a:lnTo>
                        <a:pt x="2499" y="5271"/>
                      </a:lnTo>
                      <a:lnTo>
                        <a:pt x="2437" y="5259"/>
                      </a:lnTo>
                      <a:lnTo>
                        <a:pt x="2376" y="5246"/>
                      </a:lnTo>
                      <a:lnTo>
                        <a:pt x="2315" y="5231"/>
                      </a:lnTo>
                      <a:lnTo>
                        <a:pt x="2256" y="5215"/>
                      </a:lnTo>
                      <a:lnTo>
                        <a:pt x="2195" y="5197"/>
                      </a:lnTo>
                      <a:lnTo>
                        <a:pt x="2136" y="5178"/>
                      </a:lnTo>
                      <a:lnTo>
                        <a:pt x="2077" y="5159"/>
                      </a:lnTo>
                      <a:lnTo>
                        <a:pt x="2020" y="5137"/>
                      </a:lnTo>
                      <a:lnTo>
                        <a:pt x="1962" y="5113"/>
                      </a:lnTo>
                      <a:lnTo>
                        <a:pt x="1905" y="5089"/>
                      </a:lnTo>
                      <a:lnTo>
                        <a:pt x="1849" y="5063"/>
                      </a:lnTo>
                      <a:lnTo>
                        <a:pt x="1793" y="5036"/>
                      </a:lnTo>
                      <a:lnTo>
                        <a:pt x="1738" y="5008"/>
                      </a:lnTo>
                      <a:lnTo>
                        <a:pt x="1685" y="4979"/>
                      </a:lnTo>
                      <a:lnTo>
                        <a:pt x="1631" y="4948"/>
                      </a:lnTo>
                      <a:lnTo>
                        <a:pt x="1579" y="4915"/>
                      </a:lnTo>
                      <a:lnTo>
                        <a:pt x="1527" y="4881"/>
                      </a:lnTo>
                      <a:lnTo>
                        <a:pt x="1476" y="4848"/>
                      </a:lnTo>
                      <a:lnTo>
                        <a:pt x="1426" y="4812"/>
                      </a:lnTo>
                      <a:lnTo>
                        <a:pt x="1377" y="4775"/>
                      </a:lnTo>
                      <a:lnTo>
                        <a:pt x="1328" y="4738"/>
                      </a:lnTo>
                      <a:lnTo>
                        <a:pt x="1280" y="4699"/>
                      </a:lnTo>
                      <a:lnTo>
                        <a:pt x="1234" y="4659"/>
                      </a:lnTo>
                      <a:lnTo>
                        <a:pt x="1188" y="4618"/>
                      </a:lnTo>
                      <a:lnTo>
                        <a:pt x="1143" y="4576"/>
                      </a:lnTo>
                      <a:lnTo>
                        <a:pt x="1100" y="4534"/>
                      </a:lnTo>
                      <a:lnTo>
                        <a:pt x="1057" y="4489"/>
                      </a:lnTo>
                      <a:lnTo>
                        <a:pt x="1014" y="4444"/>
                      </a:lnTo>
                      <a:lnTo>
                        <a:pt x="974" y="4398"/>
                      </a:lnTo>
                      <a:lnTo>
                        <a:pt x="935" y="4352"/>
                      </a:lnTo>
                      <a:lnTo>
                        <a:pt x="895" y="4303"/>
                      </a:lnTo>
                      <a:lnTo>
                        <a:pt x="858" y="4255"/>
                      </a:lnTo>
                      <a:lnTo>
                        <a:pt x="821" y="4206"/>
                      </a:lnTo>
                      <a:lnTo>
                        <a:pt x="786" y="4155"/>
                      </a:lnTo>
                      <a:lnTo>
                        <a:pt x="752" y="4104"/>
                      </a:lnTo>
                      <a:lnTo>
                        <a:pt x="719" y="4051"/>
                      </a:lnTo>
                      <a:lnTo>
                        <a:pt x="687" y="4000"/>
                      </a:lnTo>
                      <a:lnTo>
                        <a:pt x="656" y="3945"/>
                      </a:lnTo>
                      <a:lnTo>
                        <a:pt x="628" y="3891"/>
                      </a:lnTo>
                      <a:lnTo>
                        <a:pt x="599" y="3836"/>
                      </a:lnTo>
                      <a:lnTo>
                        <a:pt x="572" y="3780"/>
                      </a:lnTo>
                      <a:lnTo>
                        <a:pt x="547" y="3724"/>
                      </a:lnTo>
                      <a:lnTo>
                        <a:pt x="523" y="3667"/>
                      </a:lnTo>
                      <a:lnTo>
                        <a:pt x="500" y="3609"/>
                      </a:lnTo>
                      <a:lnTo>
                        <a:pt x="478" y="3550"/>
                      </a:lnTo>
                      <a:lnTo>
                        <a:pt x="459" y="3491"/>
                      </a:lnTo>
                      <a:lnTo>
                        <a:pt x="439" y="3432"/>
                      </a:lnTo>
                      <a:lnTo>
                        <a:pt x="422" y="3372"/>
                      </a:lnTo>
                      <a:lnTo>
                        <a:pt x="407" y="3311"/>
                      </a:lnTo>
                      <a:lnTo>
                        <a:pt x="392" y="3249"/>
                      </a:lnTo>
                      <a:lnTo>
                        <a:pt x="379" y="3187"/>
                      </a:lnTo>
                      <a:lnTo>
                        <a:pt x="367" y="3125"/>
                      </a:lnTo>
                      <a:lnTo>
                        <a:pt x="358" y="3062"/>
                      </a:lnTo>
                      <a:lnTo>
                        <a:pt x="349" y="2999"/>
                      </a:lnTo>
                      <a:lnTo>
                        <a:pt x="342" y="2935"/>
                      </a:lnTo>
                      <a:lnTo>
                        <a:pt x="338" y="2872"/>
                      </a:lnTo>
                      <a:lnTo>
                        <a:pt x="335" y="2807"/>
                      </a:lnTo>
                      <a:lnTo>
                        <a:pt x="335" y="2807"/>
                      </a:lnTo>
                      <a:lnTo>
                        <a:pt x="332" y="2745"/>
                      </a:lnTo>
                      <a:lnTo>
                        <a:pt x="332" y="2683"/>
                      </a:lnTo>
                      <a:lnTo>
                        <a:pt x="333" y="2621"/>
                      </a:lnTo>
                      <a:lnTo>
                        <a:pt x="336" y="2561"/>
                      </a:lnTo>
                      <a:lnTo>
                        <a:pt x="339" y="2500"/>
                      </a:lnTo>
                      <a:lnTo>
                        <a:pt x="345" y="2438"/>
                      </a:lnTo>
                      <a:lnTo>
                        <a:pt x="352" y="2379"/>
                      </a:lnTo>
                      <a:lnTo>
                        <a:pt x="361" y="2319"/>
                      </a:lnTo>
                      <a:lnTo>
                        <a:pt x="370" y="2260"/>
                      </a:lnTo>
                      <a:lnTo>
                        <a:pt x="382" y="2201"/>
                      </a:lnTo>
                      <a:lnTo>
                        <a:pt x="395" y="2142"/>
                      </a:lnTo>
                      <a:lnTo>
                        <a:pt x="410" y="2085"/>
                      </a:lnTo>
                      <a:lnTo>
                        <a:pt x="425" y="2027"/>
                      </a:lnTo>
                      <a:lnTo>
                        <a:pt x="442" y="1970"/>
                      </a:lnTo>
                      <a:lnTo>
                        <a:pt x="461" y="1913"/>
                      </a:lnTo>
                      <a:lnTo>
                        <a:pt x="481" y="1857"/>
                      </a:lnTo>
                      <a:lnTo>
                        <a:pt x="503" y="1801"/>
                      </a:lnTo>
                      <a:lnTo>
                        <a:pt x="525" y="1747"/>
                      </a:lnTo>
                      <a:lnTo>
                        <a:pt x="548" y="1694"/>
                      </a:lnTo>
                      <a:lnTo>
                        <a:pt x="575" y="1639"/>
                      </a:lnTo>
                      <a:lnTo>
                        <a:pt x="602" y="1586"/>
                      </a:lnTo>
                      <a:lnTo>
                        <a:pt x="630" y="1535"/>
                      </a:lnTo>
                      <a:lnTo>
                        <a:pt x="659" y="1483"/>
                      </a:lnTo>
                      <a:lnTo>
                        <a:pt x="690" y="1433"/>
                      </a:lnTo>
                      <a:lnTo>
                        <a:pt x="722" y="1383"/>
                      </a:lnTo>
                      <a:lnTo>
                        <a:pt x="756" y="1333"/>
                      </a:lnTo>
                      <a:lnTo>
                        <a:pt x="790" y="1285"/>
                      </a:lnTo>
                      <a:lnTo>
                        <a:pt x="827" y="1237"/>
                      </a:lnTo>
                      <a:lnTo>
                        <a:pt x="864" y="1190"/>
                      </a:lnTo>
                      <a:lnTo>
                        <a:pt x="902" y="1144"/>
                      </a:lnTo>
                      <a:lnTo>
                        <a:pt x="944" y="1100"/>
                      </a:lnTo>
                      <a:lnTo>
                        <a:pt x="985" y="1055"/>
                      </a:lnTo>
                      <a:lnTo>
                        <a:pt x="985" y="1055"/>
                      </a:lnTo>
                      <a:lnTo>
                        <a:pt x="1026" y="1011"/>
                      </a:lnTo>
                      <a:lnTo>
                        <a:pt x="1070" y="970"/>
                      </a:lnTo>
                      <a:lnTo>
                        <a:pt x="1115" y="929"/>
                      </a:lnTo>
                      <a:lnTo>
                        <a:pt x="1159" y="890"/>
                      </a:lnTo>
                      <a:lnTo>
                        <a:pt x="1206" y="852"/>
                      </a:lnTo>
                      <a:lnTo>
                        <a:pt x="1252" y="815"/>
                      </a:lnTo>
                      <a:lnTo>
                        <a:pt x="1300" y="780"/>
                      </a:lnTo>
                      <a:lnTo>
                        <a:pt x="1349" y="746"/>
                      </a:lnTo>
                      <a:lnTo>
                        <a:pt x="1398" y="712"/>
                      </a:lnTo>
                      <a:lnTo>
                        <a:pt x="1448" y="681"/>
                      </a:lnTo>
                      <a:lnTo>
                        <a:pt x="1498" y="650"/>
                      </a:lnTo>
                      <a:lnTo>
                        <a:pt x="1549" y="620"/>
                      </a:lnTo>
                      <a:lnTo>
                        <a:pt x="1602" y="594"/>
                      </a:lnTo>
                      <a:lnTo>
                        <a:pt x="1656" y="567"/>
                      </a:lnTo>
                      <a:lnTo>
                        <a:pt x="1709" y="542"/>
                      </a:lnTo>
                      <a:lnTo>
                        <a:pt x="1763" y="519"/>
                      </a:lnTo>
                      <a:lnTo>
                        <a:pt x="1818" y="497"/>
                      </a:lnTo>
                      <a:lnTo>
                        <a:pt x="1874" y="474"/>
                      </a:lnTo>
                      <a:lnTo>
                        <a:pt x="1930" y="455"/>
                      </a:lnTo>
                      <a:lnTo>
                        <a:pt x="1986" y="438"/>
                      </a:lnTo>
                      <a:lnTo>
                        <a:pt x="2043" y="421"/>
                      </a:lnTo>
                      <a:lnTo>
                        <a:pt x="2101" y="405"/>
                      </a:lnTo>
                      <a:lnTo>
                        <a:pt x="2160" y="392"/>
                      </a:lnTo>
                      <a:lnTo>
                        <a:pt x="2219" y="379"/>
                      </a:lnTo>
                      <a:lnTo>
                        <a:pt x="2278" y="368"/>
                      </a:lnTo>
                      <a:lnTo>
                        <a:pt x="2337" y="358"/>
                      </a:lnTo>
                      <a:lnTo>
                        <a:pt x="2397" y="351"/>
                      </a:lnTo>
                      <a:lnTo>
                        <a:pt x="2458" y="343"/>
                      </a:lnTo>
                      <a:lnTo>
                        <a:pt x="2518" y="339"/>
                      </a:lnTo>
                      <a:lnTo>
                        <a:pt x="2580" y="334"/>
                      </a:lnTo>
                      <a:lnTo>
                        <a:pt x="2642" y="333"/>
                      </a:lnTo>
                      <a:lnTo>
                        <a:pt x="2704" y="331"/>
                      </a:lnTo>
                      <a:close/>
                      <a:moveTo>
                        <a:pt x="2704" y="0"/>
                      </a:moveTo>
                      <a:lnTo>
                        <a:pt x="2704" y="0"/>
                      </a:lnTo>
                      <a:lnTo>
                        <a:pt x="2630" y="1"/>
                      </a:lnTo>
                      <a:lnTo>
                        <a:pt x="2558" y="4"/>
                      </a:lnTo>
                      <a:lnTo>
                        <a:pt x="2487" y="9"/>
                      </a:lnTo>
                      <a:lnTo>
                        <a:pt x="2415" y="14"/>
                      </a:lnTo>
                      <a:lnTo>
                        <a:pt x="2345" y="23"/>
                      </a:lnTo>
                      <a:lnTo>
                        <a:pt x="2275" y="32"/>
                      </a:lnTo>
                      <a:lnTo>
                        <a:pt x="2205" y="44"/>
                      </a:lnTo>
                      <a:lnTo>
                        <a:pt x="2138" y="57"/>
                      </a:lnTo>
                      <a:lnTo>
                        <a:pt x="2070" y="72"/>
                      </a:lnTo>
                      <a:lnTo>
                        <a:pt x="2002" y="88"/>
                      </a:lnTo>
                      <a:lnTo>
                        <a:pt x="1936" y="107"/>
                      </a:lnTo>
                      <a:lnTo>
                        <a:pt x="1869" y="127"/>
                      </a:lnTo>
                      <a:lnTo>
                        <a:pt x="1804" y="149"/>
                      </a:lnTo>
                      <a:lnTo>
                        <a:pt x="1741" y="171"/>
                      </a:lnTo>
                      <a:lnTo>
                        <a:pt x="1678" y="196"/>
                      </a:lnTo>
                      <a:lnTo>
                        <a:pt x="1614" y="222"/>
                      </a:lnTo>
                      <a:lnTo>
                        <a:pt x="1552" y="249"/>
                      </a:lnTo>
                      <a:lnTo>
                        <a:pt x="1492" y="278"/>
                      </a:lnTo>
                      <a:lnTo>
                        <a:pt x="1433" y="308"/>
                      </a:lnTo>
                      <a:lnTo>
                        <a:pt x="1373" y="340"/>
                      </a:lnTo>
                      <a:lnTo>
                        <a:pt x="1315" y="374"/>
                      </a:lnTo>
                      <a:lnTo>
                        <a:pt x="1258" y="408"/>
                      </a:lnTo>
                      <a:lnTo>
                        <a:pt x="1202" y="445"/>
                      </a:lnTo>
                      <a:lnTo>
                        <a:pt x="1147" y="482"/>
                      </a:lnTo>
                      <a:lnTo>
                        <a:pt x="1092" y="520"/>
                      </a:lnTo>
                      <a:lnTo>
                        <a:pt x="1039" y="560"/>
                      </a:lnTo>
                      <a:lnTo>
                        <a:pt x="988" y="601"/>
                      </a:lnTo>
                      <a:lnTo>
                        <a:pt x="936" y="644"/>
                      </a:lnTo>
                      <a:lnTo>
                        <a:pt x="886" y="688"/>
                      </a:lnTo>
                      <a:lnTo>
                        <a:pt x="837" y="732"/>
                      </a:lnTo>
                      <a:lnTo>
                        <a:pt x="790" y="778"/>
                      </a:lnTo>
                      <a:lnTo>
                        <a:pt x="745" y="827"/>
                      </a:lnTo>
                      <a:lnTo>
                        <a:pt x="699" y="874"/>
                      </a:lnTo>
                      <a:lnTo>
                        <a:pt x="655" y="924"/>
                      </a:lnTo>
                      <a:lnTo>
                        <a:pt x="612" y="974"/>
                      </a:lnTo>
                      <a:lnTo>
                        <a:pt x="571" y="1026"/>
                      </a:lnTo>
                      <a:lnTo>
                        <a:pt x="531" y="1079"/>
                      </a:lnTo>
                      <a:lnTo>
                        <a:pt x="491" y="1134"/>
                      </a:lnTo>
                      <a:lnTo>
                        <a:pt x="454" y="1188"/>
                      </a:lnTo>
                      <a:lnTo>
                        <a:pt x="417" y="1244"/>
                      </a:lnTo>
                      <a:lnTo>
                        <a:pt x="382" y="1300"/>
                      </a:lnTo>
                      <a:lnTo>
                        <a:pt x="349" y="1358"/>
                      </a:lnTo>
                      <a:lnTo>
                        <a:pt x="317" y="1417"/>
                      </a:lnTo>
                      <a:lnTo>
                        <a:pt x="286" y="1476"/>
                      </a:lnTo>
                      <a:lnTo>
                        <a:pt x="257" y="1536"/>
                      </a:lnTo>
                      <a:lnTo>
                        <a:pt x="229" y="1598"/>
                      </a:lnTo>
                      <a:lnTo>
                        <a:pt x="202" y="1660"/>
                      </a:lnTo>
                      <a:lnTo>
                        <a:pt x="177" y="1723"/>
                      </a:lnTo>
                      <a:lnTo>
                        <a:pt x="155" y="1787"/>
                      </a:lnTo>
                      <a:lnTo>
                        <a:pt x="133" y="1852"/>
                      </a:lnTo>
                      <a:lnTo>
                        <a:pt x="112" y="1916"/>
                      </a:lnTo>
                      <a:lnTo>
                        <a:pt x="94" y="1983"/>
                      </a:lnTo>
                      <a:lnTo>
                        <a:pt x="77" y="2049"/>
                      </a:lnTo>
                      <a:lnTo>
                        <a:pt x="62" y="2115"/>
                      </a:lnTo>
                      <a:lnTo>
                        <a:pt x="47" y="2183"/>
                      </a:lnTo>
                      <a:lnTo>
                        <a:pt x="35" y="2253"/>
                      </a:lnTo>
                      <a:lnTo>
                        <a:pt x="25" y="2322"/>
                      </a:lnTo>
                      <a:lnTo>
                        <a:pt x="16" y="2391"/>
                      </a:lnTo>
                      <a:lnTo>
                        <a:pt x="10" y="2462"/>
                      </a:lnTo>
                      <a:lnTo>
                        <a:pt x="4" y="2533"/>
                      </a:lnTo>
                      <a:lnTo>
                        <a:pt x="2" y="2604"/>
                      </a:lnTo>
                      <a:lnTo>
                        <a:pt x="0" y="2676"/>
                      </a:lnTo>
                      <a:lnTo>
                        <a:pt x="0" y="2748"/>
                      </a:lnTo>
                      <a:lnTo>
                        <a:pt x="3" y="2820"/>
                      </a:lnTo>
                      <a:lnTo>
                        <a:pt x="3" y="2820"/>
                      </a:lnTo>
                      <a:lnTo>
                        <a:pt x="7" y="2894"/>
                      </a:lnTo>
                      <a:lnTo>
                        <a:pt x="12" y="2966"/>
                      </a:lnTo>
                      <a:lnTo>
                        <a:pt x="21" y="3038"/>
                      </a:lnTo>
                      <a:lnTo>
                        <a:pt x="30" y="3109"/>
                      </a:lnTo>
                      <a:lnTo>
                        <a:pt x="41" y="3180"/>
                      </a:lnTo>
                      <a:lnTo>
                        <a:pt x="53" y="3251"/>
                      </a:lnTo>
                      <a:lnTo>
                        <a:pt x="68" y="3320"/>
                      </a:lnTo>
                      <a:lnTo>
                        <a:pt x="84" y="3389"/>
                      </a:lnTo>
                      <a:lnTo>
                        <a:pt x="102" y="3459"/>
                      </a:lnTo>
                      <a:lnTo>
                        <a:pt x="121" y="3526"/>
                      </a:lnTo>
                      <a:lnTo>
                        <a:pt x="143" y="3593"/>
                      </a:lnTo>
                      <a:lnTo>
                        <a:pt x="165" y="3659"/>
                      </a:lnTo>
                      <a:lnTo>
                        <a:pt x="189" y="3726"/>
                      </a:lnTo>
                      <a:lnTo>
                        <a:pt x="215" y="3790"/>
                      </a:lnTo>
                      <a:lnTo>
                        <a:pt x="242" y="3855"/>
                      </a:lnTo>
                      <a:lnTo>
                        <a:pt x="271" y="3919"/>
                      </a:lnTo>
                      <a:lnTo>
                        <a:pt x="301" y="3982"/>
                      </a:lnTo>
                      <a:lnTo>
                        <a:pt x="333" y="4044"/>
                      </a:lnTo>
                      <a:lnTo>
                        <a:pt x="366" y="4106"/>
                      </a:lnTo>
                      <a:lnTo>
                        <a:pt x="401" y="4165"/>
                      </a:lnTo>
                      <a:lnTo>
                        <a:pt x="436" y="4225"/>
                      </a:lnTo>
                      <a:lnTo>
                        <a:pt x="473" y="4284"/>
                      </a:lnTo>
                      <a:lnTo>
                        <a:pt x="512" y="4342"/>
                      </a:lnTo>
                      <a:lnTo>
                        <a:pt x="551" y="4398"/>
                      </a:lnTo>
                      <a:lnTo>
                        <a:pt x="593" y="4454"/>
                      </a:lnTo>
                      <a:lnTo>
                        <a:pt x="635" y="4508"/>
                      </a:lnTo>
                      <a:lnTo>
                        <a:pt x="678" y="4563"/>
                      </a:lnTo>
                      <a:lnTo>
                        <a:pt x="722" y="4616"/>
                      </a:lnTo>
                      <a:lnTo>
                        <a:pt x="770" y="4668"/>
                      </a:lnTo>
                      <a:lnTo>
                        <a:pt x="817" y="4718"/>
                      </a:lnTo>
                      <a:lnTo>
                        <a:pt x="864" y="4768"/>
                      </a:lnTo>
                      <a:lnTo>
                        <a:pt x="914" y="4815"/>
                      </a:lnTo>
                      <a:lnTo>
                        <a:pt x="964" y="4862"/>
                      </a:lnTo>
                      <a:lnTo>
                        <a:pt x="1016" y="4909"/>
                      </a:lnTo>
                      <a:lnTo>
                        <a:pt x="1069" y="4954"/>
                      </a:lnTo>
                      <a:lnTo>
                        <a:pt x="1122" y="4998"/>
                      </a:lnTo>
                      <a:lnTo>
                        <a:pt x="1176" y="5041"/>
                      </a:lnTo>
                      <a:lnTo>
                        <a:pt x="1232" y="5082"/>
                      </a:lnTo>
                      <a:lnTo>
                        <a:pt x="1288" y="5122"/>
                      </a:lnTo>
                      <a:lnTo>
                        <a:pt x="1346" y="5160"/>
                      </a:lnTo>
                      <a:lnTo>
                        <a:pt x="1403" y="5197"/>
                      </a:lnTo>
                      <a:lnTo>
                        <a:pt x="1464" y="5234"/>
                      </a:lnTo>
                      <a:lnTo>
                        <a:pt x="1523" y="5268"/>
                      </a:lnTo>
                      <a:lnTo>
                        <a:pt x="1585" y="5302"/>
                      </a:lnTo>
                      <a:lnTo>
                        <a:pt x="1647" y="5333"/>
                      </a:lnTo>
                      <a:lnTo>
                        <a:pt x="1709" y="5364"/>
                      </a:lnTo>
                      <a:lnTo>
                        <a:pt x="1772" y="5393"/>
                      </a:lnTo>
                      <a:lnTo>
                        <a:pt x="1835" y="5420"/>
                      </a:lnTo>
                      <a:lnTo>
                        <a:pt x="1900" y="5446"/>
                      </a:lnTo>
                      <a:lnTo>
                        <a:pt x="1967" y="5471"/>
                      </a:lnTo>
                      <a:lnTo>
                        <a:pt x="2033" y="5493"/>
                      </a:lnTo>
                      <a:lnTo>
                        <a:pt x="2099" y="5515"/>
                      </a:lnTo>
                      <a:lnTo>
                        <a:pt x="2167" y="5535"/>
                      </a:lnTo>
                      <a:lnTo>
                        <a:pt x="2235" y="5554"/>
                      </a:lnTo>
                      <a:lnTo>
                        <a:pt x="2303" y="5570"/>
                      </a:lnTo>
                      <a:lnTo>
                        <a:pt x="2372" y="5585"/>
                      </a:lnTo>
                      <a:lnTo>
                        <a:pt x="2443" y="5598"/>
                      </a:lnTo>
                      <a:lnTo>
                        <a:pt x="2512" y="5610"/>
                      </a:lnTo>
                      <a:lnTo>
                        <a:pt x="2583" y="5619"/>
                      </a:lnTo>
                      <a:lnTo>
                        <a:pt x="2654" y="5628"/>
                      </a:lnTo>
                      <a:lnTo>
                        <a:pt x="2726" y="5633"/>
                      </a:lnTo>
                      <a:lnTo>
                        <a:pt x="2798" y="5638"/>
                      </a:lnTo>
                      <a:lnTo>
                        <a:pt x="2870" y="5641"/>
                      </a:lnTo>
                      <a:lnTo>
                        <a:pt x="2943" y="5642"/>
                      </a:lnTo>
                      <a:lnTo>
                        <a:pt x="2943" y="5642"/>
                      </a:lnTo>
                      <a:lnTo>
                        <a:pt x="3016" y="5641"/>
                      </a:lnTo>
                      <a:lnTo>
                        <a:pt x="3088" y="5638"/>
                      </a:lnTo>
                      <a:lnTo>
                        <a:pt x="3159" y="5633"/>
                      </a:lnTo>
                      <a:lnTo>
                        <a:pt x="3231" y="5628"/>
                      </a:lnTo>
                      <a:lnTo>
                        <a:pt x="3302" y="5619"/>
                      </a:lnTo>
                      <a:lnTo>
                        <a:pt x="3372" y="5610"/>
                      </a:lnTo>
                      <a:lnTo>
                        <a:pt x="3441" y="5598"/>
                      </a:lnTo>
                      <a:lnTo>
                        <a:pt x="3509" y="5585"/>
                      </a:lnTo>
                      <a:lnTo>
                        <a:pt x="3578" y="5570"/>
                      </a:lnTo>
                      <a:lnTo>
                        <a:pt x="3644" y="5554"/>
                      </a:lnTo>
                      <a:lnTo>
                        <a:pt x="3711" y="5535"/>
                      </a:lnTo>
                      <a:lnTo>
                        <a:pt x="3777" y="5515"/>
                      </a:lnTo>
                      <a:lnTo>
                        <a:pt x="3842" y="5493"/>
                      </a:lnTo>
                      <a:lnTo>
                        <a:pt x="3905" y="5471"/>
                      </a:lnTo>
                      <a:lnTo>
                        <a:pt x="3969" y="5446"/>
                      </a:lnTo>
                      <a:lnTo>
                        <a:pt x="4032" y="5420"/>
                      </a:lnTo>
                      <a:lnTo>
                        <a:pt x="4094" y="5393"/>
                      </a:lnTo>
                      <a:lnTo>
                        <a:pt x="4154" y="5364"/>
                      </a:lnTo>
                      <a:lnTo>
                        <a:pt x="4215" y="5333"/>
                      </a:lnTo>
                      <a:lnTo>
                        <a:pt x="4274" y="5302"/>
                      </a:lnTo>
                      <a:lnTo>
                        <a:pt x="4331" y="5268"/>
                      </a:lnTo>
                      <a:lnTo>
                        <a:pt x="4389" y="5234"/>
                      </a:lnTo>
                      <a:lnTo>
                        <a:pt x="4445" y="5197"/>
                      </a:lnTo>
                      <a:lnTo>
                        <a:pt x="4499" y="5160"/>
                      </a:lnTo>
                      <a:lnTo>
                        <a:pt x="4554" y="5122"/>
                      </a:lnTo>
                      <a:lnTo>
                        <a:pt x="4607" y="5082"/>
                      </a:lnTo>
                      <a:lnTo>
                        <a:pt x="4659" y="5041"/>
                      </a:lnTo>
                      <a:lnTo>
                        <a:pt x="4710" y="4998"/>
                      </a:lnTo>
                      <a:lnTo>
                        <a:pt x="4760" y="4954"/>
                      </a:lnTo>
                      <a:lnTo>
                        <a:pt x="4809" y="4909"/>
                      </a:lnTo>
                      <a:lnTo>
                        <a:pt x="4856" y="4862"/>
                      </a:lnTo>
                      <a:lnTo>
                        <a:pt x="4903" y="4815"/>
                      </a:lnTo>
                      <a:lnTo>
                        <a:pt x="4947" y="4768"/>
                      </a:lnTo>
                      <a:lnTo>
                        <a:pt x="4992" y="4718"/>
                      </a:lnTo>
                      <a:lnTo>
                        <a:pt x="5034" y="4668"/>
                      </a:lnTo>
                      <a:lnTo>
                        <a:pt x="5076" y="4616"/>
                      </a:lnTo>
                      <a:lnTo>
                        <a:pt x="5117" y="4563"/>
                      </a:lnTo>
                      <a:lnTo>
                        <a:pt x="5155" y="4508"/>
                      </a:lnTo>
                      <a:lnTo>
                        <a:pt x="5194" y="4454"/>
                      </a:lnTo>
                      <a:lnTo>
                        <a:pt x="5229" y="4398"/>
                      </a:lnTo>
                      <a:lnTo>
                        <a:pt x="5264" y="4342"/>
                      </a:lnTo>
                      <a:lnTo>
                        <a:pt x="5298" y="4284"/>
                      </a:lnTo>
                      <a:lnTo>
                        <a:pt x="5329" y="4225"/>
                      </a:lnTo>
                      <a:lnTo>
                        <a:pt x="5360" y="4165"/>
                      </a:lnTo>
                      <a:lnTo>
                        <a:pt x="5390" y="4106"/>
                      </a:lnTo>
                      <a:lnTo>
                        <a:pt x="5418" y="4044"/>
                      </a:lnTo>
                      <a:lnTo>
                        <a:pt x="5444" y="3982"/>
                      </a:lnTo>
                      <a:lnTo>
                        <a:pt x="5469" y="3919"/>
                      </a:lnTo>
                      <a:lnTo>
                        <a:pt x="5493" y="3855"/>
                      </a:lnTo>
                      <a:lnTo>
                        <a:pt x="5514" y="3790"/>
                      </a:lnTo>
                      <a:lnTo>
                        <a:pt x="5534" y="3726"/>
                      </a:lnTo>
                      <a:lnTo>
                        <a:pt x="5553" y="3659"/>
                      </a:lnTo>
                      <a:lnTo>
                        <a:pt x="5570" y="3593"/>
                      </a:lnTo>
                      <a:lnTo>
                        <a:pt x="5584" y="3526"/>
                      </a:lnTo>
                      <a:lnTo>
                        <a:pt x="5599" y="3459"/>
                      </a:lnTo>
                      <a:lnTo>
                        <a:pt x="5611" y="3389"/>
                      </a:lnTo>
                      <a:lnTo>
                        <a:pt x="5621" y="3320"/>
                      </a:lnTo>
                      <a:lnTo>
                        <a:pt x="5630" y="3251"/>
                      </a:lnTo>
                      <a:lnTo>
                        <a:pt x="5636" y="3180"/>
                      </a:lnTo>
                      <a:lnTo>
                        <a:pt x="5642" y="3109"/>
                      </a:lnTo>
                      <a:lnTo>
                        <a:pt x="5645" y="3038"/>
                      </a:lnTo>
                      <a:lnTo>
                        <a:pt x="5646" y="2966"/>
                      </a:lnTo>
                      <a:lnTo>
                        <a:pt x="5646" y="2894"/>
                      </a:lnTo>
                      <a:lnTo>
                        <a:pt x="5643" y="2820"/>
                      </a:lnTo>
                      <a:lnTo>
                        <a:pt x="5643" y="2820"/>
                      </a:lnTo>
                      <a:lnTo>
                        <a:pt x="5640" y="2748"/>
                      </a:lnTo>
                      <a:lnTo>
                        <a:pt x="5634" y="2676"/>
                      </a:lnTo>
                      <a:lnTo>
                        <a:pt x="5627" y="2604"/>
                      </a:lnTo>
                      <a:lnTo>
                        <a:pt x="5617" y="2533"/>
                      </a:lnTo>
                      <a:lnTo>
                        <a:pt x="5606" y="2462"/>
                      </a:lnTo>
                      <a:lnTo>
                        <a:pt x="5593" y="2391"/>
                      </a:lnTo>
                      <a:lnTo>
                        <a:pt x="5578" y="2322"/>
                      </a:lnTo>
                      <a:lnTo>
                        <a:pt x="5562" y="2253"/>
                      </a:lnTo>
                      <a:lnTo>
                        <a:pt x="5545" y="2183"/>
                      </a:lnTo>
                      <a:lnTo>
                        <a:pt x="5525" y="2115"/>
                      </a:lnTo>
                      <a:lnTo>
                        <a:pt x="5505" y="2049"/>
                      </a:lnTo>
                      <a:lnTo>
                        <a:pt x="5481" y="1983"/>
                      </a:lnTo>
                      <a:lnTo>
                        <a:pt x="5458" y="1916"/>
                      </a:lnTo>
                      <a:lnTo>
                        <a:pt x="5431" y="1852"/>
                      </a:lnTo>
                      <a:lnTo>
                        <a:pt x="5404" y="1787"/>
                      </a:lnTo>
                      <a:lnTo>
                        <a:pt x="5375" y="1723"/>
                      </a:lnTo>
                      <a:lnTo>
                        <a:pt x="5346" y="1660"/>
                      </a:lnTo>
                      <a:lnTo>
                        <a:pt x="5313" y="1598"/>
                      </a:lnTo>
                      <a:lnTo>
                        <a:pt x="5281" y="1536"/>
                      </a:lnTo>
                      <a:lnTo>
                        <a:pt x="5247" y="1476"/>
                      </a:lnTo>
                      <a:lnTo>
                        <a:pt x="5210" y="1417"/>
                      </a:lnTo>
                      <a:lnTo>
                        <a:pt x="5173" y="1358"/>
                      </a:lnTo>
                      <a:lnTo>
                        <a:pt x="5135" y="1300"/>
                      </a:lnTo>
                      <a:lnTo>
                        <a:pt x="5095" y="1244"/>
                      </a:lnTo>
                      <a:lnTo>
                        <a:pt x="5054" y="1188"/>
                      </a:lnTo>
                      <a:lnTo>
                        <a:pt x="5012" y="1134"/>
                      </a:lnTo>
                      <a:lnTo>
                        <a:pt x="4968" y="1079"/>
                      </a:lnTo>
                      <a:lnTo>
                        <a:pt x="4924" y="1026"/>
                      </a:lnTo>
                      <a:lnTo>
                        <a:pt x="4878" y="974"/>
                      </a:lnTo>
                      <a:lnTo>
                        <a:pt x="4831" y="924"/>
                      </a:lnTo>
                      <a:lnTo>
                        <a:pt x="4782" y="874"/>
                      </a:lnTo>
                      <a:lnTo>
                        <a:pt x="4732" y="827"/>
                      </a:lnTo>
                      <a:lnTo>
                        <a:pt x="4682" y="778"/>
                      </a:lnTo>
                      <a:lnTo>
                        <a:pt x="4631" y="732"/>
                      </a:lnTo>
                      <a:lnTo>
                        <a:pt x="4579" y="688"/>
                      </a:lnTo>
                      <a:lnTo>
                        <a:pt x="4524" y="644"/>
                      </a:lnTo>
                      <a:lnTo>
                        <a:pt x="4470" y="601"/>
                      </a:lnTo>
                      <a:lnTo>
                        <a:pt x="4415" y="560"/>
                      </a:lnTo>
                      <a:lnTo>
                        <a:pt x="4358" y="520"/>
                      </a:lnTo>
                      <a:lnTo>
                        <a:pt x="4300" y="482"/>
                      </a:lnTo>
                      <a:lnTo>
                        <a:pt x="4243" y="445"/>
                      </a:lnTo>
                      <a:lnTo>
                        <a:pt x="4184" y="408"/>
                      </a:lnTo>
                      <a:lnTo>
                        <a:pt x="4123" y="374"/>
                      </a:lnTo>
                      <a:lnTo>
                        <a:pt x="4061" y="340"/>
                      </a:lnTo>
                      <a:lnTo>
                        <a:pt x="4001" y="308"/>
                      </a:lnTo>
                      <a:lnTo>
                        <a:pt x="3938" y="278"/>
                      </a:lnTo>
                      <a:lnTo>
                        <a:pt x="3874" y="249"/>
                      </a:lnTo>
                      <a:lnTo>
                        <a:pt x="3811" y="222"/>
                      </a:lnTo>
                      <a:lnTo>
                        <a:pt x="3746" y="196"/>
                      </a:lnTo>
                      <a:lnTo>
                        <a:pt x="3680" y="171"/>
                      </a:lnTo>
                      <a:lnTo>
                        <a:pt x="3615" y="149"/>
                      </a:lnTo>
                      <a:lnTo>
                        <a:pt x="3547" y="127"/>
                      </a:lnTo>
                      <a:lnTo>
                        <a:pt x="3481" y="107"/>
                      </a:lnTo>
                      <a:lnTo>
                        <a:pt x="3411" y="88"/>
                      </a:lnTo>
                      <a:lnTo>
                        <a:pt x="3344" y="72"/>
                      </a:lnTo>
                      <a:lnTo>
                        <a:pt x="3274" y="57"/>
                      </a:lnTo>
                      <a:lnTo>
                        <a:pt x="3205" y="44"/>
                      </a:lnTo>
                      <a:lnTo>
                        <a:pt x="3134" y="32"/>
                      </a:lnTo>
                      <a:lnTo>
                        <a:pt x="3063" y="23"/>
                      </a:lnTo>
                      <a:lnTo>
                        <a:pt x="2993" y="14"/>
                      </a:lnTo>
                      <a:lnTo>
                        <a:pt x="2920" y="9"/>
                      </a:lnTo>
                      <a:lnTo>
                        <a:pt x="2848" y="4"/>
                      </a:lnTo>
                      <a:lnTo>
                        <a:pt x="2776" y="1"/>
                      </a:lnTo>
                      <a:lnTo>
                        <a:pt x="2704" y="0"/>
                      </a:lnTo>
                      <a:lnTo>
                        <a:pt x="270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4" name="Freeform 16">
                  <a:extLst>
                    <a:ext uri="{FF2B5EF4-FFF2-40B4-BE49-F238E27FC236}">
                      <a16:creationId xmlns:a16="http://schemas.microsoft.com/office/drawing/2014/main" xmlns="" id="{F0D91824-A942-3C4D-AA71-CEA3B53E77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13750" y="404813"/>
                  <a:ext cx="2928938" cy="2925763"/>
                </a:xfrm>
                <a:custGeom>
                  <a:avLst/>
                  <a:gdLst/>
                  <a:ahLst/>
                  <a:cxnLst>
                    <a:cxn ang="0">
                      <a:pos x="3124" y="135"/>
                    </a:cxn>
                    <a:cxn ang="0">
                      <a:pos x="3699" y="303"/>
                    </a:cxn>
                    <a:cxn ang="0">
                      <a:pos x="4218" y="588"/>
                    </a:cxn>
                    <a:cxn ang="0">
                      <a:pos x="4666" y="971"/>
                    </a:cxn>
                    <a:cxn ang="0">
                      <a:pos x="5027" y="1439"/>
                    </a:cxn>
                    <a:cxn ang="0">
                      <a:pos x="5285" y="1974"/>
                    </a:cxn>
                    <a:cxn ang="0">
                      <a:pos x="5422" y="2564"/>
                    </a:cxn>
                    <a:cxn ang="0">
                      <a:pos x="5433" y="3100"/>
                    </a:cxn>
                    <a:cxn ang="0">
                      <a:pos x="5322" y="3670"/>
                    </a:cxn>
                    <a:cxn ang="0">
                      <a:pos x="5088" y="4194"/>
                    </a:cxn>
                    <a:cxn ang="0">
                      <a:pos x="4737" y="4656"/>
                    </a:cxn>
                    <a:cxn ang="0">
                      <a:pos x="4345" y="4991"/>
                    </a:cxn>
                    <a:cxn ang="0">
                      <a:pos x="3839" y="5259"/>
                    </a:cxn>
                    <a:cxn ang="0">
                      <a:pos x="3279" y="5408"/>
                    </a:cxn>
                    <a:cxn ang="0">
                      <a:pos x="2748" y="5433"/>
                    </a:cxn>
                    <a:cxn ang="0">
                      <a:pos x="2149" y="5336"/>
                    </a:cxn>
                    <a:cxn ang="0">
                      <a:pos x="1597" y="5113"/>
                    </a:cxn>
                    <a:cxn ang="0">
                      <a:pos x="1107" y="4784"/>
                    </a:cxn>
                    <a:cxn ang="0">
                      <a:pos x="696" y="4361"/>
                    </a:cxn>
                    <a:cxn ang="0">
                      <a:pos x="379" y="3861"/>
                    </a:cxn>
                    <a:cxn ang="0">
                      <a:pos x="173" y="3299"/>
                    </a:cxn>
                    <a:cxn ang="0">
                      <a:pos x="96" y="2761"/>
                    </a:cxn>
                    <a:cxn ang="0">
                      <a:pos x="136" y="2172"/>
                    </a:cxn>
                    <a:cxn ang="0">
                      <a:pos x="302" y="1620"/>
                    </a:cxn>
                    <a:cxn ang="0">
                      <a:pos x="588" y="1122"/>
                    </a:cxn>
                    <a:cxn ang="0">
                      <a:pos x="938" y="738"/>
                    </a:cxn>
                    <a:cxn ang="0">
                      <a:pos x="1408" y="405"/>
                    </a:cxn>
                    <a:cxn ang="0">
                      <a:pos x="1939" y="190"/>
                    </a:cxn>
                    <a:cxn ang="0">
                      <a:pos x="2517" y="96"/>
                    </a:cxn>
                    <a:cxn ang="0">
                      <a:pos x="2298" y="22"/>
                    </a:cxn>
                    <a:cxn ang="0">
                      <a:pos x="1706" y="168"/>
                    </a:cxn>
                    <a:cxn ang="0">
                      <a:pos x="1178" y="436"/>
                    </a:cxn>
                    <a:cxn ang="0">
                      <a:pos x="730" y="811"/>
                    </a:cxn>
                    <a:cxn ang="0">
                      <a:pos x="374" y="1275"/>
                    </a:cxn>
                    <a:cxn ang="0">
                      <a:pos x="130" y="1815"/>
                    </a:cxn>
                    <a:cxn ang="0">
                      <a:pos x="10" y="2413"/>
                    </a:cxn>
                    <a:cxn ang="0">
                      <a:pos x="21" y="2978"/>
                    </a:cxn>
                    <a:cxn ang="0">
                      <a:pos x="162" y="3587"/>
                    </a:cxn>
                    <a:cxn ang="0">
                      <a:pos x="428" y="4141"/>
                    </a:cxn>
                    <a:cxn ang="0">
                      <a:pos x="801" y="4623"/>
                    </a:cxn>
                    <a:cxn ang="0">
                      <a:pos x="1263" y="5020"/>
                    </a:cxn>
                    <a:cxn ang="0">
                      <a:pos x="1800" y="5312"/>
                    </a:cxn>
                    <a:cxn ang="0">
                      <a:pos x="2394" y="5486"/>
                    </a:cxn>
                    <a:cxn ang="0">
                      <a:pos x="2956" y="5529"/>
                    </a:cxn>
                    <a:cxn ang="0">
                      <a:pos x="3572" y="5443"/>
                    </a:cxn>
                    <a:cxn ang="0">
                      <a:pos x="4131" y="5228"/>
                    </a:cxn>
                    <a:cxn ang="0">
                      <a:pos x="4616" y="4898"/>
                    </a:cxn>
                    <a:cxn ang="0">
                      <a:pos x="5015" y="4472"/>
                    </a:cxn>
                    <a:cxn ang="0">
                      <a:pos x="5310" y="3963"/>
                    </a:cxn>
                    <a:cxn ang="0">
                      <a:pos x="5487" y="3389"/>
                    </a:cxn>
                    <a:cxn ang="0">
                      <a:pos x="5531" y="2764"/>
                    </a:cxn>
                    <a:cxn ang="0">
                      <a:pos x="5452" y="2208"/>
                    </a:cxn>
                    <a:cxn ang="0">
                      <a:pos x="5239" y="1627"/>
                    </a:cxn>
                    <a:cxn ang="0">
                      <a:pos x="4912" y="1111"/>
                    </a:cxn>
                    <a:cxn ang="0">
                      <a:pos x="4488" y="675"/>
                    </a:cxn>
                    <a:cxn ang="0">
                      <a:pos x="3982" y="334"/>
                    </a:cxn>
                    <a:cxn ang="0">
                      <a:pos x="3411" y="104"/>
                    </a:cxn>
                    <a:cxn ang="0">
                      <a:pos x="2792" y="4"/>
                    </a:cxn>
                  </a:cxnLst>
                  <a:rect l="0" t="0" r="r" b="b"/>
                  <a:pathLst>
                    <a:path w="5534" h="5530">
                      <a:moveTo>
                        <a:pt x="2649" y="93"/>
                      </a:moveTo>
                      <a:lnTo>
                        <a:pt x="2649" y="93"/>
                      </a:lnTo>
                      <a:lnTo>
                        <a:pt x="2718" y="94"/>
                      </a:lnTo>
                      <a:lnTo>
                        <a:pt x="2788" y="97"/>
                      </a:lnTo>
                      <a:lnTo>
                        <a:pt x="2856" y="101"/>
                      </a:lnTo>
                      <a:lnTo>
                        <a:pt x="2923" y="107"/>
                      </a:lnTo>
                      <a:lnTo>
                        <a:pt x="2991" y="115"/>
                      </a:lnTo>
                      <a:lnTo>
                        <a:pt x="3058" y="124"/>
                      </a:lnTo>
                      <a:lnTo>
                        <a:pt x="3124" y="135"/>
                      </a:lnTo>
                      <a:lnTo>
                        <a:pt x="3190" y="147"/>
                      </a:lnTo>
                      <a:lnTo>
                        <a:pt x="3257" y="162"/>
                      </a:lnTo>
                      <a:lnTo>
                        <a:pt x="3321" y="178"/>
                      </a:lnTo>
                      <a:lnTo>
                        <a:pt x="3385" y="194"/>
                      </a:lnTo>
                      <a:lnTo>
                        <a:pt x="3450" y="214"/>
                      </a:lnTo>
                      <a:lnTo>
                        <a:pt x="3513" y="234"/>
                      </a:lnTo>
                      <a:lnTo>
                        <a:pt x="3575" y="256"/>
                      </a:lnTo>
                      <a:lnTo>
                        <a:pt x="3637" y="278"/>
                      </a:lnTo>
                      <a:lnTo>
                        <a:pt x="3699" y="303"/>
                      </a:lnTo>
                      <a:lnTo>
                        <a:pt x="3759" y="330"/>
                      </a:lnTo>
                      <a:lnTo>
                        <a:pt x="3820" y="358"/>
                      </a:lnTo>
                      <a:lnTo>
                        <a:pt x="3879" y="386"/>
                      </a:lnTo>
                      <a:lnTo>
                        <a:pt x="3938" y="417"/>
                      </a:lnTo>
                      <a:lnTo>
                        <a:pt x="3995" y="448"/>
                      </a:lnTo>
                      <a:lnTo>
                        <a:pt x="4053" y="480"/>
                      </a:lnTo>
                      <a:lnTo>
                        <a:pt x="4109" y="516"/>
                      </a:lnTo>
                      <a:lnTo>
                        <a:pt x="4163" y="551"/>
                      </a:lnTo>
                      <a:lnTo>
                        <a:pt x="4218" y="588"/>
                      </a:lnTo>
                      <a:lnTo>
                        <a:pt x="4272" y="625"/>
                      </a:lnTo>
                      <a:lnTo>
                        <a:pt x="4325" y="665"/>
                      </a:lnTo>
                      <a:lnTo>
                        <a:pt x="4377" y="705"/>
                      </a:lnTo>
                      <a:lnTo>
                        <a:pt x="4427" y="746"/>
                      </a:lnTo>
                      <a:lnTo>
                        <a:pt x="4477" y="789"/>
                      </a:lnTo>
                      <a:lnTo>
                        <a:pt x="4526" y="833"/>
                      </a:lnTo>
                      <a:lnTo>
                        <a:pt x="4575" y="877"/>
                      </a:lnTo>
                      <a:lnTo>
                        <a:pt x="4620" y="924"/>
                      </a:lnTo>
                      <a:lnTo>
                        <a:pt x="4666" y="971"/>
                      </a:lnTo>
                      <a:lnTo>
                        <a:pt x="4712" y="1019"/>
                      </a:lnTo>
                      <a:lnTo>
                        <a:pt x="4754" y="1067"/>
                      </a:lnTo>
                      <a:lnTo>
                        <a:pt x="4797" y="1117"/>
                      </a:lnTo>
                      <a:lnTo>
                        <a:pt x="4838" y="1169"/>
                      </a:lnTo>
                      <a:lnTo>
                        <a:pt x="4878" y="1221"/>
                      </a:lnTo>
                      <a:lnTo>
                        <a:pt x="4918" y="1274"/>
                      </a:lnTo>
                      <a:lnTo>
                        <a:pt x="4955" y="1328"/>
                      </a:lnTo>
                      <a:lnTo>
                        <a:pt x="4992" y="1383"/>
                      </a:lnTo>
                      <a:lnTo>
                        <a:pt x="5027" y="1439"/>
                      </a:lnTo>
                      <a:lnTo>
                        <a:pt x="5061" y="1495"/>
                      </a:lnTo>
                      <a:lnTo>
                        <a:pt x="5093" y="1552"/>
                      </a:lnTo>
                      <a:lnTo>
                        <a:pt x="5126" y="1610"/>
                      </a:lnTo>
                      <a:lnTo>
                        <a:pt x="5155" y="1669"/>
                      </a:lnTo>
                      <a:lnTo>
                        <a:pt x="5183" y="1728"/>
                      </a:lnTo>
                      <a:lnTo>
                        <a:pt x="5211" y="1788"/>
                      </a:lnTo>
                      <a:lnTo>
                        <a:pt x="5236" y="1850"/>
                      </a:lnTo>
                      <a:lnTo>
                        <a:pt x="5262" y="1912"/>
                      </a:lnTo>
                      <a:lnTo>
                        <a:pt x="5285" y="1974"/>
                      </a:lnTo>
                      <a:lnTo>
                        <a:pt x="5306" y="2037"/>
                      </a:lnTo>
                      <a:lnTo>
                        <a:pt x="5326" y="2101"/>
                      </a:lnTo>
                      <a:lnTo>
                        <a:pt x="5344" y="2166"/>
                      </a:lnTo>
                      <a:lnTo>
                        <a:pt x="5362" y="2231"/>
                      </a:lnTo>
                      <a:lnTo>
                        <a:pt x="5376" y="2295"/>
                      </a:lnTo>
                      <a:lnTo>
                        <a:pt x="5391" y="2362"/>
                      </a:lnTo>
                      <a:lnTo>
                        <a:pt x="5403" y="2428"/>
                      </a:lnTo>
                      <a:lnTo>
                        <a:pt x="5413" y="2496"/>
                      </a:lnTo>
                      <a:lnTo>
                        <a:pt x="5422" y="2564"/>
                      </a:lnTo>
                      <a:lnTo>
                        <a:pt x="5430" y="2632"/>
                      </a:lnTo>
                      <a:lnTo>
                        <a:pt x="5435" y="2699"/>
                      </a:lnTo>
                      <a:lnTo>
                        <a:pt x="5438" y="2769"/>
                      </a:lnTo>
                      <a:lnTo>
                        <a:pt x="5438" y="2769"/>
                      </a:lnTo>
                      <a:lnTo>
                        <a:pt x="5441" y="2835"/>
                      </a:lnTo>
                      <a:lnTo>
                        <a:pt x="5441" y="2903"/>
                      </a:lnTo>
                      <a:lnTo>
                        <a:pt x="5440" y="2968"/>
                      </a:lnTo>
                      <a:lnTo>
                        <a:pt x="5437" y="3034"/>
                      </a:lnTo>
                      <a:lnTo>
                        <a:pt x="5433" y="3100"/>
                      </a:lnTo>
                      <a:lnTo>
                        <a:pt x="5427" y="3165"/>
                      </a:lnTo>
                      <a:lnTo>
                        <a:pt x="5419" y="3230"/>
                      </a:lnTo>
                      <a:lnTo>
                        <a:pt x="5410" y="3294"/>
                      </a:lnTo>
                      <a:lnTo>
                        <a:pt x="5399" y="3358"/>
                      </a:lnTo>
                      <a:lnTo>
                        <a:pt x="5387" y="3422"/>
                      </a:lnTo>
                      <a:lnTo>
                        <a:pt x="5374" y="3484"/>
                      </a:lnTo>
                      <a:lnTo>
                        <a:pt x="5357" y="3547"/>
                      </a:lnTo>
                      <a:lnTo>
                        <a:pt x="5341" y="3609"/>
                      </a:lnTo>
                      <a:lnTo>
                        <a:pt x="5322" y="3670"/>
                      </a:lnTo>
                      <a:lnTo>
                        <a:pt x="5303" y="3731"/>
                      </a:lnTo>
                      <a:lnTo>
                        <a:pt x="5281" y="3792"/>
                      </a:lnTo>
                      <a:lnTo>
                        <a:pt x="5257" y="3851"/>
                      </a:lnTo>
                      <a:lnTo>
                        <a:pt x="5233" y="3910"/>
                      </a:lnTo>
                      <a:lnTo>
                        <a:pt x="5207" y="3969"/>
                      </a:lnTo>
                      <a:lnTo>
                        <a:pt x="5179" y="4026"/>
                      </a:lnTo>
                      <a:lnTo>
                        <a:pt x="5151" y="4082"/>
                      </a:lnTo>
                      <a:lnTo>
                        <a:pt x="5120" y="4140"/>
                      </a:lnTo>
                      <a:lnTo>
                        <a:pt x="5088" y="4194"/>
                      </a:lnTo>
                      <a:lnTo>
                        <a:pt x="5055" y="4249"/>
                      </a:lnTo>
                      <a:lnTo>
                        <a:pt x="5020" y="4304"/>
                      </a:lnTo>
                      <a:lnTo>
                        <a:pt x="4984" y="4357"/>
                      </a:lnTo>
                      <a:lnTo>
                        <a:pt x="4946" y="4408"/>
                      </a:lnTo>
                      <a:lnTo>
                        <a:pt x="4908" y="4460"/>
                      </a:lnTo>
                      <a:lnTo>
                        <a:pt x="4866" y="4510"/>
                      </a:lnTo>
                      <a:lnTo>
                        <a:pt x="4825" y="4560"/>
                      </a:lnTo>
                      <a:lnTo>
                        <a:pt x="4782" y="4609"/>
                      </a:lnTo>
                      <a:lnTo>
                        <a:pt x="4737" y="4656"/>
                      </a:lnTo>
                      <a:lnTo>
                        <a:pt x="4737" y="4656"/>
                      </a:lnTo>
                      <a:lnTo>
                        <a:pt x="4691" y="4703"/>
                      </a:lnTo>
                      <a:lnTo>
                        <a:pt x="4645" y="4749"/>
                      </a:lnTo>
                      <a:lnTo>
                        <a:pt x="4597" y="4792"/>
                      </a:lnTo>
                      <a:lnTo>
                        <a:pt x="4548" y="4834"/>
                      </a:lnTo>
                      <a:lnTo>
                        <a:pt x="4499" y="4876"/>
                      </a:lnTo>
                      <a:lnTo>
                        <a:pt x="4448" y="4915"/>
                      </a:lnTo>
                      <a:lnTo>
                        <a:pt x="4398" y="4954"/>
                      </a:lnTo>
                      <a:lnTo>
                        <a:pt x="4345" y="4991"/>
                      </a:lnTo>
                      <a:lnTo>
                        <a:pt x="4291" y="5026"/>
                      </a:lnTo>
                      <a:lnTo>
                        <a:pt x="4237" y="5060"/>
                      </a:lnTo>
                      <a:lnTo>
                        <a:pt x="4182" y="5094"/>
                      </a:lnTo>
                      <a:lnTo>
                        <a:pt x="4128" y="5125"/>
                      </a:lnTo>
                      <a:lnTo>
                        <a:pt x="4070" y="5154"/>
                      </a:lnTo>
                      <a:lnTo>
                        <a:pt x="4014" y="5182"/>
                      </a:lnTo>
                      <a:lnTo>
                        <a:pt x="3955" y="5210"/>
                      </a:lnTo>
                      <a:lnTo>
                        <a:pt x="3898" y="5235"/>
                      </a:lnTo>
                      <a:lnTo>
                        <a:pt x="3839" y="5259"/>
                      </a:lnTo>
                      <a:lnTo>
                        <a:pt x="3778" y="5283"/>
                      </a:lnTo>
                      <a:lnTo>
                        <a:pt x="3718" y="5303"/>
                      </a:lnTo>
                      <a:lnTo>
                        <a:pt x="3658" y="5322"/>
                      </a:lnTo>
                      <a:lnTo>
                        <a:pt x="3596" y="5340"/>
                      </a:lnTo>
                      <a:lnTo>
                        <a:pt x="3534" y="5358"/>
                      </a:lnTo>
                      <a:lnTo>
                        <a:pt x="3470" y="5372"/>
                      </a:lnTo>
                      <a:lnTo>
                        <a:pt x="3407" y="5386"/>
                      </a:lnTo>
                      <a:lnTo>
                        <a:pt x="3344" y="5398"/>
                      </a:lnTo>
                      <a:lnTo>
                        <a:pt x="3279" y="5408"/>
                      </a:lnTo>
                      <a:lnTo>
                        <a:pt x="3214" y="5417"/>
                      </a:lnTo>
                      <a:lnTo>
                        <a:pt x="3149" y="5424"/>
                      </a:lnTo>
                      <a:lnTo>
                        <a:pt x="3084" y="5430"/>
                      </a:lnTo>
                      <a:lnTo>
                        <a:pt x="3018" y="5433"/>
                      </a:lnTo>
                      <a:lnTo>
                        <a:pt x="2951" y="5436"/>
                      </a:lnTo>
                      <a:lnTo>
                        <a:pt x="2885" y="5437"/>
                      </a:lnTo>
                      <a:lnTo>
                        <a:pt x="2885" y="5437"/>
                      </a:lnTo>
                      <a:lnTo>
                        <a:pt x="2816" y="5436"/>
                      </a:lnTo>
                      <a:lnTo>
                        <a:pt x="2748" y="5433"/>
                      </a:lnTo>
                      <a:lnTo>
                        <a:pt x="2679" y="5428"/>
                      </a:lnTo>
                      <a:lnTo>
                        <a:pt x="2611" y="5423"/>
                      </a:lnTo>
                      <a:lnTo>
                        <a:pt x="2543" y="5415"/>
                      </a:lnTo>
                      <a:lnTo>
                        <a:pt x="2477" y="5406"/>
                      </a:lnTo>
                      <a:lnTo>
                        <a:pt x="2410" y="5395"/>
                      </a:lnTo>
                      <a:lnTo>
                        <a:pt x="2344" y="5383"/>
                      </a:lnTo>
                      <a:lnTo>
                        <a:pt x="2279" y="5368"/>
                      </a:lnTo>
                      <a:lnTo>
                        <a:pt x="2213" y="5352"/>
                      </a:lnTo>
                      <a:lnTo>
                        <a:pt x="2149" y="5336"/>
                      </a:lnTo>
                      <a:lnTo>
                        <a:pt x="2085" y="5316"/>
                      </a:lnTo>
                      <a:lnTo>
                        <a:pt x="2021" y="5296"/>
                      </a:lnTo>
                      <a:lnTo>
                        <a:pt x="1959" y="5274"/>
                      </a:lnTo>
                      <a:lnTo>
                        <a:pt x="1897" y="5252"/>
                      </a:lnTo>
                      <a:lnTo>
                        <a:pt x="1835" y="5226"/>
                      </a:lnTo>
                      <a:lnTo>
                        <a:pt x="1775" y="5200"/>
                      </a:lnTo>
                      <a:lnTo>
                        <a:pt x="1715" y="5172"/>
                      </a:lnTo>
                      <a:lnTo>
                        <a:pt x="1656" y="5144"/>
                      </a:lnTo>
                      <a:lnTo>
                        <a:pt x="1597" y="5113"/>
                      </a:lnTo>
                      <a:lnTo>
                        <a:pt x="1539" y="5082"/>
                      </a:lnTo>
                      <a:lnTo>
                        <a:pt x="1482" y="5050"/>
                      </a:lnTo>
                      <a:lnTo>
                        <a:pt x="1426" y="5014"/>
                      </a:lnTo>
                      <a:lnTo>
                        <a:pt x="1371" y="4979"/>
                      </a:lnTo>
                      <a:lnTo>
                        <a:pt x="1317" y="4942"/>
                      </a:lnTo>
                      <a:lnTo>
                        <a:pt x="1262" y="4905"/>
                      </a:lnTo>
                      <a:lnTo>
                        <a:pt x="1210" y="4865"/>
                      </a:lnTo>
                      <a:lnTo>
                        <a:pt x="1159" y="4825"/>
                      </a:lnTo>
                      <a:lnTo>
                        <a:pt x="1107" y="4784"/>
                      </a:lnTo>
                      <a:lnTo>
                        <a:pt x="1057" y="4741"/>
                      </a:lnTo>
                      <a:lnTo>
                        <a:pt x="1008" y="4697"/>
                      </a:lnTo>
                      <a:lnTo>
                        <a:pt x="961" y="4651"/>
                      </a:lnTo>
                      <a:lnTo>
                        <a:pt x="914" y="4606"/>
                      </a:lnTo>
                      <a:lnTo>
                        <a:pt x="868" y="4559"/>
                      </a:lnTo>
                      <a:lnTo>
                        <a:pt x="823" y="4511"/>
                      </a:lnTo>
                      <a:lnTo>
                        <a:pt x="780" y="4463"/>
                      </a:lnTo>
                      <a:lnTo>
                        <a:pt x="737" y="4413"/>
                      </a:lnTo>
                      <a:lnTo>
                        <a:pt x="696" y="4361"/>
                      </a:lnTo>
                      <a:lnTo>
                        <a:pt x="656" y="4309"/>
                      </a:lnTo>
                      <a:lnTo>
                        <a:pt x="616" y="4256"/>
                      </a:lnTo>
                      <a:lnTo>
                        <a:pt x="579" y="4202"/>
                      </a:lnTo>
                      <a:lnTo>
                        <a:pt x="543" y="4147"/>
                      </a:lnTo>
                      <a:lnTo>
                        <a:pt x="507" y="4091"/>
                      </a:lnTo>
                      <a:lnTo>
                        <a:pt x="473" y="4035"/>
                      </a:lnTo>
                      <a:lnTo>
                        <a:pt x="441" y="3978"/>
                      </a:lnTo>
                      <a:lnTo>
                        <a:pt x="410" y="3920"/>
                      </a:lnTo>
                      <a:lnTo>
                        <a:pt x="379" y="3861"/>
                      </a:lnTo>
                      <a:lnTo>
                        <a:pt x="351" y="3802"/>
                      </a:lnTo>
                      <a:lnTo>
                        <a:pt x="323" y="3742"/>
                      </a:lnTo>
                      <a:lnTo>
                        <a:pt x="298" y="3680"/>
                      </a:lnTo>
                      <a:lnTo>
                        <a:pt x="273" y="3618"/>
                      </a:lnTo>
                      <a:lnTo>
                        <a:pt x="251" y="3556"/>
                      </a:lnTo>
                      <a:lnTo>
                        <a:pt x="229" y="3493"/>
                      </a:lnTo>
                      <a:lnTo>
                        <a:pt x="208" y="3429"/>
                      </a:lnTo>
                      <a:lnTo>
                        <a:pt x="190" y="3364"/>
                      </a:lnTo>
                      <a:lnTo>
                        <a:pt x="173" y="3299"/>
                      </a:lnTo>
                      <a:lnTo>
                        <a:pt x="158" y="3235"/>
                      </a:lnTo>
                      <a:lnTo>
                        <a:pt x="145" y="3168"/>
                      </a:lnTo>
                      <a:lnTo>
                        <a:pt x="131" y="3102"/>
                      </a:lnTo>
                      <a:lnTo>
                        <a:pt x="121" y="3034"/>
                      </a:lnTo>
                      <a:lnTo>
                        <a:pt x="112" y="2966"/>
                      </a:lnTo>
                      <a:lnTo>
                        <a:pt x="105" y="2898"/>
                      </a:lnTo>
                      <a:lnTo>
                        <a:pt x="99" y="2831"/>
                      </a:lnTo>
                      <a:lnTo>
                        <a:pt x="96" y="2761"/>
                      </a:lnTo>
                      <a:lnTo>
                        <a:pt x="96" y="2761"/>
                      </a:lnTo>
                      <a:lnTo>
                        <a:pt x="93" y="2695"/>
                      </a:lnTo>
                      <a:lnTo>
                        <a:pt x="93" y="2627"/>
                      </a:lnTo>
                      <a:lnTo>
                        <a:pt x="94" y="2562"/>
                      </a:lnTo>
                      <a:lnTo>
                        <a:pt x="97" y="2496"/>
                      </a:lnTo>
                      <a:lnTo>
                        <a:pt x="102" y="2430"/>
                      </a:lnTo>
                      <a:lnTo>
                        <a:pt x="108" y="2365"/>
                      </a:lnTo>
                      <a:lnTo>
                        <a:pt x="115" y="2300"/>
                      </a:lnTo>
                      <a:lnTo>
                        <a:pt x="124" y="2236"/>
                      </a:lnTo>
                      <a:lnTo>
                        <a:pt x="136" y="2172"/>
                      </a:lnTo>
                      <a:lnTo>
                        <a:pt x="147" y="2108"/>
                      </a:lnTo>
                      <a:lnTo>
                        <a:pt x="162" y="2046"/>
                      </a:lnTo>
                      <a:lnTo>
                        <a:pt x="177" y="1983"/>
                      </a:lnTo>
                      <a:lnTo>
                        <a:pt x="195" y="1921"/>
                      </a:lnTo>
                      <a:lnTo>
                        <a:pt x="212" y="1859"/>
                      </a:lnTo>
                      <a:lnTo>
                        <a:pt x="233" y="1799"/>
                      </a:lnTo>
                      <a:lnTo>
                        <a:pt x="254" y="1738"/>
                      </a:lnTo>
                      <a:lnTo>
                        <a:pt x="277" y="1679"/>
                      </a:lnTo>
                      <a:lnTo>
                        <a:pt x="302" y="1620"/>
                      </a:lnTo>
                      <a:lnTo>
                        <a:pt x="327" y="1561"/>
                      </a:lnTo>
                      <a:lnTo>
                        <a:pt x="355" y="1504"/>
                      </a:lnTo>
                      <a:lnTo>
                        <a:pt x="383" y="1448"/>
                      </a:lnTo>
                      <a:lnTo>
                        <a:pt x="414" y="1390"/>
                      </a:lnTo>
                      <a:lnTo>
                        <a:pt x="447" y="1336"/>
                      </a:lnTo>
                      <a:lnTo>
                        <a:pt x="479" y="1281"/>
                      </a:lnTo>
                      <a:lnTo>
                        <a:pt x="515" y="1226"/>
                      </a:lnTo>
                      <a:lnTo>
                        <a:pt x="550" y="1173"/>
                      </a:lnTo>
                      <a:lnTo>
                        <a:pt x="588" y="1122"/>
                      </a:lnTo>
                      <a:lnTo>
                        <a:pt x="627" y="1070"/>
                      </a:lnTo>
                      <a:lnTo>
                        <a:pt x="668" y="1020"/>
                      </a:lnTo>
                      <a:lnTo>
                        <a:pt x="709" y="970"/>
                      </a:lnTo>
                      <a:lnTo>
                        <a:pt x="753" y="921"/>
                      </a:lnTo>
                      <a:lnTo>
                        <a:pt x="798" y="874"/>
                      </a:lnTo>
                      <a:lnTo>
                        <a:pt x="798" y="874"/>
                      </a:lnTo>
                      <a:lnTo>
                        <a:pt x="843" y="827"/>
                      </a:lnTo>
                      <a:lnTo>
                        <a:pt x="889" y="781"/>
                      </a:lnTo>
                      <a:lnTo>
                        <a:pt x="938" y="738"/>
                      </a:lnTo>
                      <a:lnTo>
                        <a:pt x="986" y="696"/>
                      </a:lnTo>
                      <a:lnTo>
                        <a:pt x="1035" y="654"/>
                      </a:lnTo>
                      <a:lnTo>
                        <a:pt x="1087" y="615"/>
                      </a:lnTo>
                      <a:lnTo>
                        <a:pt x="1138" y="576"/>
                      </a:lnTo>
                      <a:lnTo>
                        <a:pt x="1190" y="539"/>
                      </a:lnTo>
                      <a:lnTo>
                        <a:pt x="1243" y="504"/>
                      </a:lnTo>
                      <a:lnTo>
                        <a:pt x="1297" y="470"/>
                      </a:lnTo>
                      <a:lnTo>
                        <a:pt x="1352" y="436"/>
                      </a:lnTo>
                      <a:lnTo>
                        <a:pt x="1408" y="405"/>
                      </a:lnTo>
                      <a:lnTo>
                        <a:pt x="1464" y="376"/>
                      </a:lnTo>
                      <a:lnTo>
                        <a:pt x="1521" y="348"/>
                      </a:lnTo>
                      <a:lnTo>
                        <a:pt x="1579" y="320"/>
                      </a:lnTo>
                      <a:lnTo>
                        <a:pt x="1636" y="295"/>
                      </a:lnTo>
                      <a:lnTo>
                        <a:pt x="1697" y="271"/>
                      </a:lnTo>
                      <a:lnTo>
                        <a:pt x="1756" y="247"/>
                      </a:lnTo>
                      <a:lnTo>
                        <a:pt x="1816" y="227"/>
                      </a:lnTo>
                      <a:lnTo>
                        <a:pt x="1878" y="208"/>
                      </a:lnTo>
                      <a:lnTo>
                        <a:pt x="1939" y="190"/>
                      </a:lnTo>
                      <a:lnTo>
                        <a:pt x="2002" y="172"/>
                      </a:lnTo>
                      <a:lnTo>
                        <a:pt x="2064" y="158"/>
                      </a:lnTo>
                      <a:lnTo>
                        <a:pt x="2127" y="144"/>
                      </a:lnTo>
                      <a:lnTo>
                        <a:pt x="2191" y="132"/>
                      </a:lnTo>
                      <a:lnTo>
                        <a:pt x="2256" y="122"/>
                      </a:lnTo>
                      <a:lnTo>
                        <a:pt x="2320" y="113"/>
                      </a:lnTo>
                      <a:lnTo>
                        <a:pt x="2385" y="106"/>
                      </a:lnTo>
                      <a:lnTo>
                        <a:pt x="2450" y="100"/>
                      </a:lnTo>
                      <a:lnTo>
                        <a:pt x="2517" y="96"/>
                      </a:lnTo>
                      <a:lnTo>
                        <a:pt x="2583" y="94"/>
                      </a:lnTo>
                      <a:lnTo>
                        <a:pt x="2649" y="93"/>
                      </a:lnTo>
                      <a:close/>
                      <a:moveTo>
                        <a:pt x="2649" y="0"/>
                      </a:moveTo>
                      <a:lnTo>
                        <a:pt x="2649" y="0"/>
                      </a:lnTo>
                      <a:lnTo>
                        <a:pt x="2578" y="1"/>
                      </a:lnTo>
                      <a:lnTo>
                        <a:pt x="2508" y="4"/>
                      </a:lnTo>
                      <a:lnTo>
                        <a:pt x="2437" y="9"/>
                      </a:lnTo>
                      <a:lnTo>
                        <a:pt x="2368" y="14"/>
                      </a:lnTo>
                      <a:lnTo>
                        <a:pt x="2298" y="22"/>
                      </a:lnTo>
                      <a:lnTo>
                        <a:pt x="2231" y="32"/>
                      </a:lnTo>
                      <a:lnTo>
                        <a:pt x="2163" y="44"/>
                      </a:lnTo>
                      <a:lnTo>
                        <a:pt x="2095" y="56"/>
                      </a:lnTo>
                      <a:lnTo>
                        <a:pt x="2029" y="71"/>
                      </a:lnTo>
                      <a:lnTo>
                        <a:pt x="1962" y="87"/>
                      </a:lnTo>
                      <a:lnTo>
                        <a:pt x="1897" y="104"/>
                      </a:lnTo>
                      <a:lnTo>
                        <a:pt x="1832" y="125"/>
                      </a:lnTo>
                      <a:lnTo>
                        <a:pt x="1769" y="146"/>
                      </a:lnTo>
                      <a:lnTo>
                        <a:pt x="1706" y="168"/>
                      </a:lnTo>
                      <a:lnTo>
                        <a:pt x="1644" y="191"/>
                      </a:lnTo>
                      <a:lnTo>
                        <a:pt x="1583" y="218"/>
                      </a:lnTo>
                      <a:lnTo>
                        <a:pt x="1523" y="244"/>
                      </a:lnTo>
                      <a:lnTo>
                        <a:pt x="1462" y="273"/>
                      </a:lnTo>
                      <a:lnTo>
                        <a:pt x="1403" y="302"/>
                      </a:lnTo>
                      <a:lnTo>
                        <a:pt x="1346" y="334"/>
                      </a:lnTo>
                      <a:lnTo>
                        <a:pt x="1289" y="367"/>
                      </a:lnTo>
                      <a:lnTo>
                        <a:pt x="1232" y="401"/>
                      </a:lnTo>
                      <a:lnTo>
                        <a:pt x="1178" y="436"/>
                      </a:lnTo>
                      <a:lnTo>
                        <a:pt x="1123" y="473"/>
                      </a:lnTo>
                      <a:lnTo>
                        <a:pt x="1070" y="510"/>
                      </a:lnTo>
                      <a:lnTo>
                        <a:pt x="1019" y="550"/>
                      </a:lnTo>
                      <a:lnTo>
                        <a:pt x="969" y="590"/>
                      </a:lnTo>
                      <a:lnTo>
                        <a:pt x="918" y="631"/>
                      </a:lnTo>
                      <a:lnTo>
                        <a:pt x="870" y="675"/>
                      </a:lnTo>
                      <a:lnTo>
                        <a:pt x="821" y="718"/>
                      </a:lnTo>
                      <a:lnTo>
                        <a:pt x="775" y="763"/>
                      </a:lnTo>
                      <a:lnTo>
                        <a:pt x="730" y="811"/>
                      </a:lnTo>
                      <a:lnTo>
                        <a:pt x="686" y="858"/>
                      </a:lnTo>
                      <a:lnTo>
                        <a:pt x="641" y="906"/>
                      </a:lnTo>
                      <a:lnTo>
                        <a:pt x="600" y="955"/>
                      </a:lnTo>
                      <a:lnTo>
                        <a:pt x="559" y="1007"/>
                      </a:lnTo>
                      <a:lnTo>
                        <a:pt x="520" y="1058"/>
                      </a:lnTo>
                      <a:lnTo>
                        <a:pt x="482" y="1111"/>
                      </a:lnTo>
                      <a:lnTo>
                        <a:pt x="445" y="1165"/>
                      </a:lnTo>
                      <a:lnTo>
                        <a:pt x="410" y="1219"/>
                      </a:lnTo>
                      <a:lnTo>
                        <a:pt x="374" y="1275"/>
                      </a:lnTo>
                      <a:lnTo>
                        <a:pt x="342" y="1331"/>
                      </a:lnTo>
                      <a:lnTo>
                        <a:pt x="311" y="1389"/>
                      </a:lnTo>
                      <a:lnTo>
                        <a:pt x="280" y="1448"/>
                      </a:lnTo>
                      <a:lnTo>
                        <a:pt x="252" y="1507"/>
                      </a:lnTo>
                      <a:lnTo>
                        <a:pt x="224" y="1567"/>
                      </a:lnTo>
                      <a:lnTo>
                        <a:pt x="199" y="1627"/>
                      </a:lnTo>
                      <a:lnTo>
                        <a:pt x="174" y="1689"/>
                      </a:lnTo>
                      <a:lnTo>
                        <a:pt x="152" y="1751"/>
                      </a:lnTo>
                      <a:lnTo>
                        <a:pt x="130" y="1815"/>
                      </a:lnTo>
                      <a:lnTo>
                        <a:pt x="111" y="1878"/>
                      </a:lnTo>
                      <a:lnTo>
                        <a:pt x="91" y="1943"/>
                      </a:lnTo>
                      <a:lnTo>
                        <a:pt x="75" y="2008"/>
                      </a:lnTo>
                      <a:lnTo>
                        <a:pt x="60" y="2074"/>
                      </a:lnTo>
                      <a:lnTo>
                        <a:pt x="47" y="2141"/>
                      </a:lnTo>
                      <a:lnTo>
                        <a:pt x="35" y="2208"/>
                      </a:lnTo>
                      <a:lnTo>
                        <a:pt x="25" y="2276"/>
                      </a:lnTo>
                      <a:lnTo>
                        <a:pt x="16" y="2344"/>
                      </a:lnTo>
                      <a:lnTo>
                        <a:pt x="10" y="2413"/>
                      </a:lnTo>
                      <a:lnTo>
                        <a:pt x="4" y="2483"/>
                      </a:lnTo>
                      <a:lnTo>
                        <a:pt x="2" y="2552"/>
                      </a:lnTo>
                      <a:lnTo>
                        <a:pt x="0" y="2623"/>
                      </a:lnTo>
                      <a:lnTo>
                        <a:pt x="0" y="2693"/>
                      </a:lnTo>
                      <a:lnTo>
                        <a:pt x="3" y="2764"/>
                      </a:lnTo>
                      <a:lnTo>
                        <a:pt x="3" y="2764"/>
                      </a:lnTo>
                      <a:lnTo>
                        <a:pt x="7" y="2836"/>
                      </a:lnTo>
                      <a:lnTo>
                        <a:pt x="12" y="2907"/>
                      </a:lnTo>
                      <a:lnTo>
                        <a:pt x="21" y="2978"/>
                      </a:lnTo>
                      <a:lnTo>
                        <a:pt x="30" y="3047"/>
                      </a:lnTo>
                      <a:lnTo>
                        <a:pt x="40" y="3117"/>
                      </a:lnTo>
                      <a:lnTo>
                        <a:pt x="53" y="3186"/>
                      </a:lnTo>
                      <a:lnTo>
                        <a:pt x="66" y="3254"/>
                      </a:lnTo>
                      <a:lnTo>
                        <a:pt x="83" y="3322"/>
                      </a:lnTo>
                      <a:lnTo>
                        <a:pt x="100" y="3389"/>
                      </a:lnTo>
                      <a:lnTo>
                        <a:pt x="119" y="3456"/>
                      </a:lnTo>
                      <a:lnTo>
                        <a:pt x="140" y="3522"/>
                      </a:lnTo>
                      <a:lnTo>
                        <a:pt x="162" y="3587"/>
                      </a:lnTo>
                      <a:lnTo>
                        <a:pt x="186" y="3652"/>
                      </a:lnTo>
                      <a:lnTo>
                        <a:pt x="211" y="3715"/>
                      </a:lnTo>
                      <a:lnTo>
                        <a:pt x="237" y="3779"/>
                      </a:lnTo>
                      <a:lnTo>
                        <a:pt x="265" y="3841"/>
                      </a:lnTo>
                      <a:lnTo>
                        <a:pt x="295" y="3902"/>
                      </a:lnTo>
                      <a:lnTo>
                        <a:pt x="326" y="3963"/>
                      </a:lnTo>
                      <a:lnTo>
                        <a:pt x="358" y="4023"/>
                      </a:lnTo>
                      <a:lnTo>
                        <a:pt x="392" y="4082"/>
                      </a:lnTo>
                      <a:lnTo>
                        <a:pt x="428" y="4141"/>
                      </a:lnTo>
                      <a:lnTo>
                        <a:pt x="464" y="4199"/>
                      </a:lnTo>
                      <a:lnTo>
                        <a:pt x="501" y="4255"/>
                      </a:lnTo>
                      <a:lnTo>
                        <a:pt x="541" y="4311"/>
                      </a:lnTo>
                      <a:lnTo>
                        <a:pt x="581" y="4365"/>
                      </a:lnTo>
                      <a:lnTo>
                        <a:pt x="622" y="4419"/>
                      </a:lnTo>
                      <a:lnTo>
                        <a:pt x="665" y="4472"/>
                      </a:lnTo>
                      <a:lnTo>
                        <a:pt x="709" y="4523"/>
                      </a:lnTo>
                      <a:lnTo>
                        <a:pt x="753" y="4575"/>
                      </a:lnTo>
                      <a:lnTo>
                        <a:pt x="801" y="4623"/>
                      </a:lnTo>
                      <a:lnTo>
                        <a:pt x="848" y="4672"/>
                      </a:lnTo>
                      <a:lnTo>
                        <a:pt x="896" y="4719"/>
                      </a:lnTo>
                      <a:lnTo>
                        <a:pt x="945" y="4766"/>
                      </a:lnTo>
                      <a:lnTo>
                        <a:pt x="995" y="4812"/>
                      </a:lnTo>
                      <a:lnTo>
                        <a:pt x="1047" y="4855"/>
                      </a:lnTo>
                      <a:lnTo>
                        <a:pt x="1100" y="4898"/>
                      </a:lnTo>
                      <a:lnTo>
                        <a:pt x="1153" y="4940"/>
                      </a:lnTo>
                      <a:lnTo>
                        <a:pt x="1207" y="4980"/>
                      </a:lnTo>
                      <a:lnTo>
                        <a:pt x="1263" y="5020"/>
                      </a:lnTo>
                      <a:lnTo>
                        <a:pt x="1319" y="5057"/>
                      </a:lnTo>
                      <a:lnTo>
                        <a:pt x="1377" y="5094"/>
                      </a:lnTo>
                      <a:lnTo>
                        <a:pt x="1434" y="5129"/>
                      </a:lnTo>
                      <a:lnTo>
                        <a:pt x="1493" y="5163"/>
                      </a:lnTo>
                      <a:lnTo>
                        <a:pt x="1552" y="5196"/>
                      </a:lnTo>
                      <a:lnTo>
                        <a:pt x="1613" y="5228"/>
                      </a:lnTo>
                      <a:lnTo>
                        <a:pt x="1675" y="5257"/>
                      </a:lnTo>
                      <a:lnTo>
                        <a:pt x="1737" y="5285"/>
                      </a:lnTo>
                      <a:lnTo>
                        <a:pt x="1800" y="5312"/>
                      </a:lnTo>
                      <a:lnTo>
                        <a:pt x="1863" y="5339"/>
                      </a:lnTo>
                      <a:lnTo>
                        <a:pt x="1927" y="5362"/>
                      </a:lnTo>
                      <a:lnTo>
                        <a:pt x="1992" y="5384"/>
                      </a:lnTo>
                      <a:lnTo>
                        <a:pt x="2058" y="5405"/>
                      </a:lnTo>
                      <a:lnTo>
                        <a:pt x="2123" y="5426"/>
                      </a:lnTo>
                      <a:lnTo>
                        <a:pt x="2191" y="5443"/>
                      </a:lnTo>
                      <a:lnTo>
                        <a:pt x="2257" y="5459"/>
                      </a:lnTo>
                      <a:lnTo>
                        <a:pt x="2325" y="5474"/>
                      </a:lnTo>
                      <a:lnTo>
                        <a:pt x="2394" y="5486"/>
                      </a:lnTo>
                      <a:lnTo>
                        <a:pt x="2462" y="5498"/>
                      </a:lnTo>
                      <a:lnTo>
                        <a:pt x="2531" y="5508"/>
                      </a:lnTo>
                      <a:lnTo>
                        <a:pt x="2602" y="5515"/>
                      </a:lnTo>
                      <a:lnTo>
                        <a:pt x="2671" y="5521"/>
                      </a:lnTo>
                      <a:lnTo>
                        <a:pt x="2742" y="5526"/>
                      </a:lnTo>
                      <a:lnTo>
                        <a:pt x="2813" y="5529"/>
                      </a:lnTo>
                      <a:lnTo>
                        <a:pt x="2885" y="5530"/>
                      </a:lnTo>
                      <a:lnTo>
                        <a:pt x="2885" y="5530"/>
                      </a:lnTo>
                      <a:lnTo>
                        <a:pt x="2956" y="5529"/>
                      </a:lnTo>
                      <a:lnTo>
                        <a:pt x="3027" y="5526"/>
                      </a:lnTo>
                      <a:lnTo>
                        <a:pt x="3097" y="5521"/>
                      </a:lnTo>
                      <a:lnTo>
                        <a:pt x="3167" y="5515"/>
                      </a:lnTo>
                      <a:lnTo>
                        <a:pt x="3236" y="5508"/>
                      </a:lnTo>
                      <a:lnTo>
                        <a:pt x="3305" y="5498"/>
                      </a:lnTo>
                      <a:lnTo>
                        <a:pt x="3373" y="5486"/>
                      </a:lnTo>
                      <a:lnTo>
                        <a:pt x="3439" y="5474"/>
                      </a:lnTo>
                      <a:lnTo>
                        <a:pt x="3506" y="5459"/>
                      </a:lnTo>
                      <a:lnTo>
                        <a:pt x="3572" y="5443"/>
                      </a:lnTo>
                      <a:lnTo>
                        <a:pt x="3637" y="5426"/>
                      </a:lnTo>
                      <a:lnTo>
                        <a:pt x="3702" y="5405"/>
                      </a:lnTo>
                      <a:lnTo>
                        <a:pt x="3765" y="5384"/>
                      </a:lnTo>
                      <a:lnTo>
                        <a:pt x="3829" y="5362"/>
                      </a:lnTo>
                      <a:lnTo>
                        <a:pt x="3890" y="5339"/>
                      </a:lnTo>
                      <a:lnTo>
                        <a:pt x="3952" y="5312"/>
                      </a:lnTo>
                      <a:lnTo>
                        <a:pt x="4013" y="5285"/>
                      </a:lnTo>
                      <a:lnTo>
                        <a:pt x="4072" y="5257"/>
                      </a:lnTo>
                      <a:lnTo>
                        <a:pt x="4131" y="5228"/>
                      </a:lnTo>
                      <a:lnTo>
                        <a:pt x="4188" y="5196"/>
                      </a:lnTo>
                      <a:lnTo>
                        <a:pt x="4246" y="5163"/>
                      </a:lnTo>
                      <a:lnTo>
                        <a:pt x="4302" y="5129"/>
                      </a:lnTo>
                      <a:lnTo>
                        <a:pt x="4356" y="5094"/>
                      </a:lnTo>
                      <a:lnTo>
                        <a:pt x="4411" y="5057"/>
                      </a:lnTo>
                      <a:lnTo>
                        <a:pt x="4464" y="5020"/>
                      </a:lnTo>
                      <a:lnTo>
                        <a:pt x="4516" y="4980"/>
                      </a:lnTo>
                      <a:lnTo>
                        <a:pt x="4567" y="4940"/>
                      </a:lnTo>
                      <a:lnTo>
                        <a:pt x="4616" y="4898"/>
                      </a:lnTo>
                      <a:lnTo>
                        <a:pt x="4666" y="4855"/>
                      </a:lnTo>
                      <a:lnTo>
                        <a:pt x="4713" y="4812"/>
                      </a:lnTo>
                      <a:lnTo>
                        <a:pt x="4760" y="4766"/>
                      </a:lnTo>
                      <a:lnTo>
                        <a:pt x="4805" y="4719"/>
                      </a:lnTo>
                      <a:lnTo>
                        <a:pt x="4850" y="4672"/>
                      </a:lnTo>
                      <a:lnTo>
                        <a:pt x="4893" y="4623"/>
                      </a:lnTo>
                      <a:lnTo>
                        <a:pt x="4934" y="4575"/>
                      </a:lnTo>
                      <a:lnTo>
                        <a:pt x="4976" y="4523"/>
                      </a:lnTo>
                      <a:lnTo>
                        <a:pt x="5015" y="4472"/>
                      </a:lnTo>
                      <a:lnTo>
                        <a:pt x="5052" y="4419"/>
                      </a:lnTo>
                      <a:lnTo>
                        <a:pt x="5089" y="4365"/>
                      </a:lnTo>
                      <a:lnTo>
                        <a:pt x="5126" y="4311"/>
                      </a:lnTo>
                      <a:lnTo>
                        <a:pt x="5160" y="4255"/>
                      </a:lnTo>
                      <a:lnTo>
                        <a:pt x="5192" y="4199"/>
                      </a:lnTo>
                      <a:lnTo>
                        <a:pt x="5225" y="4141"/>
                      </a:lnTo>
                      <a:lnTo>
                        <a:pt x="5254" y="4082"/>
                      </a:lnTo>
                      <a:lnTo>
                        <a:pt x="5282" y="4023"/>
                      </a:lnTo>
                      <a:lnTo>
                        <a:pt x="5310" y="3963"/>
                      </a:lnTo>
                      <a:lnTo>
                        <a:pt x="5335" y="3902"/>
                      </a:lnTo>
                      <a:lnTo>
                        <a:pt x="5360" y="3841"/>
                      </a:lnTo>
                      <a:lnTo>
                        <a:pt x="5382" y="3779"/>
                      </a:lnTo>
                      <a:lnTo>
                        <a:pt x="5405" y="3715"/>
                      </a:lnTo>
                      <a:lnTo>
                        <a:pt x="5424" y="3652"/>
                      </a:lnTo>
                      <a:lnTo>
                        <a:pt x="5443" y="3587"/>
                      </a:lnTo>
                      <a:lnTo>
                        <a:pt x="5459" y="3522"/>
                      </a:lnTo>
                      <a:lnTo>
                        <a:pt x="5474" y="3456"/>
                      </a:lnTo>
                      <a:lnTo>
                        <a:pt x="5487" y="3389"/>
                      </a:lnTo>
                      <a:lnTo>
                        <a:pt x="5499" y="3322"/>
                      </a:lnTo>
                      <a:lnTo>
                        <a:pt x="5509" y="3254"/>
                      </a:lnTo>
                      <a:lnTo>
                        <a:pt x="5518" y="3186"/>
                      </a:lnTo>
                      <a:lnTo>
                        <a:pt x="5524" y="3117"/>
                      </a:lnTo>
                      <a:lnTo>
                        <a:pt x="5530" y="3047"/>
                      </a:lnTo>
                      <a:lnTo>
                        <a:pt x="5533" y="2978"/>
                      </a:lnTo>
                      <a:lnTo>
                        <a:pt x="5534" y="2907"/>
                      </a:lnTo>
                      <a:lnTo>
                        <a:pt x="5534" y="2836"/>
                      </a:lnTo>
                      <a:lnTo>
                        <a:pt x="5531" y="2764"/>
                      </a:lnTo>
                      <a:lnTo>
                        <a:pt x="5531" y="2764"/>
                      </a:lnTo>
                      <a:lnTo>
                        <a:pt x="5528" y="2693"/>
                      </a:lnTo>
                      <a:lnTo>
                        <a:pt x="5522" y="2623"/>
                      </a:lnTo>
                      <a:lnTo>
                        <a:pt x="5515" y="2552"/>
                      </a:lnTo>
                      <a:lnTo>
                        <a:pt x="5505" y="2483"/>
                      </a:lnTo>
                      <a:lnTo>
                        <a:pt x="5494" y="2413"/>
                      </a:lnTo>
                      <a:lnTo>
                        <a:pt x="5483" y="2344"/>
                      </a:lnTo>
                      <a:lnTo>
                        <a:pt x="5468" y="2276"/>
                      </a:lnTo>
                      <a:lnTo>
                        <a:pt x="5452" y="2208"/>
                      </a:lnTo>
                      <a:lnTo>
                        <a:pt x="5434" y="2141"/>
                      </a:lnTo>
                      <a:lnTo>
                        <a:pt x="5415" y="2074"/>
                      </a:lnTo>
                      <a:lnTo>
                        <a:pt x="5394" y="2008"/>
                      </a:lnTo>
                      <a:lnTo>
                        <a:pt x="5372" y="1943"/>
                      </a:lnTo>
                      <a:lnTo>
                        <a:pt x="5348" y="1878"/>
                      </a:lnTo>
                      <a:lnTo>
                        <a:pt x="5323" y="1815"/>
                      </a:lnTo>
                      <a:lnTo>
                        <a:pt x="5297" y="1751"/>
                      </a:lnTo>
                      <a:lnTo>
                        <a:pt x="5269" y="1689"/>
                      </a:lnTo>
                      <a:lnTo>
                        <a:pt x="5239" y="1627"/>
                      </a:lnTo>
                      <a:lnTo>
                        <a:pt x="5208" y="1567"/>
                      </a:lnTo>
                      <a:lnTo>
                        <a:pt x="5176" y="1507"/>
                      </a:lnTo>
                      <a:lnTo>
                        <a:pt x="5142" y="1448"/>
                      </a:lnTo>
                      <a:lnTo>
                        <a:pt x="5107" y="1389"/>
                      </a:lnTo>
                      <a:lnTo>
                        <a:pt x="5070" y="1331"/>
                      </a:lnTo>
                      <a:lnTo>
                        <a:pt x="5033" y="1275"/>
                      </a:lnTo>
                      <a:lnTo>
                        <a:pt x="4993" y="1219"/>
                      </a:lnTo>
                      <a:lnTo>
                        <a:pt x="4953" y="1165"/>
                      </a:lnTo>
                      <a:lnTo>
                        <a:pt x="4912" y="1111"/>
                      </a:lnTo>
                      <a:lnTo>
                        <a:pt x="4869" y="1058"/>
                      </a:lnTo>
                      <a:lnTo>
                        <a:pt x="4825" y="1007"/>
                      </a:lnTo>
                      <a:lnTo>
                        <a:pt x="4781" y="955"/>
                      </a:lnTo>
                      <a:lnTo>
                        <a:pt x="4734" y="906"/>
                      </a:lnTo>
                      <a:lnTo>
                        <a:pt x="4687" y="858"/>
                      </a:lnTo>
                      <a:lnTo>
                        <a:pt x="4639" y="811"/>
                      </a:lnTo>
                      <a:lnTo>
                        <a:pt x="4589" y="763"/>
                      </a:lnTo>
                      <a:lnTo>
                        <a:pt x="4539" y="718"/>
                      </a:lnTo>
                      <a:lnTo>
                        <a:pt x="4488" y="675"/>
                      </a:lnTo>
                      <a:lnTo>
                        <a:pt x="4434" y="631"/>
                      </a:lnTo>
                      <a:lnTo>
                        <a:pt x="4381" y="590"/>
                      </a:lnTo>
                      <a:lnTo>
                        <a:pt x="4327" y="550"/>
                      </a:lnTo>
                      <a:lnTo>
                        <a:pt x="4272" y="510"/>
                      </a:lnTo>
                      <a:lnTo>
                        <a:pt x="4215" y="473"/>
                      </a:lnTo>
                      <a:lnTo>
                        <a:pt x="4159" y="436"/>
                      </a:lnTo>
                      <a:lnTo>
                        <a:pt x="4100" y="401"/>
                      </a:lnTo>
                      <a:lnTo>
                        <a:pt x="4041" y="367"/>
                      </a:lnTo>
                      <a:lnTo>
                        <a:pt x="3982" y="334"/>
                      </a:lnTo>
                      <a:lnTo>
                        <a:pt x="3921" y="302"/>
                      </a:lnTo>
                      <a:lnTo>
                        <a:pt x="3860" y="273"/>
                      </a:lnTo>
                      <a:lnTo>
                        <a:pt x="3798" y="244"/>
                      </a:lnTo>
                      <a:lnTo>
                        <a:pt x="3734" y="218"/>
                      </a:lnTo>
                      <a:lnTo>
                        <a:pt x="3671" y="191"/>
                      </a:lnTo>
                      <a:lnTo>
                        <a:pt x="3607" y="168"/>
                      </a:lnTo>
                      <a:lnTo>
                        <a:pt x="3543" y="146"/>
                      </a:lnTo>
                      <a:lnTo>
                        <a:pt x="3478" y="125"/>
                      </a:lnTo>
                      <a:lnTo>
                        <a:pt x="3411" y="104"/>
                      </a:lnTo>
                      <a:lnTo>
                        <a:pt x="3344" y="87"/>
                      </a:lnTo>
                      <a:lnTo>
                        <a:pt x="3277" y="71"/>
                      </a:lnTo>
                      <a:lnTo>
                        <a:pt x="3209" y="56"/>
                      </a:lnTo>
                      <a:lnTo>
                        <a:pt x="3140" y="44"/>
                      </a:lnTo>
                      <a:lnTo>
                        <a:pt x="3072" y="32"/>
                      </a:lnTo>
                      <a:lnTo>
                        <a:pt x="3003" y="22"/>
                      </a:lnTo>
                      <a:lnTo>
                        <a:pt x="2932" y="14"/>
                      </a:lnTo>
                      <a:lnTo>
                        <a:pt x="2863" y="9"/>
                      </a:lnTo>
                      <a:lnTo>
                        <a:pt x="2792" y="4"/>
                      </a:lnTo>
                      <a:lnTo>
                        <a:pt x="2721" y="1"/>
                      </a:lnTo>
                      <a:lnTo>
                        <a:pt x="2649" y="0"/>
                      </a:lnTo>
                      <a:lnTo>
                        <a:pt x="26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5" name="Freeform 19">
                  <a:extLst>
                    <a:ext uri="{FF2B5EF4-FFF2-40B4-BE49-F238E27FC236}">
                      <a16:creationId xmlns:a16="http://schemas.microsoft.com/office/drawing/2014/main" xmlns="" id="{0EEEE947-A50D-5E4D-ACF8-7A43205783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96300" y="485775"/>
                  <a:ext cx="2763838" cy="2762250"/>
                </a:xfrm>
                <a:custGeom>
                  <a:avLst/>
                  <a:gdLst/>
                  <a:ahLst/>
                  <a:cxnLst>
                    <a:cxn ang="0">
                      <a:pos x="2956" y="87"/>
                    </a:cxn>
                    <a:cxn ang="0">
                      <a:pos x="3507" y="249"/>
                    </a:cxn>
                    <a:cxn ang="0">
                      <a:pos x="4005" y="520"/>
                    </a:cxn>
                    <a:cxn ang="0">
                      <a:pos x="4434" y="887"/>
                    </a:cxn>
                    <a:cxn ang="0">
                      <a:pos x="4781" y="1335"/>
                    </a:cxn>
                    <a:cxn ang="0">
                      <a:pos x="5027" y="1850"/>
                    </a:cxn>
                    <a:cxn ang="0">
                      <a:pos x="5160" y="2415"/>
                    </a:cxn>
                    <a:cxn ang="0">
                      <a:pos x="5170" y="2929"/>
                    </a:cxn>
                    <a:cxn ang="0">
                      <a:pos x="5064" y="3478"/>
                    </a:cxn>
                    <a:cxn ang="0">
                      <a:pos x="4838" y="3980"/>
                    </a:cxn>
                    <a:cxn ang="0">
                      <a:pos x="4502" y="4424"/>
                    </a:cxn>
                    <a:cxn ang="0">
                      <a:pos x="4125" y="4746"/>
                    </a:cxn>
                    <a:cxn ang="0">
                      <a:pos x="3638" y="5004"/>
                    </a:cxn>
                    <a:cxn ang="0">
                      <a:pos x="3102" y="5145"/>
                    </a:cxn>
                    <a:cxn ang="0">
                      <a:pos x="2592" y="5170"/>
                    </a:cxn>
                    <a:cxn ang="0">
                      <a:pos x="2018" y="5076"/>
                    </a:cxn>
                    <a:cxn ang="0">
                      <a:pos x="1489" y="4864"/>
                    </a:cxn>
                    <a:cxn ang="0">
                      <a:pos x="1019" y="4547"/>
                    </a:cxn>
                    <a:cxn ang="0">
                      <a:pos x="625" y="4143"/>
                    </a:cxn>
                    <a:cxn ang="0">
                      <a:pos x="321" y="3663"/>
                    </a:cxn>
                    <a:cxn ang="0">
                      <a:pos x="124" y="3124"/>
                    </a:cxn>
                    <a:cxn ang="0">
                      <a:pos x="48" y="2608"/>
                    </a:cxn>
                    <a:cxn ang="0">
                      <a:pos x="87" y="2043"/>
                    </a:cxn>
                    <a:cxn ang="0">
                      <a:pos x="248" y="1512"/>
                    </a:cxn>
                    <a:cxn ang="0">
                      <a:pos x="522" y="1033"/>
                    </a:cxn>
                    <a:cxn ang="0">
                      <a:pos x="858" y="666"/>
                    </a:cxn>
                    <a:cxn ang="0">
                      <a:pos x="1309" y="346"/>
                    </a:cxn>
                    <a:cxn ang="0">
                      <a:pos x="1819" y="138"/>
                    </a:cxn>
                    <a:cxn ang="0">
                      <a:pos x="2373" y="50"/>
                    </a:cxn>
                    <a:cxn ang="0">
                      <a:pos x="2170" y="20"/>
                    </a:cxn>
                    <a:cxn ang="0">
                      <a:pos x="1610" y="157"/>
                    </a:cxn>
                    <a:cxn ang="0">
                      <a:pos x="1111" y="411"/>
                    </a:cxn>
                    <a:cxn ang="0">
                      <a:pos x="688" y="763"/>
                    </a:cxn>
                    <a:cxn ang="0">
                      <a:pos x="354" y="1203"/>
                    </a:cxn>
                    <a:cxn ang="0">
                      <a:pos x="122" y="1713"/>
                    </a:cxn>
                    <a:cxn ang="0">
                      <a:pos x="9" y="2278"/>
                    </a:cxn>
                    <a:cxn ang="0">
                      <a:pos x="18" y="2811"/>
                    </a:cxn>
                    <a:cxn ang="0">
                      <a:pos x="152" y="3386"/>
                    </a:cxn>
                    <a:cxn ang="0">
                      <a:pos x="402" y="3910"/>
                    </a:cxn>
                    <a:cxn ang="0">
                      <a:pos x="755" y="4365"/>
                    </a:cxn>
                    <a:cxn ang="0">
                      <a:pos x="1191" y="4740"/>
                    </a:cxn>
                    <a:cxn ang="0">
                      <a:pos x="1698" y="5015"/>
                    </a:cxn>
                    <a:cxn ang="0">
                      <a:pos x="2260" y="5181"/>
                    </a:cxn>
                    <a:cxn ang="0">
                      <a:pos x="2791" y="5220"/>
                    </a:cxn>
                    <a:cxn ang="0">
                      <a:pos x="3373" y="5139"/>
                    </a:cxn>
                    <a:cxn ang="0">
                      <a:pos x="3899" y="4936"/>
                    </a:cxn>
                    <a:cxn ang="0">
                      <a:pos x="4359" y="4625"/>
                    </a:cxn>
                    <a:cxn ang="0">
                      <a:pos x="4735" y="4222"/>
                    </a:cxn>
                    <a:cxn ang="0">
                      <a:pos x="5014" y="3742"/>
                    </a:cxn>
                    <a:cxn ang="0">
                      <a:pos x="5182" y="3199"/>
                    </a:cxn>
                    <a:cxn ang="0">
                      <a:pos x="5223" y="2609"/>
                    </a:cxn>
                    <a:cxn ang="0">
                      <a:pos x="5148" y="2084"/>
                    </a:cxn>
                    <a:cxn ang="0">
                      <a:pos x="4946" y="1536"/>
                    </a:cxn>
                    <a:cxn ang="0">
                      <a:pos x="4638" y="1048"/>
                    </a:cxn>
                    <a:cxn ang="0">
                      <a:pos x="4237" y="635"/>
                    </a:cxn>
                    <a:cxn ang="0">
                      <a:pos x="3759" y="314"/>
                    </a:cxn>
                    <a:cxn ang="0">
                      <a:pos x="3220" y="98"/>
                    </a:cxn>
                    <a:cxn ang="0">
                      <a:pos x="2636" y="3"/>
                    </a:cxn>
                  </a:cxnLst>
                  <a:rect l="0" t="0" r="r" b="b"/>
                  <a:pathLst>
                    <a:path w="5224" h="5220">
                      <a:moveTo>
                        <a:pt x="2502" y="47"/>
                      </a:moveTo>
                      <a:lnTo>
                        <a:pt x="2502" y="47"/>
                      </a:lnTo>
                      <a:lnTo>
                        <a:pt x="2568" y="47"/>
                      </a:lnTo>
                      <a:lnTo>
                        <a:pt x="2633" y="50"/>
                      </a:lnTo>
                      <a:lnTo>
                        <a:pt x="2699" y="54"/>
                      </a:lnTo>
                      <a:lnTo>
                        <a:pt x="2764" y="60"/>
                      </a:lnTo>
                      <a:lnTo>
                        <a:pt x="2829" y="67"/>
                      </a:lnTo>
                      <a:lnTo>
                        <a:pt x="2892" y="76"/>
                      </a:lnTo>
                      <a:lnTo>
                        <a:pt x="2956" y="87"/>
                      </a:lnTo>
                      <a:lnTo>
                        <a:pt x="3019" y="98"/>
                      </a:lnTo>
                      <a:lnTo>
                        <a:pt x="3082" y="112"/>
                      </a:lnTo>
                      <a:lnTo>
                        <a:pt x="3144" y="128"/>
                      </a:lnTo>
                      <a:lnTo>
                        <a:pt x="3206" y="144"/>
                      </a:lnTo>
                      <a:lnTo>
                        <a:pt x="3268" y="162"/>
                      </a:lnTo>
                      <a:lnTo>
                        <a:pt x="3329" y="181"/>
                      </a:lnTo>
                      <a:lnTo>
                        <a:pt x="3389" y="203"/>
                      </a:lnTo>
                      <a:lnTo>
                        <a:pt x="3448" y="225"/>
                      </a:lnTo>
                      <a:lnTo>
                        <a:pt x="3507" y="249"/>
                      </a:lnTo>
                      <a:lnTo>
                        <a:pt x="3566" y="274"/>
                      </a:lnTo>
                      <a:lnTo>
                        <a:pt x="3623" y="300"/>
                      </a:lnTo>
                      <a:lnTo>
                        <a:pt x="3679" y="327"/>
                      </a:lnTo>
                      <a:lnTo>
                        <a:pt x="3735" y="356"/>
                      </a:lnTo>
                      <a:lnTo>
                        <a:pt x="3792" y="387"/>
                      </a:lnTo>
                      <a:lnTo>
                        <a:pt x="3846" y="418"/>
                      </a:lnTo>
                      <a:lnTo>
                        <a:pt x="3901" y="451"/>
                      </a:lnTo>
                      <a:lnTo>
                        <a:pt x="3954" y="485"/>
                      </a:lnTo>
                      <a:lnTo>
                        <a:pt x="4005" y="520"/>
                      </a:lnTo>
                      <a:lnTo>
                        <a:pt x="4057" y="557"/>
                      </a:lnTo>
                      <a:lnTo>
                        <a:pt x="4107" y="594"/>
                      </a:lnTo>
                      <a:lnTo>
                        <a:pt x="4157" y="634"/>
                      </a:lnTo>
                      <a:lnTo>
                        <a:pt x="4206" y="673"/>
                      </a:lnTo>
                      <a:lnTo>
                        <a:pt x="4253" y="713"/>
                      </a:lnTo>
                      <a:lnTo>
                        <a:pt x="4300" y="756"/>
                      </a:lnTo>
                      <a:lnTo>
                        <a:pt x="4346" y="799"/>
                      </a:lnTo>
                      <a:lnTo>
                        <a:pt x="4392" y="843"/>
                      </a:lnTo>
                      <a:lnTo>
                        <a:pt x="4434" y="887"/>
                      </a:lnTo>
                      <a:lnTo>
                        <a:pt x="4478" y="934"/>
                      </a:lnTo>
                      <a:lnTo>
                        <a:pt x="4520" y="982"/>
                      </a:lnTo>
                      <a:lnTo>
                        <a:pt x="4561" y="1029"/>
                      </a:lnTo>
                      <a:lnTo>
                        <a:pt x="4599" y="1077"/>
                      </a:lnTo>
                      <a:lnTo>
                        <a:pt x="4639" y="1127"/>
                      </a:lnTo>
                      <a:lnTo>
                        <a:pt x="4676" y="1179"/>
                      </a:lnTo>
                      <a:lnTo>
                        <a:pt x="4711" y="1231"/>
                      </a:lnTo>
                      <a:lnTo>
                        <a:pt x="4747" y="1282"/>
                      </a:lnTo>
                      <a:lnTo>
                        <a:pt x="4781" y="1335"/>
                      </a:lnTo>
                      <a:lnTo>
                        <a:pt x="4813" y="1390"/>
                      </a:lnTo>
                      <a:lnTo>
                        <a:pt x="4844" y="1444"/>
                      </a:lnTo>
                      <a:lnTo>
                        <a:pt x="4875" y="1500"/>
                      </a:lnTo>
                      <a:lnTo>
                        <a:pt x="4903" y="1557"/>
                      </a:lnTo>
                      <a:lnTo>
                        <a:pt x="4931" y="1614"/>
                      </a:lnTo>
                      <a:lnTo>
                        <a:pt x="4958" y="1672"/>
                      </a:lnTo>
                      <a:lnTo>
                        <a:pt x="4983" y="1731"/>
                      </a:lnTo>
                      <a:lnTo>
                        <a:pt x="5005" y="1789"/>
                      </a:lnTo>
                      <a:lnTo>
                        <a:pt x="5027" y="1850"/>
                      </a:lnTo>
                      <a:lnTo>
                        <a:pt x="5048" y="1910"/>
                      </a:lnTo>
                      <a:lnTo>
                        <a:pt x="5067" y="1971"/>
                      </a:lnTo>
                      <a:lnTo>
                        <a:pt x="5084" y="2033"/>
                      </a:lnTo>
                      <a:lnTo>
                        <a:pt x="5101" y="2096"/>
                      </a:lnTo>
                      <a:lnTo>
                        <a:pt x="5115" y="2158"/>
                      </a:lnTo>
                      <a:lnTo>
                        <a:pt x="5129" y="2221"/>
                      </a:lnTo>
                      <a:lnTo>
                        <a:pt x="5140" y="2286"/>
                      </a:lnTo>
                      <a:lnTo>
                        <a:pt x="5151" y="2350"/>
                      </a:lnTo>
                      <a:lnTo>
                        <a:pt x="5160" y="2415"/>
                      </a:lnTo>
                      <a:lnTo>
                        <a:pt x="5167" y="2479"/>
                      </a:lnTo>
                      <a:lnTo>
                        <a:pt x="5171" y="2546"/>
                      </a:lnTo>
                      <a:lnTo>
                        <a:pt x="5176" y="2612"/>
                      </a:lnTo>
                      <a:lnTo>
                        <a:pt x="5176" y="2612"/>
                      </a:lnTo>
                      <a:lnTo>
                        <a:pt x="5177" y="2676"/>
                      </a:lnTo>
                      <a:lnTo>
                        <a:pt x="5177" y="2740"/>
                      </a:lnTo>
                      <a:lnTo>
                        <a:pt x="5177" y="2804"/>
                      </a:lnTo>
                      <a:lnTo>
                        <a:pt x="5174" y="2867"/>
                      </a:lnTo>
                      <a:lnTo>
                        <a:pt x="5170" y="2929"/>
                      </a:lnTo>
                      <a:lnTo>
                        <a:pt x="5164" y="2993"/>
                      </a:lnTo>
                      <a:lnTo>
                        <a:pt x="5157" y="3055"/>
                      </a:lnTo>
                      <a:lnTo>
                        <a:pt x="5148" y="3116"/>
                      </a:lnTo>
                      <a:lnTo>
                        <a:pt x="5137" y="3177"/>
                      </a:lnTo>
                      <a:lnTo>
                        <a:pt x="5126" y="3239"/>
                      </a:lnTo>
                      <a:lnTo>
                        <a:pt x="5112" y="3299"/>
                      </a:lnTo>
                      <a:lnTo>
                        <a:pt x="5098" y="3358"/>
                      </a:lnTo>
                      <a:lnTo>
                        <a:pt x="5081" y="3419"/>
                      </a:lnTo>
                      <a:lnTo>
                        <a:pt x="5064" y="3478"/>
                      </a:lnTo>
                      <a:lnTo>
                        <a:pt x="5045" y="3535"/>
                      </a:lnTo>
                      <a:lnTo>
                        <a:pt x="5024" y="3594"/>
                      </a:lnTo>
                      <a:lnTo>
                        <a:pt x="5002" y="3650"/>
                      </a:lnTo>
                      <a:lnTo>
                        <a:pt x="4978" y="3708"/>
                      </a:lnTo>
                      <a:lnTo>
                        <a:pt x="4953" y="3764"/>
                      </a:lnTo>
                      <a:lnTo>
                        <a:pt x="4927" y="3818"/>
                      </a:lnTo>
                      <a:lnTo>
                        <a:pt x="4899" y="3873"/>
                      </a:lnTo>
                      <a:lnTo>
                        <a:pt x="4869" y="3927"/>
                      </a:lnTo>
                      <a:lnTo>
                        <a:pt x="4838" y="3980"/>
                      </a:lnTo>
                      <a:lnTo>
                        <a:pt x="4807" y="4034"/>
                      </a:lnTo>
                      <a:lnTo>
                        <a:pt x="4773" y="4085"/>
                      </a:lnTo>
                      <a:lnTo>
                        <a:pt x="4738" y="4135"/>
                      </a:lnTo>
                      <a:lnTo>
                        <a:pt x="4703" y="4187"/>
                      </a:lnTo>
                      <a:lnTo>
                        <a:pt x="4666" y="4236"/>
                      </a:lnTo>
                      <a:lnTo>
                        <a:pt x="4626" y="4284"/>
                      </a:lnTo>
                      <a:lnTo>
                        <a:pt x="4586" y="4331"/>
                      </a:lnTo>
                      <a:lnTo>
                        <a:pt x="4545" y="4379"/>
                      </a:lnTo>
                      <a:lnTo>
                        <a:pt x="4502" y="4424"/>
                      </a:lnTo>
                      <a:lnTo>
                        <a:pt x="4502" y="4424"/>
                      </a:lnTo>
                      <a:lnTo>
                        <a:pt x="4458" y="4468"/>
                      </a:lnTo>
                      <a:lnTo>
                        <a:pt x="4414" y="4513"/>
                      </a:lnTo>
                      <a:lnTo>
                        <a:pt x="4368" y="4554"/>
                      </a:lnTo>
                      <a:lnTo>
                        <a:pt x="4321" y="4595"/>
                      </a:lnTo>
                      <a:lnTo>
                        <a:pt x="4272" y="4635"/>
                      </a:lnTo>
                      <a:lnTo>
                        <a:pt x="4225" y="4673"/>
                      </a:lnTo>
                      <a:lnTo>
                        <a:pt x="4175" y="4710"/>
                      </a:lnTo>
                      <a:lnTo>
                        <a:pt x="4125" y="4746"/>
                      </a:lnTo>
                      <a:lnTo>
                        <a:pt x="4073" y="4780"/>
                      </a:lnTo>
                      <a:lnTo>
                        <a:pt x="4021" y="4812"/>
                      </a:lnTo>
                      <a:lnTo>
                        <a:pt x="3970" y="4843"/>
                      </a:lnTo>
                      <a:lnTo>
                        <a:pt x="3915" y="4874"/>
                      </a:lnTo>
                      <a:lnTo>
                        <a:pt x="3862" y="4902"/>
                      </a:lnTo>
                      <a:lnTo>
                        <a:pt x="3808" y="4930"/>
                      </a:lnTo>
                      <a:lnTo>
                        <a:pt x="3752" y="4955"/>
                      </a:lnTo>
                      <a:lnTo>
                        <a:pt x="3696" y="4980"/>
                      </a:lnTo>
                      <a:lnTo>
                        <a:pt x="3638" y="5004"/>
                      </a:lnTo>
                      <a:lnTo>
                        <a:pt x="3581" y="5024"/>
                      </a:lnTo>
                      <a:lnTo>
                        <a:pt x="3523" y="5045"/>
                      </a:lnTo>
                      <a:lnTo>
                        <a:pt x="3464" y="5064"/>
                      </a:lnTo>
                      <a:lnTo>
                        <a:pt x="3405" y="5082"/>
                      </a:lnTo>
                      <a:lnTo>
                        <a:pt x="3346" y="5097"/>
                      </a:lnTo>
                      <a:lnTo>
                        <a:pt x="3286" y="5111"/>
                      </a:lnTo>
                      <a:lnTo>
                        <a:pt x="3224" y="5125"/>
                      </a:lnTo>
                      <a:lnTo>
                        <a:pt x="3163" y="5136"/>
                      </a:lnTo>
                      <a:lnTo>
                        <a:pt x="3102" y="5145"/>
                      </a:lnTo>
                      <a:lnTo>
                        <a:pt x="3040" y="5154"/>
                      </a:lnTo>
                      <a:lnTo>
                        <a:pt x="2978" y="5161"/>
                      </a:lnTo>
                      <a:lnTo>
                        <a:pt x="2914" y="5166"/>
                      </a:lnTo>
                      <a:lnTo>
                        <a:pt x="2851" y="5170"/>
                      </a:lnTo>
                      <a:lnTo>
                        <a:pt x="2788" y="5173"/>
                      </a:lnTo>
                      <a:lnTo>
                        <a:pt x="2723" y="5173"/>
                      </a:lnTo>
                      <a:lnTo>
                        <a:pt x="2723" y="5173"/>
                      </a:lnTo>
                      <a:lnTo>
                        <a:pt x="2658" y="5173"/>
                      </a:lnTo>
                      <a:lnTo>
                        <a:pt x="2592" y="5170"/>
                      </a:lnTo>
                      <a:lnTo>
                        <a:pt x="2527" y="5166"/>
                      </a:lnTo>
                      <a:lnTo>
                        <a:pt x="2460" y="5160"/>
                      </a:lnTo>
                      <a:lnTo>
                        <a:pt x="2397" y="5153"/>
                      </a:lnTo>
                      <a:lnTo>
                        <a:pt x="2332" y="5144"/>
                      </a:lnTo>
                      <a:lnTo>
                        <a:pt x="2269" y="5133"/>
                      </a:lnTo>
                      <a:lnTo>
                        <a:pt x="2205" y="5122"/>
                      </a:lnTo>
                      <a:lnTo>
                        <a:pt x="2142" y="5108"/>
                      </a:lnTo>
                      <a:lnTo>
                        <a:pt x="2080" y="5092"/>
                      </a:lnTo>
                      <a:lnTo>
                        <a:pt x="2018" y="5076"/>
                      </a:lnTo>
                      <a:lnTo>
                        <a:pt x="1956" y="5058"/>
                      </a:lnTo>
                      <a:lnTo>
                        <a:pt x="1896" y="5039"/>
                      </a:lnTo>
                      <a:lnTo>
                        <a:pt x="1835" y="5017"/>
                      </a:lnTo>
                      <a:lnTo>
                        <a:pt x="1776" y="4995"/>
                      </a:lnTo>
                      <a:lnTo>
                        <a:pt x="1717" y="4971"/>
                      </a:lnTo>
                      <a:lnTo>
                        <a:pt x="1658" y="4946"/>
                      </a:lnTo>
                      <a:lnTo>
                        <a:pt x="1601" y="4920"/>
                      </a:lnTo>
                      <a:lnTo>
                        <a:pt x="1545" y="4893"/>
                      </a:lnTo>
                      <a:lnTo>
                        <a:pt x="1489" y="4864"/>
                      </a:lnTo>
                      <a:lnTo>
                        <a:pt x="1433" y="4833"/>
                      </a:lnTo>
                      <a:lnTo>
                        <a:pt x="1378" y="4802"/>
                      </a:lnTo>
                      <a:lnTo>
                        <a:pt x="1325" y="4769"/>
                      </a:lnTo>
                      <a:lnTo>
                        <a:pt x="1272" y="4735"/>
                      </a:lnTo>
                      <a:lnTo>
                        <a:pt x="1219" y="4700"/>
                      </a:lnTo>
                      <a:lnTo>
                        <a:pt x="1167" y="4663"/>
                      </a:lnTo>
                      <a:lnTo>
                        <a:pt x="1117" y="4626"/>
                      </a:lnTo>
                      <a:lnTo>
                        <a:pt x="1067" y="4586"/>
                      </a:lnTo>
                      <a:lnTo>
                        <a:pt x="1019" y="4547"/>
                      </a:lnTo>
                      <a:lnTo>
                        <a:pt x="971" y="4507"/>
                      </a:lnTo>
                      <a:lnTo>
                        <a:pt x="924" y="4464"/>
                      </a:lnTo>
                      <a:lnTo>
                        <a:pt x="878" y="4421"/>
                      </a:lnTo>
                      <a:lnTo>
                        <a:pt x="833" y="4377"/>
                      </a:lnTo>
                      <a:lnTo>
                        <a:pt x="790" y="4331"/>
                      </a:lnTo>
                      <a:lnTo>
                        <a:pt x="747" y="4286"/>
                      </a:lnTo>
                      <a:lnTo>
                        <a:pt x="705" y="4238"/>
                      </a:lnTo>
                      <a:lnTo>
                        <a:pt x="665" y="4191"/>
                      </a:lnTo>
                      <a:lnTo>
                        <a:pt x="625" y="4143"/>
                      </a:lnTo>
                      <a:lnTo>
                        <a:pt x="587" y="4092"/>
                      </a:lnTo>
                      <a:lnTo>
                        <a:pt x="548" y="4041"/>
                      </a:lnTo>
                      <a:lnTo>
                        <a:pt x="513" y="3989"/>
                      </a:lnTo>
                      <a:lnTo>
                        <a:pt x="477" y="3938"/>
                      </a:lnTo>
                      <a:lnTo>
                        <a:pt x="444" y="3885"/>
                      </a:lnTo>
                      <a:lnTo>
                        <a:pt x="411" y="3830"/>
                      </a:lnTo>
                      <a:lnTo>
                        <a:pt x="380" y="3775"/>
                      </a:lnTo>
                      <a:lnTo>
                        <a:pt x="349" y="3719"/>
                      </a:lnTo>
                      <a:lnTo>
                        <a:pt x="321" y="3663"/>
                      </a:lnTo>
                      <a:lnTo>
                        <a:pt x="293" y="3606"/>
                      </a:lnTo>
                      <a:lnTo>
                        <a:pt x="267" y="3548"/>
                      </a:lnTo>
                      <a:lnTo>
                        <a:pt x="243" y="3489"/>
                      </a:lnTo>
                      <a:lnTo>
                        <a:pt x="219" y="3430"/>
                      </a:lnTo>
                      <a:lnTo>
                        <a:pt x="197" y="3370"/>
                      </a:lnTo>
                      <a:lnTo>
                        <a:pt x="177" y="3310"/>
                      </a:lnTo>
                      <a:lnTo>
                        <a:pt x="158" y="3248"/>
                      </a:lnTo>
                      <a:lnTo>
                        <a:pt x="140" y="3187"/>
                      </a:lnTo>
                      <a:lnTo>
                        <a:pt x="124" y="3124"/>
                      </a:lnTo>
                      <a:lnTo>
                        <a:pt x="109" y="3062"/>
                      </a:lnTo>
                      <a:lnTo>
                        <a:pt x="96" y="2998"/>
                      </a:lnTo>
                      <a:lnTo>
                        <a:pt x="84" y="2934"/>
                      </a:lnTo>
                      <a:lnTo>
                        <a:pt x="74" y="2870"/>
                      </a:lnTo>
                      <a:lnTo>
                        <a:pt x="65" y="2805"/>
                      </a:lnTo>
                      <a:lnTo>
                        <a:pt x="57" y="2740"/>
                      </a:lnTo>
                      <a:lnTo>
                        <a:pt x="53" y="2674"/>
                      </a:lnTo>
                      <a:lnTo>
                        <a:pt x="48" y="2608"/>
                      </a:lnTo>
                      <a:lnTo>
                        <a:pt x="48" y="2608"/>
                      </a:lnTo>
                      <a:lnTo>
                        <a:pt x="47" y="2544"/>
                      </a:lnTo>
                      <a:lnTo>
                        <a:pt x="47" y="2479"/>
                      </a:lnTo>
                      <a:lnTo>
                        <a:pt x="48" y="2416"/>
                      </a:lnTo>
                      <a:lnTo>
                        <a:pt x="50" y="2353"/>
                      </a:lnTo>
                      <a:lnTo>
                        <a:pt x="54" y="2291"/>
                      </a:lnTo>
                      <a:lnTo>
                        <a:pt x="60" y="2227"/>
                      </a:lnTo>
                      <a:lnTo>
                        <a:pt x="68" y="2165"/>
                      </a:lnTo>
                      <a:lnTo>
                        <a:pt x="76" y="2104"/>
                      </a:lnTo>
                      <a:lnTo>
                        <a:pt x="87" y="2043"/>
                      </a:lnTo>
                      <a:lnTo>
                        <a:pt x="99" y="1981"/>
                      </a:lnTo>
                      <a:lnTo>
                        <a:pt x="112" y="1921"/>
                      </a:lnTo>
                      <a:lnTo>
                        <a:pt x="127" y="1862"/>
                      </a:lnTo>
                      <a:lnTo>
                        <a:pt x="143" y="1801"/>
                      </a:lnTo>
                      <a:lnTo>
                        <a:pt x="161" y="1742"/>
                      </a:lnTo>
                      <a:lnTo>
                        <a:pt x="181" y="1685"/>
                      </a:lnTo>
                      <a:lnTo>
                        <a:pt x="202" y="1626"/>
                      </a:lnTo>
                      <a:lnTo>
                        <a:pt x="224" y="1570"/>
                      </a:lnTo>
                      <a:lnTo>
                        <a:pt x="248" y="1512"/>
                      </a:lnTo>
                      <a:lnTo>
                        <a:pt x="271" y="1456"/>
                      </a:lnTo>
                      <a:lnTo>
                        <a:pt x="298" y="1402"/>
                      </a:lnTo>
                      <a:lnTo>
                        <a:pt x="326" y="1347"/>
                      </a:lnTo>
                      <a:lnTo>
                        <a:pt x="355" y="1293"/>
                      </a:lnTo>
                      <a:lnTo>
                        <a:pt x="386" y="1240"/>
                      </a:lnTo>
                      <a:lnTo>
                        <a:pt x="419" y="1186"/>
                      </a:lnTo>
                      <a:lnTo>
                        <a:pt x="451" y="1135"/>
                      </a:lnTo>
                      <a:lnTo>
                        <a:pt x="486" y="1083"/>
                      </a:lnTo>
                      <a:lnTo>
                        <a:pt x="522" y="1033"/>
                      </a:lnTo>
                      <a:lnTo>
                        <a:pt x="560" y="984"/>
                      </a:lnTo>
                      <a:lnTo>
                        <a:pt x="598" y="936"/>
                      </a:lnTo>
                      <a:lnTo>
                        <a:pt x="638" y="889"/>
                      </a:lnTo>
                      <a:lnTo>
                        <a:pt x="679" y="841"/>
                      </a:lnTo>
                      <a:lnTo>
                        <a:pt x="722" y="796"/>
                      </a:lnTo>
                      <a:lnTo>
                        <a:pt x="722" y="796"/>
                      </a:lnTo>
                      <a:lnTo>
                        <a:pt x="766" y="751"/>
                      </a:lnTo>
                      <a:lnTo>
                        <a:pt x="812" y="707"/>
                      </a:lnTo>
                      <a:lnTo>
                        <a:pt x="858" y="666"/>
                      </a:lnTo>
                      <a:lnTo>
                        <a:pt x="904" y="625"/>
                      </a:lnTo>
                      <a:lnTo>
                        <a:pt x="952" y="585"/>
                      </a:lnTo>
                      <a:lnTo>
                        <a:pt x="1001" y="547"/>
                      </a:lnTo>
                      <a:lnTo>
                        <a:pt x="1049" y="510"/>
                      </a:lnTo>
                      <a:lnTo>
                        <a:pt x="1100" y="474"/>
                      </a:lnTo>
                      <a:lnTo>
                        <a:pt x="1151" y="440"/>
                      </a:lnTo>
                      <a:lnTo>
                        <a:pt x="1203" y="408"/>
                      </a:lnTo>
                      <a:lnTo>
                        <a:pt x="1256" y="377"/>
                      </a:lnTo>
                      <a:lnTo>
                        <a:pt x="1309" y="346"/>
                      </a:lnTo>
                      <a:lnTo>
                        <a:pt x="1362" y="318"/>
                      </a:lnTo>
                      <a:lnTo>
                        <a:pt x="1418" y="290"/>
                      </a:lnTo>
                      <a:lnTo>
                        <a:pt x="1473" y="265"/>
                      </a:lnTo>
                      <a:lnTo>
                        <a:pt x="1529" y="240"/>
                      </a:lnTo>
                      <a:lnTo>
                        <a:pt x="1586" y="216"/>
                      </a:lnTo>
                      <a:lnTo>
                        <a:pt x="1644" y="196"/>
                      </a:lnTo>
                      <a:lnTo>
                        <a:pt x="1701" y="175"/>
                      </a:lnTo>
                      <a:lnTo>
                        <a:pt x="1760" y="156"/>
                      </a:lnTo>
                      <a:lnTo>
                        <a:pt x="1819" y="138"/>
                      </a:lnTo>
                      <a:lnTo>
                        <a:pt x="1879" y="123"/>
                      </a:lnTo>
                      <a:lnTo>
                        <a:pt x="1940" y="109"/>
                      </a:lnTo>
                      <a:lnTo>
                        <a:pt x="2000" y="95"/>
                      </a:lnTo>
                      <a:lnTo>
                        <a:pt x="2061" y="84"/>
                      </a:lnTo>
                      <a:lnTo>
                        <a:pt x="2123" y="75"/>
                      </a:lnTo>
                      <a:lnTo>
                        <a:pt x="2185" y="66"/>
                      </a:lnTo>
                      <a:lnTo>
                        <a:pt x="2248" y="59"/>
                      </a:lnTo>
                      <a:lnTo>
                        <a:pt x="2310" y="54"/>
                      </a:lnTo>
                      <a:lnTo>
                        <a:pt x="2373" y="50"/>
                      </a:lnTo>
                      <a:lnTo>
                        <a:pt x="2437" y="47"/>
                      </a:lnTo>
                      <a:lnTo>
                        <a:pt x="2502" y="47"/>
                      </a:lnTo>
                      <a:close/>
                      <a:moveTo>
                        <a:pt x="2502" y="0"/>
                      </a:moveTo>
                      <a:lnTo>
                        <a:pt x="2502" y="0"/>
                      </a:lnTo>
                      <a:lnTo>
                        <a:pt x="2434" y="0"/>
                      </a:lnTo>
                      <a:lnTo>
                        <a:pt x="2367" y="3"/>
                      </a:lnTo>
                      <a:lnTo>
                        <a:pt x="2301" y="7"/>
                      </a:lnTo>
                      <a:lnTo>
                        <a:pt x="2235" y="13"/>
                      </a:lnTo>
                      <a:lnTo>
                        <a:pt x="2170" y="20"/>
                      </a:lnTo>
                      <a:lnTo>
                        <a:pt x="2105" y="29"/>
                      </a:lnTo>
                      <a:lnTo>
                        <a:pt x="2040" y="39"/>
                      </a:lnTo>
                      <a:lnTo>
                        <a:pt x="1977" y="53"/>
                      </a:lnTo>
                      <a:lnTo>
                        <a:pt x="1915" y="66"/>
                      </a:lnTo>
                      <a:lnTo>
                        <a:pt x="1853" y="81"/>
                      </a:lnTo>
                      <a:lnTo>
                        <a:pt x="1791" y="98"/>
                      </a:lnTo>
                      <a:lnTo>
                        <a:pt x="1731" y="116"/>
                      </a:lnTo>
                      <a:lnTo>
                        <a:pt x="1670" y="137"/>
                      </a:lnTo>
                      <a:lnTo>
                        <a:pt x="1610" y="157"/>
                      </a:lnTo>
                      <a:lnTo>
                        <a:pt x="1552" y="179"/>
                      </a:lnTo>
                      <a:lnTo>
                        <a:pt x="1493" y="204"/>
                      </a:lnTo>
                      <a:lnTo>
                        <a:pt x="1437" y="230"/>
                      </a:lnTo>
                      <a:lnTo>
                        <a:pt x="1380" y="256"/>
                      </a:lnTo>
                      <a:lnTo>
                        <a:pt x="1325" y="284"/>
                      </a:lnTo>
                      <a:lnTo>
                        <a:pt x="1271" y="314"/>
                      </a:lnTo>
                      <a:lnTo>
                        <a:pt x="1216" y="345"/>
                      </a:lnTo>
                      <a:lnTo>
                        <a:pt x="1163" y="377"/>
                      </a:lnTo>
                      <a:lnTo>
                        <a:pt x="1111" y="411"/>
                      </a:lnTo>
                      <a:lnTo>
                        <a:pt x="1061" y="445"/>
                      </a:lnTo>
                      <a:lnTo>
                        <a:pt x="1011" y="480"/>
                      </a:lnTo>
                      <a:lnTo>
                        <a:pt x="961" y="517"/>
                      </a:lnTo>
                      <a:lnTo>
                        <a:pt x="914" y="555"/>
                      </a:lnTo>
                      <a:lnTo>
                        <a:pt x="867" y="595"/>
                      </a:lnTo>
                      <a:lnTo>
                        <a:pt x="820" y="635"/>
                      </a:lnTo>
                      <a:lnTo>
                        <a:pt x="775" y="678"/>
                      </a:lnTo>
                      <a:lnTo>
                        <a:pt x="731" y="721"/>
                      </a:lnTo>
                      <a:lnTo>
                        <a:pt x="688" y="763"/>
                      </a:lnTo>
                      <a:lnTo>
                        <a:pt x="646" y="809"/>
                      </a:lnTo>
                      <a:lnTo>
                        <a:pt x="606" y="855"/>
                      </a:lnTo>
                      <a:lnTo>
                        <a:pt x="566" y="902"/>
                      </a:lnTo>
                      <a:lnTo>
                        <a:pt x="528" y="949"/>
                      </a:lnTo>
                      <a:lnTo>
                        <a:pt x="489" y="998"/>
                      </a:lnTo>
                      <a:lnTo>
                        <a:pt x="454" y="1048"/>
                      </a:lnTo>
                      <a:lnTo>
                        <a:pt x="419" y="1098"/>
                      </a:lnTo>
                      <a:lnTo>
                        <a:pt x="386" y="1150"/>
                      </a:lnTo>
                      <a:lnTo>
                        <a:pt x="354" y="1203"/>
                      </a:lnTo>
                      <a:lnTo>
                        <a:pt x="323" y="1256"/>
                      </a:lnTo>
                      <a:lnTo>
                        <a:pt x="292" y="1310"/>
                      </a:lnTo>
                      <a:lnTo>
                        <a:pt x="264" y="1365"/>
                      </a:lnTo>
                      <a:lnTo>
                        <a:pt x="237" y="1421"/>
                      </a:lnTo>
                      <a:lnTo>
                        <a:pt x="211" y="1478"/>
                      </a:lnTo>
                      <a:lnTo>
                        <a:pt x="187" y="1536"/>
                      </a:lnTo>
                      <a:lnTo>
                        <a:pt x="163" y="1593"/>
                      </a:lnTo>
                      <a:lnTo>
                        <a:pt x="141" y="1652"/>
                      </a:lnTo>
                      <a:lnTo>
                        <a:pt x="122" y="1713"/>
                      </a:lnTo>
                      <a:lnTo>
                        <a:pt x="103" y="1773"/>
                      </a:lnTo>
                      <a:lnTo>
                        <a:pt x="85" y="1834"/>
                      </a:lnTo>
                      <a:lnTo>
                        <a:pt x="71" y="1896"/>
                      </a:lnTo>
                      <a:lnTo>
                        <a:pt x="56" y="1958"/>
                      </a:lnTo>
                      <a:lnTo>
                        <a:pt x="44" y="2021"/>
                      </a:lnTo>
                      <a:lnTo>
                        <a:pt x="32" y="2084"/>
                      </a:lnTo>
                      <a:lnTo>
                        <a:pt x="23" y="2148"/>
                      </a:lnTo>
                      <a:lnTo>
                        <a:pt x="15" y="2213"/>
                      </a:lnTo>
                      <a:lnTo>
                        <a:pt x="9" y="2278"/>
                      </a:lnTo>
                      <a:lnTo>
                        <a:pt x="4" y="2342"/>
                      </a:lnTo>
                      <a:lnTo>
                        <a:pt x="1" y="2409"/>
                      </a:lnTo>
                      <a:lnTo>
                        <a:pt x="0" y="2475"/>
                      </a:lnTo>
                      <a:lnTo>
                        <a:pt x="0" y="2543"/>
                      </a:lnTo>
                      <a:lnTo>
                        <a:pt x="1" y="2609"/>
                      </a:lnTo>
                      <a:lnTo>
                        <a:pt x="1" y="2609"/>
                      </a:lnTo>
                      <a:lnTo>
                        <a:pt x="6" y="2677"/>
                      </a:lnTo>
                      <a:lnTo>
                        <a:pt x="10" y="2745"/>
                      </a:lnTo>
                      <a:lnTo>
                        <a:pt x="18" y="2811"/>
                      </a:lnTo>
                      <a:lnTo>
                        <a:pt x="26" y="2878"/>
                      </a:lnTo>
                      <a:lnTo>
                        <a:pt x="37" y="2942"/>
                      </a:lnTo>
                      <a:lnTo>
                        <a:pt x="48" y="3007"/>
                      </a:lnTo>
                      <a:lnTo>
                        <a:pt x="62" y="3072"/>
                      </a:lnTo>
                      <a:lnTo>
                        <a:pt x="76" y="3136"/>
                      </a:lnTo>
                      <a:lnTo>
                        <a:pt x="94" y="3199"/>
                      </a:lnTo>
                      <a:lnTo>
                        <a:pt x="112" y="3262"/>
                      </a:lnTo>
                      <a:lnTo>
                        <a:pt x="131" y="3324"/>
                      </a:lnTo>
                      <a:lnTo>
                        <a:pt x="152" y="3386"/>
                      </a:lnTo>
                      <a:lnTo>
                        <a:pt x="174" y="3447"/>
                      </a:lnTo>
                      <a:lnTo>
                        <a:pt x="199" y="3507"/>
                      </a:lnTo>
                      <a:lnTo>
                        <a:pt x="224" y="3568"/>
                      </a:lnTo>
                      <a:lnTo>
                        <a:pt x="250" y="3627"/>
                      </a:lnTo>
                      <a:lnTo>
                        <a:pt x="278" y="3684"/>
                      </a:lnTo>
                      <a:lnTo>
                        <a:pt x="308" y="3742"/>
                      </a:lnTo>
                      <a:lnTo>
                        <a:pt x="337" y="3799"/>
                      </a:lnTo>
                      <a:lnTo>
                        <a:pt x="370" y="3855"/>
                      </a:lnTo>
                      <a:lnTo>
                        <a:pt x="402" y="3910"/>
                      </a:lnTo>
                      <a:lnTo>
                        <a:pt x="438" y="3964"/>
                      </a:lnTo>
                      <a:lnTo>
                        <a:pt x="473" y="4017"/>
                      </a:lnTo>
                      <a:lnTo>
                        <a:pt x="510" y="4070"/>
                      </a:lnTo>
                      <a:lnTo>
                        <a:pt x="548" y="4122"/>
                      </a:lnTo>
                      <a:lnTo>
                        <a:pt x="587" y="4172"/>
                      </a:lnTo>
                      <a:lnTo>
                        <a:pt x="626" y="4222"/>
                      </a:lnTo>
                      <a:lnTo>
                        <a:pt x="669" y="4271"/>
                      </a:lnTo>
                      <a:lnTo>
                        <a:pt x="710" y="4318"/>
                      </a:lnTo>
                      <a:lnTo>
                        <a:pt x="755" y="4365"/>
                      </a:lnTo>
                      <a:lnTo>
                        <a:pt x="799" y="4411"/>
                      </a:lnTo>
                      <a:lnTo>
                        <a:pt x="845" y="4457"/>
                      </a:lnTo>
                      <a:lnTo>
                        <a:pt x="892" y="4499"/>
                      </a:lnTo>
                      <a:lnTo>
                        <a:pt x="939" y="4542"/>
                      </a:lnTo>
                      <a:lnTo>
                        <a:pt x="988" y="4583"/>
                      </a:lnTo>
                      <a:lnTo>
                        <a:pt x="1038" y="4625"/>
                      </a:lnTo>
                      <a:lnTo>
                        <a:pt x="1088" y="4665"/>
                      </a:lnTo>
                      <a:lnTo>
                        <a:pt x="1139" y="4701"/>
                      </a:lnTo>
                      <a:lnTo>
                        <a:pt x="1191" y="4740"/>
                      </a:lnTo>
                      <a:lnTo>
                        <a:pt x="1244" y="4775"/>
                      </a:lnTo>
                      <a:lnTo>
                        <a:pt x="1299" y="4809"/>
                      </a:lnTo>
                      <a:lnTo>
                        <a:pt x="1353" y="4843"/>
                      </a:lnTo>
                      <a:lnTo>
                        <a:pt x="1409" y="4875"/>
                      </a:lnTo>
                      <a:lnTo>
                        <a:pt x="1465" y="4906"/>
                      </a:lnTo>
                      <a:lnTo>
                        <a:pt x="1523" y="4936"/>
                      </a:lnTo>
                      <a:lnTo>
                        <a:pt x="1580" y="4964"/>
                      </a:lnTo>
                      <a:lnTo>
                        <a:pt x="1639" y="4990"/>
                      </a:lnTo>
                      <a:lnTo>
                        <a:pt x="1698" y="5015"/>
                      </a:lnTo>
                      <a:lnTo>
                        <a:pt x="1759" y="5039"/>
                      </a:lnTo>
                      <a:lnTo>
                        <a:pt x="1819" y="5063"/>
                      </a:lnTo>
                      <a:lnTo>
                        <a:pt x="1881" y="5083"/>
                      </a:lnTo>
                      <a:lnTo>
                        <a:pt x="1941" y="5104"/>
                      </a:lnTo>
                      <a:lnTo>
                        <a:pt x="2005" y="5122"/>
                      </a:lnTo>
                      <a:lnTo>
                        <a:pt x="2068" y="5139"/>
                      </a:lnTo>
                      <a:lnTo>
                        <a:pt x="2132" y="5154"/>
                      </a:lnTo>
                      <a:lnTo>
                        <a:pt x="2195" y="5167"/>
                      </a:lnTo>
                      <a:lnTo>
                        <a:pt x="2260" y="5181"/>
                      </a:lnTo>
                      <a:lnTo>
                        <a:pt x="2325" y="5191"/>
                      </a:lnTo>
                      <a:lnTo>
                        <a:pt x="2390" y="5200"/>
                      </a:lnTo>
                      <a:lnTo>
                        <a:pt x="2456" y="5207"/>
                      </a:lnTo>
                      <a:lnTo>
                        <a:pt x="2522" y="5213"/>
                      </a:lnTo>
                      <a:lnTo>
                        <a:pt x="2589" y="5217"/>
                      </a:lnTo>
                      <a:lnTo>
                        <a:pt x="2656" y="5220"/>
                      </a:lnTo>
                      <a:lnTo>
                        <a:pt x="2723" y="5220"/>
                      </a:lnTo>
                      <a:lnTo>
                        <a:pt x="2723" y="5220"/>
                      </a:lnTo>
                      <a:lnTo>
                        <a:pt x="2791" y="5220"/>
                      </a:lnTo>
                      <a:lnTo>
                        <a:pt x="2857" y="5217"/>
                      </a:lnTo>
                      <a:lnTo>
                        <a:pt x="2923" y="5213"/>
                      </a:lnTo>
                      <a:lnTo>
                        <a:pt x="2990" y="5207"/>
                      </a:lnTo>
                      <a:lnTo>
                        <a:pt x="3054" y="5200"/>
                      </a:lnTo>
                      <a:lnTo>
                        <a:pt x="3119" y="5191"/>
                      </a:lnTo>
                      <a:lnTo>
                        <a:pt x="3184" y="5181"/>
                      </a:lnTo>
                      <a:lnTo>
                        <a:pt x="3248" y="5167"/>
                      </a:lnTo>
                      <a:lnTo>
                        <a:pt x="3309" y="5154"/>
                      </a:lnTo>
                      <a:lnTo>
                        <a:pt x="3373" y="5139"/>
                      </a:lnTo>
                      <a:lnTo>
                        <a:pt x="3433" y="5122"/>
                      </a:lnTo>
                      <a:lnTo>
                        <a:pt x="3495" y="5104"/>
                      </a:lnTo>
                      <a:lnTo>
                        <a:pt x="3554" y="5083"/>
                      </a:lnTo>
                      <a:lnTo>
                        <a:pt x="3615" y="5063"/>
                      </a:lnTo>
                      <a:lnTo>
                        <a:pt x="3674" y="5039"/>
                      </a:lnTo>
                      <a:lnTo>
                        <a:pt x="3731" y="5015"/>
                      </a:lnTo>
                      <a:lnTo>
                        <a:pt x="3789" y="4990"/>
                      </a:lnTo>
                      <a:lnTo>
                        <a:pt x="3845" y="4964"/>
                      </a:lnTo>
                      <a:lnTo>
                        <a:pt x="3899" y="4936"/>
                      </a:lnTo>
                      <a:lnTo>
                        <a:pt x="3954" y="4906"/>
                      </a:lnTo>
                      <a:lnTo>
                        <a:pt x="4008" y="4875"/>
                      </a:lnTo>
                      <a:lnTo>
                        <a:pt x="4061" y="4843"/>
                      </a:lnTo>
                      <a:lnTo>
                        <a:pt x="4113" y="4809"/>
                      </a:lnTo>
                      <a:lnTo>
                        <a:pt x="4164" y="4775"/>
                      </a:lnTo>
                      <a:lnTo>
                        <a:pt x="4215" y="4740"/>
                      </a:lnTo>
                      <a:lnTo>
                        <a:pt x="4263" y="4701"/>
                      </a:lnTo>
                      <a:lnTo>
                        <a:pt x="4312" y="4665"/>
                      </a:lnTo>
                      <a:lnTo>
                        <a:pt x="4359" y="4625"/>
                      </a:lnTo>
                      <a:lnTo>
                        <a:pt x="4405" y="4583"/>
                      </a:lnTo>
                      <a:lnTo>
                        <a:pt x="4450" y="4542"/>
                      </a:lnTo>
                      <a:lnTo>
                        <a:pt x="4493" y="4499"/>
                      </a:lnTo>
                      <a:lnTo>
                        <a:pt x="4537" y="4457"/>
                      </a:lnTo>
                      <a:lnTo>
                        <a:pt x="4579" y="4411"/>
                      </a:lnTo>
                      <a:lnTo>
                        <a:pt x="4620" y="4365"/>
                      </a:lnTo>
                      <a:lnTo>
                        <a:pt x="4658" y="4318"/>
                      </a:lnTo>
                      <a:lnTo>
                        <a:pt x="4697" y="4271"/>
                      </a:lnTo>
                      <a:lnTo>
                        <a:pt x="4735" y="4222"/>
                      </a:lnTo>
                      <a:lnTo>
                        <a:pt x="4770" y="4172"/>
                      </a:lnTo>
                      <a:lnTo>
                        <a:pt x="4806" y="4122"/>
                      </a:lnTo>
                      <a:lnTo>
                        <a:pt x="4840" y="4070"/>
                      </a:lnTo>
                      <a:lnTo>
                        <a:pt x="4872" y="4017"/>
                      </a:lnTo>
                      <a:lnTo>
                        <a:pt x="4903" y="3964"/>
                      </a:lnTo>
                      <a:lnTo>
                        <a:pt x="4933" y="3910"/>
                      </a:lnTo>
                      <a:lnTo>
                        <a:pt x="4961" y="3855"/>
                      </a:lnTo>
                      <a:lnTo>
                        <a:pt x="4987" y="3799"/>
                      </a:lnTo>
                      <a:lnTo>
                        <a:pt x="5014" y="3742"/>
                      </a:lnTo>
                      <a:lnTo>
                        <a:pt x="5037" y="3684"/>
                      </a:lnTo>
                      <a:lnTo>
                        <a:pt x="5061" y="3627"/>
                      </a:lnTo>
                      <a:lnTo>
                        <a:pt x="5083" y="3568"/>
                      </a:lnTo>
                      <a:lnTo>
                        <a:pt x="5102" y="3507"/>
                      </a:lnTo>
                      <a:lnTo>
                        <a:pt x="5121" y="3447"/>
                      </a:lnTo>
                      <a:lnTo>
                        <a:pt x="5139" y="3386"/>
                      </a:lnTo>
                      <a:lnTo>
                        <a:pt x="5154" y="3324"/>
                      </a:lnTo>
                      <a:lnTo>
                        <a:pt x="5168" y="3262"/>
                      </a:lnTo>
                      <a:lnTo>
                        <a:pt x="5182" y="3199"/>
                      </a:lnTo>
                      <a:lnTo>
                        <a:pt x="5192" y="3136"/>
                      </a:lnTo>
                      <a:lnTo>
                        <a:pt x="5202" y="3072"/>
                      </a:lnTo>
                      <a:lnTo>
                        <a:pt x="5210" y="3007"/>
                      </a:lnTo>
                      <a:lnTo>
                        <a:pt x="5216" y="2942"/>
                      </a:lnTo>
                      <a:lnTo>
                        <a:pt x="5220" y="2878"/>
                      </a:lnTo>
                      <a:lnTo>
                        <a:pt x="5224" y="2811"/>
                      </a:lnTo>
                      <a:lnTo>
                        <a:pt x="5224" y="2745"/>
                      </a:lnTo>
                      <a:lnTo>
                        <a:pt x="5224" y="2677"/>
                      </a:lnTo>
                      <a:lnTo>
                        <a:pt x="5223" y="2609"/>
                      </a:lnTo>
                      <a:lnTo>
                        <a:pt x="5223" y="2609"/>
                      </a:lnTo>
                      <a:lnTo>
                        <a:pt x="5219" y="2543"/>
                      </a:lnTo>
                      <a:lnTo>
                        <a:pt x="5214" y="2475"/>
                      </a:lnTo>
                      <a:lnTo>
                        <a:pt x="5207" y="2409"/>
                      </a:lnTo>
                      <a:lnTo>
                        <a:pt x="5198" y="2342"/>
                      </a:lnTo>
                      <a:lnTo>
                        <a:pt x="5188" y="2278"/>
                      </a:lnTo>
                      <a:lnTo>
                        <a:pt x="5176" y="2213"/>
                      </a:lnTo>
                      <a:lnTo>
                        <a:pt x="5163" y="2148"/>
                      </a:lnTo>
                      <a:lnTo>
                        <a:pt x="5148" y="2084"/>
                      </a:lnTo>
                      <a:lnTo>
                        <a:pt x="5132" y="2021"/>
                      </a:lnTo>
                      <a:lnTo>
                        <a:pt x="5112" y="1958"/>
                      </a:lnTo>
                      <a:lnTo>
                        <a:pt x="5093" y="1896"/>
                      </a:lnTo>
                      <a:lnTo>
                        <a:pt x="5073" y="1834"/>
                      </a:lnTo>
                      <a:lnTo>
                        <a:pt x="5050" y="1773"/>
                      </a:lnTo>
                      <a:lnTo>
                        <a:pt x="5027" y="1713"/>
                      </a:lnTo>
                      <a:lnTo>
                        <a:pt x="5000" y="1652"/>
                      </a:lnTo>
                      <a:lnTo>
                        <a:pt x="4974" y="1593"/>
                      </a:lnTo>
                      <a:lnTo>
                        <a:pt x="4946" y="1536"/>
                      </a:lnTo>
                      <a:lnTo>
                        <a:pt x="4918" y="1478"/>
                      </a:lnTo>
                      <a:lnTo>
                        <a:pt x="4887" y="1421"/>
                      </a:lnTo>
                      <a:lnTo>
                        <a:pt x="4854" y="1365"/>
                      </a:lnTo>
                      <a:lnTo>
                        <a:pt x="4822" y="1310"/>
                      </a:lnTo>
                      <a:lnTo>
                        <a:pt x="4787" y="1256"/>
                      </a:lnTo>
                      <a:lnTo>
                        <a:pt x="4751" y="1203"/>
                      </a:lnTo>
                      <a:lnTo>
                        <a:pt x="4714" y="1150"/>
                      </a:lnTo>
                      <a:lnTo>
                        <a:pt x="4678" y="1098"/>
                      </a:lnTo>
                      <a:lnTo>
                        <a:pt x="4638" y="1048"/>
                      </a:lnTo>
                      <a:lnTo>
                        <a:pt x="4598" y="998"/>
                      </a:lnTo>
                      <a:lnTo>
                        <a:pt x="4557" y="949"/>
                      </a:lnTo>
                      <a:lnTo>
                        <a:pt x="4514" y="902"/>
                      </a:lnTo>
                      <a:lnTo>
                        <a:pt x="4470" y="855"/>
                      </a:lnTo>
                      <a:lnTo>
                        <a:pt x="4425" y="809"/>
                      </a:lnTo>
                      <a:lnTo>
                        <a:pt x="4380" y="763"/>
                      </a:lnTo>
                      <a:lnTo>
                        <a:pt x="4333" y="721"/>
                      </a:lnTo>
                      <a:lnTo>
                        <a:pt x="4285" y="678"/>
                      </a:lnTo>
                      <a:lnTo>
                        <a:pt x="4237" y="635"/>
                      </a:lnTo>
                      <a:lnTo>
                        <a:pt x="4187" y="595"/>
                      </a:lnTo>
                      <a:lnTo>
                        <a:pt x="4136" y="555"/>
                      </a:lnTo>
                      <a:lnTo>
                        <a:pt x="4085" y="517"/>
                      </a:lnTo>
                      <a:lnTo>
                        <a:pt x="4033" y="480"/>
                      </a:lnTo>
                      <a:lnTo>
                        <a:pt x="3980" y="445"/>
                      </a:lnTo>
                      <a:lnTo>
                        <a:pt x="3926" y="411"/>
                      </a:lnTo>
                      <a:lnTo>
                        <a:pt x="3871" y="377"/>
                      </a:lnTo>
                      <a:lnTo>
                        <a:pt x="3815" y="345"/>
                      </a:lnTo>
                      <a:lnTo>
                        <a:pt x="3759" y="314"/>
                      </a:lnTo>
                      <a:lnTo>
                        <a:pt x="3702" y="284"/>
                      </a:lnTo>
                      <a:lnTo>
                        <a:pt x="3644" y="256"/>
                      </a:lnTo>
                      <a:lnTo>
                        <a:pt x="3585" y="230"/>
                      </a:lnTo>
                      <a:lnTo>
                        <a:pt x="3526" y="204"/>
                      </a:lnTo>
                      <a:lnTo>
                        <a:pt x="3466" y="179"/>
                      </a:lnTo>
                      <a:lnTo>
                        <a:pt x="3405" y="157"/>
                      </a:lnTo>
                      <a:lnTo>
                        <a:pt x="3345" y="137"/>
                      </a:lnTo>
                      <a:lnTo>
                        <a:pt x="3283" y="116"/>
                      </a:lnTo>
                      <a:lnTo>
                        <a:pt x="3220" y="98"/>
                      </a:lnTo>
                      <a:lnTo>
                        <a:pt x="3158" y="81"/>
                      </a:lnTo>
                      <a:lnTo>
                        <a:pt x="3094" y="66"/>
                      </a:lnTo>
                      <a:lnTo>
                        <a:pt x="3029" y="53"/>
                      </a:lnTo>
                      <a:lnTo>
                        <a:pt x="2964" y="39"/>
                      </a:lnTo>
                      <a:lnTo>
                        <a:pt x="2900" y="29"/>
                      </a:lnTo>
                      <a:lnTo>
                        <a:pt x="2835" y="20"/>
                      </a:lnTo>
                      <a:lnTo>
                        <a:pt x="2768" y="13"/>
                      </a:lnTo>
                      <a:lnTo>
                        <a:pt x="2702" y="7"/>
                      </a:lnTo>
                      <a:lnTo>
                        <a:pt x="2636" y="3"/>
                      </a:lnTo>
                      <a:lnTo>
                        <a:pt x="2568" y="0"/>
                      </a:lnTo>
                      <a:lnTo>
                        <a:pt x="2502" y="0"/>
                      </a:lnTo>
                      <a:lnTo>
                        <a:pt x="250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6" name="Freeform 22">
                  <a:extLst>
                    <a:ext uri="{FF2B5EF4-FFF2-40B4-BE49-F238E27FC236}">
                      <a16:creationId xmlns:a16="http://schemas.microsoft.com/office/drawing/2014/main" xmlns="" id="{636031F9-3557-A141-9D61-259BD159B5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7200" y="2041525"/>
                  <a:ext cx="153988" cy="301625"/>
                </a:xfrm>
                <a:custGeom>
                  <a:avLst/>
                  <a:gdLst/>
                  <a:ahLst/>
                  <a:cxnLst>
                    <a:cxn ang="0">
                      <a:pos x="105" y="569"/>
                    </a:cxn>
                    <a:cxn ang="0">
                      <a:pos x="105" y="569"/>
                    </a:cxn>
                    <a:cxn ang="0">
                      <a:pos x="112" y="570"/>
                    </a:cxn>
                    <a:cxn ang="0">
                      <a:pos x="121" y="567"/>
                    </a:cxn>
                    <a:cxn ang="0">
                      <a:pos x="130" y="563"/>
                    </a:cxn>
                    <a:cxn ang="0">
                      <a:pos x="139" y="555"/>
                    </a:cxn>
                    <a:cxn ang="0">
                      <a:pos x="149" y="547"/>
                    </a:cxn>
                    <a:cxn ang="0">
                      <a:pos x="159" y="535"/>
                    </a:cxn>
                    <a:cxn ang="0">
                      <a:pos x="170" y="520"/>
                    </a:cxn>
                    <a:cxn ang="0">
                      <a:pos x="180" y="505"/>
                    </a:cxn>
                    <a:cxn ang="0">
                      <a:pos x="190" y="488"/>
                    </a:cxn>
                    <a:cxn ang="0">
                      <a:pos x="201" y="467"/>
                    </a:cxn>
                    <a:cxn ang="0">
                      <a:pos x="220" y="424"/>
                    </a:cxn>
                    <a:cxn ang="0">
                      <a:pos x="239" y="374"/>
                    </a:cxn>
                    <a:cxn ang="0">
                      <a:pos x="257" y="321"/>
                    </a:cxn>
                    <a:cxn ang="0">
                      <a:pos x="257" y="321"/>
                    </a:cxn>
                    <a:cxn ang="0">
                      <a:pos x="271" y="265"/>
                    </a:cxn>
                    <a:cxn ang="0">
                      <a:pos x="282" y="213"/>
                    </a:cxn>
                    <a:cxn ang="0">
                      <a:pos x="288" y="166"/>
                    </a:cxn>
                    <a:cxn ang="0">
                      <a:pos x="289" y="144"/>
                    </a:cxn>
                    <a:cxn ang="0">
                      <a:pos x="291" y="123"/>
                    </a:cxn>
                    <a:cxn ang="0">
                      <a:pos x="289" y="104"/>
                    </a:cxn>
                    <a:cxn ang="0">
                      <a:pos x="288" y="87"/>
                    </a:cxn>
                    <a:cxn ang="0">
                      <a:pos x="286" y="72"/>
                    </a:cxn>
                    <a:cxn ang="0">
                      <a:pos x="283" y="58"/>
                    </a:cxn>
                    <a:cxn ang="0">
                      <a:pos x="279" y="48"/>
                    </a:cxn>
                    <a:cxn ang="0">
                      <a:pos x="273" y="39"/>
                    </a:cxn>
                    <a:cxn ang="0">
                      <a:pos x="267" y="32"/>
                    </a:cxn>
                    <a:cxn ang="0">
                      <a:pos x="260" y="29"/>
                    </a:cxn>
                    <a:cxn ang="0">
                      <a:pos x="156" y="0"/>
                    </a:cxn>
                    <a:cxn ang="0">
                      <a:pos x="156" y="0"/>
                    </a:cxn>
                    <a:cxn ang="0">
                      <a:pos x="164" y="2"/>
                    </a:cxn>
                    <a:cxn ang="0">
                      <a:pos x="170" y="8"/>
                    </a:cxn>
                    <a:cxn ang="0">
                      <a:pos x="176" y="17"/>
                    </a:cxn>
                    <a:cxn ang="0">
                      <a:pos x="180" y="29"/>
                    </a:cxn>
                    <a:cxn ang="0">
                      <a:pos x="183" y="42"/>
                    </a:cxn>
                    <a:cxn ang="0">
                      <a:pos x="184" y="57"/>
                    </a:cxn>
                    <a:cxn ang="0">
                      <a:pos x="186" y="75"/>
                    </a:cxn>
                    <a:cxn ang="0">
                      <a:pos x="186" y="94"/>
                    </a:cxn>
                    <a:cxn ang="0">
                      <a:pos x="186" y="115"/>
                    </a:cxn>
                    <a:cxn ang="0">
                      <a:pos x="184" y="135"/>
                    </a:cxn>
                    <a:cxn ang="0">
                      <a:pos x="177" y="184"/>
                    </a:cxn>
                    <a:cxn ang="0">
                      <a:pos x="167" y="235"/>
                    </a:cxn>
                    <a:cxn ang="0">
                      <a:pos x="154" y="290"/>
                    </a:cxn>
                    <a:cxn ang="0">
                      <a:pos x="154" y="290"/>
                    </a:cxn>
                    <a:cxn ang="0">
                      <a:pos x="136" y="345"/>
                    </a:cxn>
                    <a:cxn ang="0">
                      <a:pos x="117" y="393"/>
                    </a:cxn>
                    <a:cxn ang="0">
                      <a:pos x="97" y="437"/>
                    </a:cxn>
                    <a:cxn ang="0">
                      <a:pos x="87" y="457"/>
                    </a:cxn>
                    <a:cxn ang="0">
                      <a:pos x="77" y="474"/>
                    </a:cxn>
                    <a:cxn ang="0">
                      <a:pos x="67" y="490"/>
                    </a:cxn>
                    <a:cxn ang="0">
                      <a:pos x="56" y="505"/>
                    </a:cxn>
                    <a:cxn ang="0">
                      <a:pos x="46" y="517"/>
                    </a:cxn>
                    <a:cxn ang="0">
                      <a:pos x="36" y="526"/>
                    </a:cxn>
                    <a:cxn ang="0">
                      <a:pos x="27" y="533"/>
                    </a:cxn>
                    <a:cxn ang="0">
                      <a:pos x="18" y="538"/>
                    </a:cxn>
                    <a:cxn ang="0">
                      <a:pos x="9" y="539"/>
                    </a:cxn>
                    <a:cxn ang="0">
                      <a:pos x="0" y="539"/>
                    </a:cxn>
                    <a:cxn ang="0">
                      <a:pos x="105" y="569"/>
                    </a:cxn>
                  </a:cxnLst>
                  <a:rect l="0" t="0" r="r" b="b"/>
                  <a:pathLst>
                    <a:path w="291" h="570">
                      <a:moveTo>
                        <a:pt x="105" y="569"/>
                      </a:moveTo>
                      <a:lnTo>
                        <a:pt x="105" y="569"/>
                      </a:lnTo>
                      <a:lnTo>
                        <a:pt x="112" y="570"/>
                      </a:lnTo>
                      <a:lnTo>
                        <a:pt x="121" y="567"/>
                      </a:lnTo>
                      <a:lnTo>
                        <a:pt x="130" y="563"/>
                      </a:lnTo>
                      <a:lnTo>
                        <a:pt x="139" y="555"/>
                      </a:lnTo>
                      <a:lnTo>
                        <a:pt x="149" y="547"/>
                      </a:lnTo>
                      <a:lnTo>
                        <a:pt x="159" y="535"/>
                      </a:lnTo>
                      <a:lnTo>
                        <a:pt x="170" y="520"/>
                      </a:lnTo>
                      <a:lnTo>
                        <a:pt x="180" y="505"/>
                      </a:lnTo>
                      <a:lnTo>
                        <a:pt x="190" y="488"/>
                      </a:lnTo>
                      <a:lnTo>
                        <a:pt x="201" y="467"/>
                      </a:lnTo>
                      <a:lnTo>
                        <a:pt x="220" y="424"/>
                      </a:lnTo>
                      <a:lnTo>
                        <a:pt x="239" y="374"/>
                      </a:lnTo>
                      <a:lnTo>
                        <a:pt x="257" y="321"/>
                      </a:lnTo>
                      <a:lnTo>
                        <a:pt x="257" y="321"/>
                      </a:lnTo>
                      <a:lnTo>
                        <a:pt x="271" y="265"/>
                      </a:lnTo>
                      <a:lnTo>
                        <a:pt x="282" y="213"/>
                      </a:lnTo>
                      <a:lnTo>
                        <a:pt x="288" y="166"/>
                      </a:lnTo>
                      <a:lnTo>
                        <a:pt x="289" y="144"/>
                      </a:lnTo>
                      <a:lnTo>
                        <a:pt x="291" y="123"/>
                      </a:lnTo>
                      <a:lnTo>
                        <a:pt x="289" y="104"/>
                      </a:lnTo>
                      <a:lnTo>
                        <a:pt x="288" y="87"/>
                      </a:lnTo>
                      <a:lnTo>
                        <a:pt x="286" y="72"/>
                      </a:lnTo>
                      <a:lnTo>
                        <a:pt x="283" y="58"/>
                      </a:lnTo>
                      <a:lnTo>
                        <a:pt x="279" y="48"/>
                      </a:lnTo>
                      <a:lnTo>
                        <a:pt x="273" y="39"/>
                      </a:lnTo>
                      <a:lnTo>
                        <a:pt x="267" y="32"/>
                      </a:lnTo>
                      <a:lnTo>
                        <a:pt x="260" y="29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64" y="2"/>
                      </a:lnTo>
                      <a:lnTo>
                        <a:pt x="170" y="8"/>
                      </a:lnTo>
                      <a:lnTo>
                        <a:pt x="176" y="17"/>
                      </a:lnTo>
                      <a:lnTo>
                        <a:pt x="180" y="29"/>
                      </a:lnTo>
                      <a:lnTo>
                        <a:pt x="183" y="42"/>
                      </a:lnTo>
                      <a:lnTo>
                        <a:pt x="184" y="57"/>
                      </a:lnTo>
                      <a:lnTo>
                        <a:pt x="186" y="75"/>
                      </a:lnTo>
                      <a:lnTo>
                        <a:pt x="186" y="94"/>
                      </a:lnTo>
                      <a:lnTo>
                        <a:pt x="186" y="115"/>
                      </a:lnTo>
                      <a:lnTo>
                        <a:pt x="184" y="135"/>
                      </a:lnTo>
                      <a:lnTo>
                        <a:pt x="177" y="184"/>
                      </a:lnTo>
                      <a:lnTo>
                        <a:pt x="167" y="235"/>
                      </a:lnTo>
                      <a:lnTo>
                        <a:pt x="154" y="290"/>
                      </a:lnTo>
                      <a:lnTo>
                        <a:pt x="154" y="290"/>
                      </a:lnTo>
                      <a:lnTo>
                        <a:pt x="136" y="345"/>
                      </a:lnTo>
                      <a:lnTo>
                        <a:pt x="117" y="393"/>
                      </a:lnTo>
                      <a:lnTo>
                        <a:pt x="97" y="437"/>
                      </a:lnTo>
                      <a:lnTo>
                        <a:pt x="87" y="457"/>
                      </a:lnTo>
                      <a:lnTo>
                        <a:pt x="77" y="474"/>
                      </a:lnTo>
                      <a:lnTo>
                        <a:pt x="67" y="490"/>
                      </a:lnTo>
                      <a:lnTo>
                        <a:pt x="56" y="505"/>
                      </a:lnTo>
                      <a:lnTo>
                        <a:pt x="46" y="517"/>
                      </a:lnTo>
                      <a:lnTo>
                        <a:pt x="36" y="526"/>
                      </a:lnTo>
                      <a:lnTo>
                        <a:pt x="27" y="533"/>
                      </a:lnTo>
                      <a:lnTo>
                        <a:pt x="18" y="538"/>
                      </a:lnTo>
                      <a:lnTo>
                        <a:pt x="9" y="539"/>
                      </a:lnTo>
                      <a:lnTo>
                        <a:pt x="0" y="539"/>
                      </a:lnTo>
                      <a:lnTo>
                        <a:pt x="105" y="569"/>
                      </a:lnTo>
                      <a:close/>
                    </a:path>
                  </a:pathLst>
                </a:custGeom>
                <a:gradFill flip="none" rotWithShape="1">
                  <a:gsLst>
                    <a:gs pos="15000">
                      <a:srgbClr val="414141"/>
                    </a:gs>
                    <a:gs pos="67000">
                      <a:srgbClr val="FFFFFF"/>
                    </a:gs>
                    <a:gs pos="100000">
                      <a:srgbClr val="CFCFCF"/>
                    </a:gs>
                    <a:gs pos="0">
                      <a:srgbClr val="A6A6A6"/>
                    </a:gs>
                    <a:gs pos="86000">
                      <a:srgbClr val="A6A6A6"/>
                    </a:gs>
                    <a:gs pos="16000">
                      <a:srgbClr val="262626"/>
                    </a:gs>
                  </a:gsLst>
                  <a:lin ang="1728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7" name="Freeform 23">
                  <a:extLst>
                    <a:ext uri="{FF2B5EF4-FFF2-40B4-BE49-F238E27FC236}">
                      <a16:creationId xmlns:a16="http://schemas.microsoft.com/office/drawing/2014/main" xmlns="" id="{E03BB247-DAA9-B844-B157-2877D6BFF6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2912" y="2041525"/>
                  <a:ext cx="112713" cy="285750"/>
                </a:xfrm>
                <a:custGeom>
                  <a:avLst/>
                  <a:gdLst/>
                  <a:ahLst/>
                  <a:cxnLst>
                    <a:cxn ang="0">
                      <a:pos x="182" y="292"/>
                    </a:cxn>
                    <a:cxn ang="0">
                      <a:pos x="182" y="292"/>
                    </a:cxn>
                    <a:cxn ang="0">
                      <a:pos x="165" y="347"/>
                    </a:cxn>
                    <a:cxn ang="0">
                      <a:pos x="146" y="397"/>
                    </a:cxn>
                    <a:cxn ang="0">
                      <a:pos x="125" y="439"/>
                    </a:cxn>
                    <a:cxn ang="0">
                      <a:pos x="115" y="460"/>
                    </a:cxn>
                    <a:cxn ang="0">
                      <a:pos x="105" y="478"/>
                    </a:cxn>
                    <a:cxn ang="0">
                      <a:pos x="95" y="492"/>
                    </a:cxn>
                    <a:cxn ang="0">
                      <a:pos x="84" y="507"/>
                    </a:cxn>
                    <a:cxn ang="0">
                      <a:pos x="74" y="519"/>
                    </a:cxn>
                    <a:cxn ang="0">
                      <a:pos x="65" y="528"/>
                    </a:cxn>
                    <a:cxn ang="0">
                      <a:pos x="55" y="535"/>
                    </a:cxn>
                    <a:cxn ang="0">
                      <a:pos x="46" y="540"/>
                    </a:cxn>
                    <a:cxn ang="0">
                      <a:pos x="37" y="541"/>
                    </a:cxn>
                    <a:cxn ang="0">
                      <a:pos x="30" y="541"/>
                    </a:cxn>
                    <a:cxn ang="0">
                      <a:pos x="30" y="541"/>
                    </a:cxn>
                    <a:cxn ang="0">
                      <a:pos x="22" y="537"/>
                    </a:cxn>
                    <a:cxn ang="0">
                      <a:pos x="16" y="531"/>
                    </a:cxn>
                    <a:cxn ang="0">
                      <a:pos x="10" y="522"/>
                    </a:cxn>
                    <a:cxn ang="0">
                      <a:pos x="6" y="512"/>
                    </a:cxn>
                    <a:cxn ang="0">
                      <a:pos x="3" y="498"/>
                    </a:cxn>
                    <a:cxn ang="0">
                      <a:pos x="2" y="482"/>
                    </a:cxn>
                    <a:cxn ang="0">
                      <a:pos x="0" y="466"/>
                    </a:cxn>
                    <a:cxn ang="0">
                      <a:pos x="0" y="447"/>
                    </a:cxn>
                    <a:cxn ang="0">
                      <a:pos x="0" y="426"/>
                    </a:cxn>
                    <a:cxn ang="0">
                      <a:pos x="2" y="404"/>
                    </a:cxn>
                    <a:cxn ang="0">
                      <a:pos x="9" y="357"/>
                    </a:cxn>
                    <a:cxn ang="0">
                      <a:pos x="19" y="30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50" y="196"/>
                    </a:cxn>
                    <a:cxn ang="0">
                      <a:pos x="69" y="146"/>
                    </a:cxn>
                    <a:cxn ang="0">
                      <a:pos x="89" y="102"/>
                    </a:cxn>
                    <a:cxn ang="0">
                      <a:pos x="99" y="83"/>
                    </a:cxn>
                    <a:cxn ang="0">
                      <a:pos x="109" y="65"/>
                    </a:cxn>
                    <a:cxn ang="0">
                      <a:pos x="120" y="49"/>
                    </a:cxn>
                    <a:cxn ang="0">
                      <a:pos x="130" y="35"/>
                    </a:cxn>
                    <a:cxn ang="0">
                      <a:pos x="140" y="24"/>
                    </a:cxn>
                    <a:cxn ang="0">
                      <a:pos x="151" y="15"/>
                    </a:cxn>
                    <a:cxn ang="0">
                      <a:pos x="159" y="7"/>
                    </a:cxn>
                    <a:cxn ang="0">
                      <a:pos x="168" y="3"/>
                    </a:cxn>
                    <a:cxn ang="0">
                      <a:pos x="177" y="0"/>
                    </a:cxn>
                    <a:cxn ang="0">
                      <a:pos x="186" y="2"/>
                    </a:cxn>
                    <a:cxn ang="0">
                      <a:pos x="186" y="2"/>
                    </a:cxn>
                    <a:cxn ang="0">
                      <a:pos x="193" y="4"/>
                    </a:cxn>
                    <a:cxn ang="0">
                      <a:pos x="199" y="10"/>
                    </a:cxn>
                    <a:cxn ang="0">
                      <a:pos x="204" y="19"/>
                    </a:cxn>
                    <a:cxn ang="0">
                      <a:pos x="208" y="31"/>
                    </a:cxn>
                    <a:cxn ang="0">
                      <a:pos x="211" y="44"/>
                    </a:cxn>
                    <a:cxn ang="0">
                      <a:pos x="214" y="59"/>
                    </a:cxn>
                    <a:cxn ang="0">
                      <a:pos x="215" y="77"/>
                    </a:cxn>
                    <a:cxn ang="0">
                      <a:pos x="215" y="96"/>
                    </a:cxn>
                    <a:cxn ang="0">
                      <a:pos x="214" y="117"/>
                    </a:cxn>
                    <a:cxn ang="0">
                      <a:pos x="212" y="139"/>
                    </a:cxn>
                    <a:cxn ang="0">
                      <a:pos x="207" y="186"/>
                    </a:cxn>
                    <a:cxn ang="0">
                      <a:pos x="196" y="237"/>
                    </a:cxn>
                    <a:cxn ang="0">
                      <a:pos x="182" y="292"/>
                    </a:cxn>
                    <a:cxn ang="0">
                      <a:pos x="182" y="292"/>
                    </a:cxn>
                  </a:cxnLst>
                  <a:rect l="0" t="0" r="r" b="b"/>
                  <a:pathLst>
                    <a:path w="215" h="541">
                      <a:moveTo>
                        <a:pt x="182" y="292"/>
                      </a:moveTo>
                      <a:lnTo>
                        <a:pt x="182" y="292"/>
                      </a:lnTo>
                      <a:lnTo>
                        <a:pt x="165" y="347"/>
                      </a:lnTo>
                      <a:lnTo>
                        <a:pt x="146" y="397"/>
                      </a:lnTo>
                      <a:lnTo>
                        <a:pt x="125" y="439"/>
                      </a:lnTo>
                      <a:lnTo>
                        <a:pt x="115" y="460"/>
                      </a:lnTo>
                      <a:lnTo>
                        <a:pt x="105" y="478"/>
                      </a:lnTo>
                      <a:lnTo>
                        <a:pt x="95" y="492"/>
                      </a:lnTo>
                      <a:lnTo>
                        <a:pt x="84" y="507"/>
                      </a:lnTo>
                      <a:lnTo>
                        <a:pt x="74" y="519"/>
                      </a:lnTo>
                      <a:lnTo>
                        <a:pt x="65" y="528"/>
                      </a:lnTo>
                      <a:lnTo>
                        <a:pt x="55" y="535"/>
                      </a:lnTo>
                      <a:lnTo>
                        <a:pt x="46" y="540"/>
                      </a:lnTo>
                      <a:lnTo>
                        <a:pt x="37" y="541"/>
                      </a:lnTo>
                      <a:lnTo>
                        <a:pt x="30" y="541"/>
                      </a:lnTo>
                      <a:lnTo>
                        <a:pt x="30" y="541"/>
                      </a:lnTo>
                      <a:lnTo>
                        <a:pt x="22" y="537"/>
                      </a:lnTo>
                      <a:lnTo>
                        <a:pt x="16" y="531"/>
                      </a:lnTo>
                      <a:lnTo>
                        <a:pt x="10" y="522"/>
                      </a:lnTo>
                      <a:lnTo>
                        <a:pt x="6" y="512"/>
                      </a:lnTo>
                      <a:lnTo>
                        <a:pt x="3" y="498"/>
                      </a:lnTo>
                      <a:lnTo>
                        <a:pt x="2" y="482"/>
                      </a:lnTo>
                      <a:lnTo>
                        <a:pt x="0" y="466"/>
                      </a:lnTo>
                      <a:lnTo>
                        <a:pt x="0" y="447"/>
                      </a:lnTo>
                      <a:lnTo>
                        <a:pt x="0" y="426"/>
                      </a:lnTo>
                      <a:lnTo>
                        <a:pt x="2" y="404"/>
                      </a:lnTo>
                      <a:lnTo>
                        <a:pt x="9" y="357"/>
                      </a:lnTo>
                      <a:lnTo>
                        <a:pt x="19" y="304"/>
                      </a:lnTo>
                      <a:lnTo>
                        <a:pt x="33" y="249"/>
                      </a:lnTo>
                      <a:lnTo>
                        <a:pt x="33" y="249"/>
                      </a:lnTo>
                      <a:lnTo>
                        <a:pt x="50" y="196"/>
                      </a:lnTo>
                      <a:lnTo>
                        <a:pt x="69" y="146"/>
                      </a:lnTo>
                      <a:lnTo>
                        <a:pt x="89" y="102"/>
                      </a:lnTo>
                      <a:lnTo>
                        <a:pt x="99" y="83"/>
                      </a:lnTo>
                      <a:lnTo>
                        <a:pt x="109" y="65"/>
                      </a:lnTo>
                      <a:lnTo>
                        <a:pt x="120" y="49"/>
                      </a:lnTo>
                      <a:lnTo>
                        <a:pt x="130" y="35"/>
                      </a:lnTo>
                      <a:lnTo>
                        <a:pt x="140" y="24"/>
                      </a:lnTo>
                      <a:lnTo>
                        <a:pt x="151" y="15"/>
                      </a:lnTo>
                      <a:lnTo>
                        <a:pt x="159" y="7"/>
                      </a:lnTo>
                      <a:lnTo>
                        <a:pt x="168" y="3"/>
                      </a:lnTo>
                      <a:lnTo>
                        <a:pt x="177" y="0"/>
                      </a:lnTo>
                      <a:lnTo>
                        <a:pt x="186" y="2"/>
                      </a:lnTo>
                      <a:lnTo>
                        <a:pt x="186" y="2"/>
                      </a:lnTo>
                      <a:lnTo>
                        <a:pt x="193" y="4"/>
                      </a:lnTo>
                      <a:lnTo>
                        <a:pt x="199" y="10"/>
                      </a:lnTo>
                      <a:lnTo>
                        <a:pt x="204" y="19"/>
                      </a:lnTo>
                      <a:lnTo>
                        <a:pt x="208" y="31"/>
                      </a:lnTo>
                      <a:lnTo>
                        <a:pt x="211" y="44"/>
                      </a:lnTo>
                      <a:lnTo>
                        <a:pt x="214" y="59"/>
                      </a:lnTo>
                      <a:lnTo>
                        <a:pt x="215" y="77"/>
                      </a:lnTo>
                      <a:lnTo>
                        <a:pt x="215" y="96"/>
                      </a:lnTo>
                      <a:lnTo>
                        <a:pt x="214" y="117"/>
                      </a:lnTo>
                      <a:lnTo>
                        <a:pt x="212" y="139"/>
                      </a:lnTo>
                      <a:lnTo>
                        <a:pt x="207" y="186"/>
                      </a:lnTo>
                      <a:lnTo>
                        <a:pt x="196" y="237"/>
                      </a:lnTo>
                      <a:lnTo>
                        <a:pt x="182" y="292"/>
                      </a:lnTo>
                      <a:lnTo>
                        <a:pt x="182" y="292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FDFDF"/>
                    </a:gs>
                    <a:gs pos="100000">
                      <a:srgbClr val="858585"/>
                    </a:gs>
                  </a:gsLst>
                  <a:lin ang="10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" name="Freeform 24">
                  <a:extLst>
                    <a:ext uri="{FF2B5EF4-FFF2-40B4-BE49-F238E27FC236}">
                      <a16:creationId xmlns:a16="http://schemas.microsoft.com/office/drawing/2014/main" xmlns="" id="{B5A75D03-1F7D-A540-9FBE-58AFB7E451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5762" y="0"/>
                  <a:ext cx="2743200" cy="2217738"/>
                </a:xfrm>
                <a:custGeom>
                  <a:avLst/>
                  <a:gdLst/>
                  <a:ahLst/>
                  <a:cxnLst>
                    <a:cxn ang="0">
                      <a:pos x="219" y="4047"/>
                    </a:cxn>
                    <a:cxn ang="0">
                      <a:pos x="148" y="3985"/>
                    </a:cxn>
                    <a:cxn ang="0">
                      <a:pos x="138" y="3856"/>
                    </a:cxn>
                    <a:cxn ang="0">
                      <a:pos x="162" y="3490"/>
                    </a:cxn>
                    <a:cxn ang="0">
                      <a:pos x="227" y="3055"/>
                    </a:cxn>
                    <a:cxn ang="0">
                      <a:pos x="346" y="2546"/>
                    </a:cxn>
                    <a:cxn ang="0">
                      <a:pos x="539" y="2001"/>
                    </a:cxn>
                    <a:cxn ang="0">
                      <a:pos x="697" y="1673"/>
                    </a:cxn>
                    <a:cxn ang="0">
                      <a:pos x="855" y="1410"/>
                    </a:cxn>
                    <a:cxn ang="0">
                      <a:pos x="1005" y="1197"/>
                    </a:cxn>
                    <a:cxn ang="0">
                      <a:pos x="1242" y="927"/>
                    </a:cxn>
                    <a:cxn ang="0">
                      <a:pos x="1505" y="696"/>
                    </a:cxn>
                    <a:cxn ang="0">
                      <a:pos x="1792" y="504"/>
                    </a:cxn>
                    <a:cxn ang="0">
                      <a:pos x="2103" y="351"/>
                    </a:cxn>
                    <a:cxn ang="0">
                      <a:pos x="2436" y="237"/>
                    </a:cxn>
                    <a:cxn ang="0">
                      <a:pos x="2795" y="164"/>
                    </a:cxn>
                    <a:cxn ang="0">
                      <a:pos x="3039" y="143"/>
                    </a:cxn>
                    <a:cxn ang="0">
                      <a:pos x="3336" y="155"/>
                    </a:cxn>
                    <a:cxn ang="0">
                      <a:pos x="3653" y="202"/>
                    </a:cxn>
                    <a:cxn ang="0">
                      <a:pos x="4002" y="307"/>
                    </a:cxn>
                    <a:cxn ang="0">
                      <a:pos x="4320" y="464"/>
                    </a:cxn>
                    <a:cxn ang="0">
                      <a:pos x="4490" y="585"/>
                    </a:cxn>
                    <a:cxn ang="0">
                      <a:pos x="4615" y="694"/>
                    </a:cxn>
                    <a:cxn ang="0">
                      <a:pos x="4752" y="843"/>
                    </a:cxn>
                    <a:cxn ang="0">
                      <a:pos x="4873" y="1007"/>
                    </a:cxn>
                    <a:cxn ang="0">
                      <a:pos x="4956" y="1152"/>
                    </a:cxn>
                    <a:cxn ang="0">
                      <a:pos x="5184" y="1309"/>
                    </a:cxn>
                    <a:cxn ang="0">
                      <a:pos x="5053" y="1032"/>
                    </a:cxn>
                    <a:cxn ang="0">
                      <a:pos x="4890" y="787"/>
                    </a:cxn>
                    <a:cxn ang="0">
                      <a:pos x="4693" y="572"/>
                    </a:cxn>
                    <a:cxn ang="0">
                      <a:pos x="4545" y="447"/>
                    </a:cxn>
                    <a:cxn ang="0">
                      <a:pos x="4362" y="323"/>
                    </a:cxn>
                    <a:cxn ang="0">
                      <a:pos x="4062" y="177"/>
                    </a:cxn>
                    <a:cxn ang="0">
                      <a:pos x="3695" y="63"/>
                    </a:cxn>
                    <a:cxn ang="0">
                      <a:pos x="3361" y="12"/>
                    </a:cxn>
                    <a:cxn ang="0">
                      <a:pos x="3045" y="0"/>
                    </a:cxn>
                    <a:cxn ang="0">
                      <a:pos x="2851" y="13"/>
                    </a:cxn>
                    <a:cxn ang="0">
                      <a:pos x="2405" y="99"/>
                    </a:cxn>
                    <a:cxn ang="0">
                      <a:pos x="1994" y="242"/>
                    </a:cxn>
                    <a:cxn ang="0">
                      <a:pos x="1617" y="442"/>
                    </a:cxn>
                    <a:cxn ang="0">
                      <a:pos x="1276" y="699"/>
                    </a:cxn>
                    <a:cxn ang="0">
                      <a:pos x="971" y="1011"/>
                    </a:cxn>
                    <a:cxn ang="0">
                      <a:pos x="703" y="1382"/>
                    </a:cxn>
                    <a:cxn ang="0">
                      <a:pos x="549" y="1648"/>
                    </a:cxn>
                    <a:cxn ang="0">
                      <a:pos x="319" y="2173"/>
                    </a:cxn>
                    <a:cxn ang="0">
                      <a:pos x="162" y="2691"/>
                    </a:cxn>
                    <a:cxn ang="0">
                      <a:pos x="64" y="3168"/>
                    </a:cxn>
                    <a:cxn ang="0">
                      <a:pos x="14" y="3571"/>
                    </a:cxn>
                    <a:cxn ang="0">
                      <a:pos x="0" y="3864"/>
                    </a:cxn>
                    <a:cxn ang="0">
                      <a:pos x="5" y="4018"/>
                    </a:cxn>
                    <a:cxn ang="0">
                      <a:pos x="39" y="4077"/>
                    </a:cxn>
                    <a:cxn ang="0">
                      <a:pos x="132" y="4161"/>
                    </a:cxn>
                    <a:cxn ang="0">
                      <a:pos x="182" y="4190"/>
                    </a:cxn>
                    <a:cxn ang="0">
                      <a:pos x="202" y="4174"/>
                    </a:cxn>
                    <a:cxn ang="0">
                      <a:pos x="228" y="4099"/>
                    </a:cxn>
                    <a:cxn ang="0">
                      <a:pos x="227" y="4053"/>
                    </a:cxn>
                  </a:cxnLst>
                  <a:rect l="0" t="0" r="r" b="b"/>
                  <a:pathLst>
                    <a:path w="5184" h="4192">
                      <a:moveTo>
                        <a:pt x="222" y="4050"/>
                      </a:move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19" y="4047"/>
                      </a:lnTo>
                      <a:lnTo>
                        <a:pt x="219" y="4047"/>
                      </a:lnTo>
                      <a:lnTo>
                        <a:pt x="197" y="4032"/>
                      </a:lnTo>
                      <a:lnTo>
                        <a:pt x="175" y="4015"/>
                      </a:lnTo>
                      <a:lnTo>
                        <a:pt x="156" y="3994"/>
                      </a:lnTo>
                      <a:lnTo>
                        <a:pt x="148" y="3985"/>
                      </a:lnTo>
                      <a:lnTo>
                        <a:pt x="141" y="3975"/>
                      </a:lnTo>
                      <a:lnTo>
                        <a:pt x="141" y="3975"/>
                      </a:lnTo>
                      <a:lnTo>
                        <a:pt x="140" y="3956"/>
                      </a:lnTo>
                      <a:lnTo>
                        <a:pt x="138" y="3929"/>
                      </a:lnTo>
                      <a:lnTo>
                        <a:pt x="138" y="3856"/>
                      </a:lnTo>
                      <a:lnTo>
                        <a:pt x="141" y="3757"/>
                      </a:lnTo>
                      <a:lnTo>
                        <a:pt x="144" y="3698"/>
                      </a:lnTo>
                      <a:lnTo>
                        <a:pt x="148" y="3633"/>
                      </a:lnTo>
                      <a:lnTo>
                        <a:pt x="154" y="3564"/>
                      </a:lnTo>
                      <a:lnTo>
                        <a:pt x="162" y="3490"/>
                      </a:lnTo>
                      <a:lnTo>
                        <a:pt x="171" y="3410"/>
                      </a:lnTo>
                      <a:lnTo>
                        <a:pt x="182" y="3328"/>
                      </a:lnTo>
                      <a:lnTo>
                        <a:pt x="194" y="3241"/>
                      </a:lnTo>
                      <a:lnTo>
                        <a:pt x="209" y="3149"/>
                      </a:lnTo>
                      <a:lnTo>
                        <a:pt x="227" y="3055"/>
                      </a:lnTo>
                      <a:lnTo>
                        <a:pt x="246" y="2958"/>
                      </a:lnTo>
                      <a:lnTo>
                        <a:pt x="266" y="2857"/>
                      </a:lnTo>
                      <a:lnTo>
                        <a:pt x="290" y="2756"/>
                      </a:lnTo>
                      <a:lnTo>
                        <a:pt x="317" y="2651"/>
                      </a:lnTo>
                      <a:lnTo>
                        <a:pt x="346" y="2546"/>
                      </a:lnTo>
                      <a:lnTo>
                        <a:pt x="378" y="2439"/>
                      </a:lnTo>
                      <a:lnTo>
                        <a:pt x="414" y="2330"/>
                      </a:lnTo>
                      <a:lnTo>
                        <a:pt x="452" y="2220"/>
                      </a:lnTo>
                      <a:lnTo>
                        <a:pt x="495" y="2111"/>
                      </a:lnTo>
                      <a:lnTo>
                        <a:pt x="539" y="2001"/>
                      </a:lnTo>
                      <a:lnTo>
                        <a:pt x="588" y="1892"/>
                      </a:lnTo>
                      <a:lnTo>
                        <a:pt x="614" y="1837"/>
                      </a:lnTo>
                      <a:lnTo>
                        <a:pt x="641" y="1783"/>
                      </a:lnTo>
                      <a:lnTo>
                        <a:pt x="667" y="1728"/>
                      </a:lnTo>
                      <a:lnTo>
                        <a:pt x="697" y="1673"/>
                      </a:lnTo>
                      <a:lnTo>
                        <a:pt x="726" y="1620"/>
                      </a:lnTo>
                      <a:lnTo>
                        <a:pt x="756" y="1567"/>
                      </a:lnTo>
                      <a:lnTo>
                        <a:pt x="788" y="1514"/>
                      </a:lnTo>
                      <a:lnTo>
                        <a:pt x="821" y="1461"/>
                      </a:lnTo>
                      <a:lnTo>
                        <a:pt x="855" y="1410"/>
                      </a:lnTo>
                      <a:lnTo>
                        <a:pt x="889" y="1358"/>
                      </a:lnTo>
                      <a:lnTo>
                        <a:pt x="924" y="1306"/>
                      </a:lnTo>
                      <a:lnTo>
                        <a:pt x="961" y="1256"/>
                      </a:lnTo>
                      <a:lnTo>
                        <a:pt x="961" y="1256"/>
                      </a:lnTo>
                      <a:lnTo>
                        <a:pt x="1005" y="1197"/>
                      </a:lnTo>
                      <a:lnTo>
                        <a:pt x="1051" y="1140"/>
                      </a:lnTo>
                      <a:lnTo>
                        <a:pt x="1098" y="1084"/>
                      </a:lnTo>
                      <a:lnTo>
                        <a:pt x="1145" y="1031"/>
                      </a:lnTo>
                      <a:lnTo>
                        <a:pt x="1194" y="978"/>
                      </a:lnTo>
                      <a:lnTo>
                        <a:pt x="1242" y="927"/>
                      </a:lnTo>
                      <a:lnTo>
                        <a:pt x="1294" y="877"/>
                      </a:lnTo>
                      <a:lnTo>
                        <a:pt x="1346" y="830"/>
                      </a:lnTo>
                      <a:lnTo>
                        <a:pt x="1397" y="784"/>
                      </a:lnTo>
                      <a:lnTo>
                        <a:pt x="1450" y="739"/>
                      </a:lnTo>
                      <a:lnTo>
                        <a:pt x="1505" y="696"/>
                      </a:lnTo>
                      <a:lnTo>
                        <a:pt x="1561" y="655"/>
                      </a:lnTo>
                      <a:lnTo>
                        <a:pt x="1617" y="615"/>
                      </a:lnTo>
                      <a:lnTo>
                        <a:pt x="1674" y="576"/>
                      </a:lnTo>
                      <a:lnTo>
                        <a:pt x="1733" y="540"/>
                      </a:lnTo>
                      <a:lnTo>
                        <a:pt x="1792" y="504"/>
                      </a:lnTo>
                      <a:lnTo>
                        <a:pt x="1853" y="470"/>
                      </a:lnTo>
                      <a:lnTo>
                        <a:pt x="1913" y="438"/>
                      </a:lnTo>
                      <a:lnTo>
                        <a:pt x="1975" y="407"/>
                      </a:lnTo>
                      <a:lnTo>
                        <a:pt x="2038" y="379"/>
                      </a:lnTo>
                      <a:lnTo>
                        <a:pt x="2103" y="351"/>
                      </a:lnTo>
                      <a:lnTo>
                        <a:pt x="2168" y="324"/>
                      </a:lnTo>
                      <a:lnTo>
                        <a:pt x="2233" y="301"/>
                      </a:lnTo>
                      <a:lnTo>
                        <a:pt x="2301" y="279"/>
                      </a:lnTo>
                      <a:lnTo>
                        <a:pt x="2369" y="257"/>
                      </a:lnTo>
                      <a:lnTo>
                        <a:pt x="2436" y="237"/>
                      </a:lnTo>
                      <a:lnTo>
                        <a:pt x="2507" y="220"/>
                      </a:lnTo>
                      <a:lnTo>
                        <a:pt x="2578" y="203"/>
                      </a:lnTo>
                      <a:lnTo>
                        <a:pt x="2649" y="189"/>
                      </a:lnTo>
                      <a:lnTo>
                        <a:pt x="2721" y="175"/>
                      </a:lnTo>
                      <a:lnTo>
                        <a:pt x="2795" y="164"/>
                      </a:lnTo>
                      <a:lnTo>
                        <a:pt x="2868" y="153"/>
                      </a:lnTo>
                      <a:lnTo>
                        <a:pt x="2868" y="153"/>
                      </a:lnTo>
                      <a:lnTo>
                        <a:pt x="2916" y="149"/>
                      </a:lnTo>
                      <a:lnTo>
                        <a:pt x="2969" y="146"/>
                      </a:lnTo>
                      <a:lnTo>
                        <a:pt x="3039" y="143"/>
                      </a:lnTo>
                      <a:lnTo>
                        <a:pt x="3125" y="143"/>
                      </a:lnTo>
                      <a:lnTo>
                        <a:pt x="3174" y="144"/>
                      </a:lnTo>
                      <a:lnTo>
                        <a:pt x="3225" y="146"/>
                      </a:lnTo>
                      <a:lnTo>
                        <a:pt x="3278" y="150"/>
                      </a:lnTo>
                      <a:lnTo>
                        <a:pt x="3336" y="155"/>
                      </a:lnTo>
                      <a:lnTo>
                        <a:pt x="3395" y="161"/>
                      </a:lnTo>
                      <a:lnTo>
                        <a:pt x="3457" y="168"/>
                      </a:lnTo>
                      <a:lnTo>
                        <a:pt x="3520" y="178"/>
                      </a:lnTo>
                      <a:lnTo>
                        <a:pt x="3586" y="189"/>
                      </a:lnTo>
                      <a:lnTo>
                        <a:pt x="3653" y="202"/>
                      </a:lnTo>
                      <a:lnTo>
                        <a:pt x="3720" y="218"/>
                      </a:lnTo>
                      <a:lnTo>
                        <a:pt x="3790" y="236"/>
                      </a:lnTo>
                      <a:lnTo>
                        <a:pt x="3861" y="257"/>
                      </a:lnTo>
                      <a:lnTo>
                        <a:pt x="3931" y="280"/>
                      </a:lnTo>
                      <a:lnTo>
                        <a:pt x="4002" y="307"/>
                      </a:lnTo>
                      <a:lnTo>
                        <a:pt x="4073" y="336"/>
                      </a:lnTo>
                      <a:lnTo>
                        <a:pt x="4145" y="369"/>
                      </a:lnTo>
                      <a:lnTo>
                        <a:pt x="4216" y="405"/>
                      </a:lnTo>
                      <a:lnTo>
                        <a:pt x="4285" y="444"/>
                      </a:lnTo>
                      <a:lnTo>
                        <a:pt x="4320" y="464"/>
                      </a:lnTo>
                      <a:lnTo>
                        <a:pt x="4354" y="487"/>
                      </a:lnTo>
                      <a:lnTo>
                        <a:pt x="4390" y="510"/>
                      </a:lnTo>
                      <a:lnTo>
                        <a:pt x="4424" y="534"/>
                      </a:lnTo>
                      <a:lnTo>
                        <a:pt x="4458" y="559"/>
                      </a:lnTo>
                      <a:lnTo>
                        <a:pt x="4490" y="585"/>
                      </a:lnTo>
                      <a:lnTo>
                        <a:pt x="4524" y="612"/>
                      </a:lnTo>
                      <a:lnTo>
                        <a:pt x="4556" y="640"/>
                      </a:lnTo>
                      <a:lnTo>
                        <a:pt x="4556" y="640"/>
                      </a:lnTo>
                      <a:lnTo>
                        <a:pt x="4586" y="666"/>
                      </a:lnTo>
                      <a:lnTo>
                        <a:pt x="4615" y="694"/>
                      </a:lnTo>
                      <a:lnTo>
                        <a:pt x="4645" y="722"/>
                      </a:lnTo>
                      <a:lnTo>
                        <a:pt x="4673" y="752"/>
                      </a:lnTo>
                      <a:lnTo>
                        <a:pt x="4699" y="781"/>
                      </a:lnTo>
                      <a:lnTo>
                        <a:pt x="4726" y="812"/>
                      </a:lnTo>
                      <a:lnTo>
                        <a:pt x="4752" y="843"/>
                      </a:lnTo>
                      <a:lnTo>
                        <a:pt x="4777" y="874"/>
                      </a:lnTo>
                      <a:lnTo>
                        <a:pt x="4803" y="907"/>
                      </a:lnTo>
                      <a:lnTo>
                        <a:pt x="4826" y="939"/>
                      </a:lnTo>
                      <a:lnTo>
                        <a:pt x="4850" y="973"/>
                      </a:lnTo>
                      <a:lnTo>
                        <a:pt x="4873" y="1007"/>
                      </a:lnTo>
                      <a:lnTo>
                        <a:pt x="4894" y="1042"/>
                      </a:lnTo>
                      <a:lnTo>
                        <a:pt x="4916" y="1078"/>
                      </a:lnTo>
                      <a:lnTo>
                        <a:pt x="4937" y="1115"/>
                      </a:lnTo>
                      <a:lnTo>
                        <a:pt x="4956" y="1152"/>
                      </a:lnTo>
                      <a:lnTo>
                        <a:pt x="4956" y="1152"/>
                      </a:lnTo>
                      <a:lnTo>
                        <a:pt x="5015" y="1188"/>
                      </a:lnTo>
                      <a:lnTo>
                        <a:pt x="5072" y="1227"/>
                      </a:lnTo>
                      <a:lnTo>
                        <a:pt x="5130" y="1268"/>
                      </a:lnTo>
                      <a:lnTo>
                        <a:pt x="5184" y="1309"/>
                      </a:lnTo>
                      <a:lnTo>
                        <a:pt x="5184" y="1309"/>
                      </a:lnTo>
                      <a:lnTo>
                        <a:pt x="5161" y="1250"/>
                      </a:lnTo>
                      <a:lnTo>
                        <a:pt x="5136" y="1194"/>
                      </a:lnTo>
                      <a:lnTo>
                        <a:pt x="5111" y="1140"/>
                      </a:lnTo>
                      <a:lnTo>
                        <a:pt x="5083" y="1085"/>
                      </a:lnTo>
                      <a:lnTo>
                        <a:pt x="5053" y="1032"/>
                      </a:lnTo>
                      <a:lnTo>
                        <a:pt x="5024" y="980"/>
                      </a:lnTo>
                      <a:lnTo>
                        <a:pt x="4993" y="930"/>
                      </a:lnTo>
                      <a:lnTo>
                        <a:pt x="4959" y="882"/>
                      </a:lnTo>
                      <a:lnTo>
                        <a:pt x="4925" y="833"/>
                      </a:lnTo>
                      <a:lnTo>
                        <a:pt x="4890" y="787"/>
                      </a:lnTo>
                      <a:lnTo>
                        <a:pt x="4853" y="742"/>
                      </a:lnTo>
                      <a:lnTo>
                        <a:pt x="4816" y="697"/>
                      </a:lnTo>
                      <a:lnTo>
                        <a:pt x="4776" y="655"/>
                      </a:lnTo>
                      <a:lnTo>
                        <a:pt x="4735" y="612"/>
                      </a:lnTo>
                      <a:lnTo>
                        <a:pt x="4693" y="572"/>
                      </a:lnTo>
                      <a:lnTo>
                        <a:pt x="4651" y="532"/>
                      </a:lnTo>
                      <a:lnTo>
                        <a:pt x="4651" y="532"/>
                      </a:lnTo>
                      <a:lnTo>
                        <a:pt x="4615" y="503"/>
                      </a:lnTo>
                      <a:lnTo>
                        <a:pt x="4580" y="475"/>
                      </a:lnTo>
                      <a:lnTo>
                        <a:pt x="4545" y="447"/>
                      </a:lnTo>
                      <a:lnTo>
                        <a:pt x="4509" y="420"/>
                      </a:lnTo>
                      <a:lnTo>
                        <a:pt x="4472" y="394"/>
                      </a:lnTo>
                      <a:lnTo>
                        <a:pt x="4435" y="370"/>
                      </a:lnTo>
                      <a:lnTo>
                        <a:pt x="4399" y="346"/>
                      </a:lnTo>
                      <a:lnTo>
                        <a:pt x="4362" y="323"/>
                      </a:lnTo>
                      <a:lnTo>
                        <a:pt x="4325" y="302"/>
                      </a:lnTo>
                      <a:lnTo>
                        <a:pt x="4288" y="282"/>
                      </a:lnTo>
                      <a:lnTo>
                        <a:pt x="4213" y="243"/>
                      </a:lnTo>
                      <a:lnTo>
                        <a:pt x="4138" y="208"/>
                      </a:lnTo>
                      <a:lnTo>
                        <a:pt x="4062" y="177"/>
                      </a:lnTo>
                      <a:lnTo>
                        <a:pt x="3987" y="149"/>
                      </a:lnTo>
                      <a:lnTo>
                        <a:pt x="3914" y="122"/>
                      </a:lnTo>
                      <a:lnTo>
                        <a:pt x="3840" y="100"/>
                      </a:lnTo>
                      <a:lnTo>
                        <a:pt x="3768" y="81"/>
                      </a:lnTo>
                      <a:lnTo>
                        <a:pt x="3695" y="63"/>
                      </a:lnTo>
                      <a:lnTo>
                        <a:pt x="3625" y="50"/>
                      </a:lnTo>
                      <a:lnTo>
                        <a:pt x="3555" y="37"/>
                      </a:lnTo>
                      <a:lnTo>
                        <a:pt x="3489" y="27"/>
                      </a:lnTo>
                      <a:lnTo>
                        <a:pt x="3424" y="19"/>
                      </a:lnTo>
                      <a:lnTo>
                        <a:pt x="3361" y="12"/>
                      </a:lnTo>
                      <a:lnTo>
                        <a:pt x="3302" y="7"/>
                      </a:lnTo>
                      <a:lnTo>
                        <a:pt x="3244" y="3"/>
                      </a:lnTo>
                      <a:lnTo>
                        <a:pt x="3190" y="1"/>
                      </a:lnTo>
                      <a:lnTo>
                        <a:pt x="3138" y="0"/>
                      </a:lnTo>
                      <a:lnTo>
                        <a:pt x="3045" y="0"/>
                      </a:lnTo>
                      <a:lnTo>
                        <a:pt x="2970" y="3"/>
                      </a:lnTo>
                      <a:lnTo>
                        <a:pt x="2910" y="7"/>
                      </a:lnTo>
                      <a:lnTo>
                        <a:pt x="2870" y="10"/>
                      </a:lnTo>
                      <a:lnTo>
                        <a:pt x="2851" y="13"/>
                      </a:lnTo>
                      <a:lnTo>
                        <a:pt x="2851" y="13"/>
                      </a:lnTo>
                      <a:lnTo>
                        <a:pt x="2759" y="25"/>
                      </a:lnTo>
                      <a:lnTo>
                        <a:pt x="2668" y="40"/>
                      </a:lnTo>
                      <a:lnTo>
                        <a:pt x="2579" y="58"/>
                      </a:lnTo>
                      <a:lnTo>
                        <a:pt x="2491" y="77"/>
                      </a:lnTo>
                      <a:lnTo>
                        <a:pt x="2405" y="99"/>
                      </a:lnTo>
                      <a:lnTo>
                        <a:pt x="2320" y="122"/>
                      </a:lnTo>
                      <a:lnTo>
                        <a:pt x="2236" y="149"/>
                      </a:lnTo>
                      <a:lnTo>
                        <a:pt x="2155" y="177"/>
                      </a:lnTo>
                      <a:lnTo>
                        <a:pt x="2074" y="208"/>
                      </a:lnTo>
                      <a:lnTo>
                        <a:pt x="1994" y="242"/>
                      </a:lnTo>
                      <a:lnTo>
                        <a:pt x="1916" y="277"/>
                      </a:lnTo>
                      <a:lnTo>
                        <a:pt x="1839" y="314"/>
                      </a:lnTo>
                      <a:lnTo>
                        <a:pt x="1764" y="355"/>
                      </a:lnTo>
                      <a:lnTo>
                        <a:pt x="1690" y="397"/>
                      </a:lnTo>
                      <a:lnTo>
                        <a:pt x="1617" y="442"/>
                      </a:lnTo>
                      <a:lnTo>
                        <a:pt x="1546" y="488"/>
                      </a:lnTo>
                      <a:lnTo>
                        <a:pt x="1477" y="538"/>
                      </a:lnTo>
                      <a:lnTo>
                        <a:pt x="1409" y="590"/>
                      </a:lnTo>
                      <a:lnTo>
                        <a:pt x="1341" y="643"/>
                      </a:lnTo>
                      <a:lnTo>
                        <a:pt x="1276" y="699"/>
                      </a:lnTo>
                      <a:lnTo>
                        <a:pt x="1213" y="756"/>
                      </a:lnTo>
                      <a:lnTo>
                        <a:pt x="1149" y="817"/>
                      </a:lnTo>
                      <a:lnTo>
                        <a:pt x="1089" y="880"/>
                      </a:lnTo>
                      <a:lnTo>
                        <a:pt x="1030" y="945"/>
                      </a:lnTo>
                      <a:lnTo>
                        <a:pt x="971" y="1011"/>
                      </a:lnTo>
                      <a:lnTo>
                        <a:pt x="915" y="1082"/>
                      </a:lnTo>
                      <a:lnTo>
                        <a:pt x="859" y="1153"/>
                      </a:lnTo>
                      <a:lnTo>
                        <a:pt x="806" y="1227"/>
                      </a:lnTo>
                      <a:lnTo>
                        <a:pt x="753" y="1303"/>
                      </a:lnTo>
                      <a:lnTo>
                        <a:pt x="703" y="1382"/>
                      </a:lnTo>
                      <a:lnTo>
                        <a:pt x="653" y="1463"/>
                      </a:lnTo>
                      <a:lnTo>
                        <a:pt x="605" y="1545"/>
                      </a:lnTo>
                      <a:lnTo>
                        <a:pt x="605" y="1545"/>
                      </a:lnTo>
                      <a:lnTo>
                        <a:pt x="577" y="1597"/>
                      </a:lnTo>
                      <a:lnTo>
                        <a:pt x="549" y="1648"/>
                      </a:lnTo>
                      <a:lnTo>
                        <a:pt x="498" y="1752"/>
                      </a:lnTo>
                      <a:lnTo>
                        <a:pt x="448" y="1856"/>
                      </a:lnTo>
                      <a:lnTo>
                        <a:pt x="402" y="1962"/>
                      </a:lnTo>
                      <a:lnTo>
                        <a:pt x="359" y="2067"/>
                      </a:lnTo>
                      <a:lnTo>
                        <a:pt x="319" y="2173"/>
                      </a:lnTo>
                      <a:lnTo>
                        <a:pt x="283" y="2278"/>
                      </a:lnTo>
                      <a:lnTo>
                        <a:pt x="249" y="2383"/>
                      </a:lnTo>
                      <a:lnTo>
                        <a:pt x="218" y="2487"/>
                      </a:lnTo>
                      <a:lnTo>
                        <a:pt x="188" y="2591"/>
                      </a:lnTo>
                      <a:lnTo>
                        <a:pt x="162" y="2691"/>
                      </a:lnTo>
                      <a:lnTo>
                        <a:pt x="138" y="2791"/>
                      </a:lnTo>
                      <a:lnTo>
                        <a:pt x="116" y="2888"/>
                      </a:lnTo>
                      <a:lnTo>
                        <a:pt x="97" y="2984"/>
                      </a:lnTo>
                      <a:lnTo>
                        <a:pt x="79" y="3077"/>
                      </a:lnTo>
                      <a:lnTo>
                        <a:pt x="64" y="3168"/>
                      </a:lnTo>
                      <a:lnTo>
                        <a:pt x="51" y="3255"/>
                      </a:lnTo>
                      <a:lnTo>
                        <a:pt x="39" y="3340"/>
                      </a:lnTo>
                      <a:lnTo>
                        <a:pt x="29" y="3421"/>
                      </a:lnTo>
                      <a:lnTo>
                        <a:pt x="22" y="3497"/>
                      </a:lnTo>
                      <a:lnTo>
                        <a:pt x="14" y="3571"/>
                      </a:lnTo>
                      <a:lnTo>
                        <a:pt x="8" y="3639"/>
                      </a:lnTo>
                      <a:lnTo>
                        <a:pt x="4" y="3702"/>
                      </a:lnTo>
                      <a:lnTo>
                        <a:pt x="1" y="3763"/>
                      </a:lnTo>
                      <a:lnTo>
                        <a:pt x="0" y="3816"/>
                      </a:lnTo>
                      <a:lnTo>
                        <a:pt x="0" y="3864"/>
                      </a:lnTo>
                      <a:lnTo>
                        <a:pt x="0" y="3907"/>
                      </a:lnTo>
                      <a:lnTo>
                        <a:pt x="0" y="3944"/>
                      </a:lnTo>
                      <a:lnTo>
                        <a:pt x="1" y="3975"/>
                      </a:lnTo>
                      <a:lnTo>
                        <a:pt x="4" y="4000"/>
                      </a:lnTo>
                      <a:lnTo>
                        <a:pt x="5" y="4018"/>
                      </a:lnTo>
                      <a:lnTo>
                        <a:pt x="8" y="4028"/>
                      </a:lnTo>
                      <a:lnTo>
                        <a:pt x="8" y="4028"/>
                      </a:lnTo>
                      <a:lnTo>
                        <a:pt x="17" y="4044"/>
                      </a:lnTo>
                      <a:lnTo>
                        <a:pt x="28" y="4061"/>
                      </a:lnTo>
                      <a:lnTo>
                        <a:pt x="39" y="4077"/>
                      </a:lnTo>
                      <a:lnTo>
                        <a:pt x="51" y="4091"/>
                      </a:lnTo>
                      <a:lnTo>
                        <a:pt x="64" y="4105"/>
                      </a:lnTo>
                      <a:lnTo>
                        <a:pt x="79" y="4118"/>
                      </a:lnTo>
                      <a:lnTo>
                        <a:pt x="106" y="4142"/>
                      </a:lnTo>
                      <a:lnTo>
                        <a:pt x="132" y="4161"/>
                      </a:lnTo>
                      <a:lnTo>
                        <a:pt x="154" y="4176"/>
                      </a:lnTo>
                      <a:lnTo>
                        <a:pt x="181" y="4192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7" y="4190"/>
                      </a:lnTo>
                      <a:lnTo>
                        <a:pt x="191" y="4187"/>
                      </a:lnTo>
                      <a:lnTo>
                        <a:pt x="197" y="4181"/>
                      </a:lnTo>
                      <a:lnTo>
                        <a:pt x="202" y="4174"/>
                      </a:lnTo>
                      <a:lnTo>
                        <a:pt x="207" y="4164"/>
                      </a:lnTo>
                      <a:lnTo>
                        <a:pt x="212" y="4153"/>
                      </a:lnTo>
                      <a:lnTo>
                        <a:pt x="222" y="4127"/>
                      </a:lnTo>
                      <a:lnTo>
                        <a:pt x="222" y="4127"/>
                      </a:lnTo>
                      <a:lnTo>
                        <a:pt x="228" y="4099"/>
                      </a:lnTo>
                      <a:lnTo>
                        <a:pt x="230" y="4086"/>
                      </a:lnTo>
                      <a:lnTo>
                        <a:pt x="231" y="4075"/>
                      </a:lnTo>
                      <a:lnTo>
                        <a:pt x="230" y="4066"/>
                      </a:lnTo>
                      <a:lnTo>
                        <a:pt x="228" y="4059"/>
                      </a:lnTo>
                      <a:lnTo>
                        <a:pt x="227" y="4053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close/>
                    </a:path>
                  </a:pathLst>
                </a:custGeom>
                <a:gradFill flip="none" rotWithShape="1">
                  <a:gsLst>
                    <a:gs pos="38000">
                      <a:srgbClr val="414141"/>
                    </a:gs>
                    <a:gs pos="0">
                      <a:srgbClr val="A6A6A6"/>
                    </a:gs>
                    <a:gs pos="100000">
                      <a:srgbClr val="A6A6A6"/>
                    </a:gs>
                    <a:gs pos="74000">
                      <a:srgbClr val="DFDFDF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>
                  <a:noFill/>
                  <a:round/>
                  <a:headEnd/>
                  <a:tailEnd/>
                </a:ln>
                <a:effectLst>
                  <a:innerShdw blurRad="66675" dist="50800" dir="13500000">
                    <a:srgbClr val="000000">
                      <a:alpha val="50000"/>
                    </a:srgb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09" name="Line 28">
                  <a:extLst>
                    <a:ext uri="{FF2B5EF4-FFF2-40B4-BE49-F238E27FC236}">
                      <a16:creationId xmlns:a16="http://schemas.microsoft.com/office/drawing/2014/main" xmlns="" id="{741EE188-91CD-6D43-B0DC-D5EEBD034C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" name="Line 29">
                  <a:extLst>
                    <a:ext uri="{FF2B5EF4-FFF2-40B4-BE49-F238E27FC236}">
                      <a16:creationId xmlns:a16="http://schemas.microsoft.com/office/drawing/2014/main" xmlns="" id="{4D6B3979-8102-DD40-933E-DF68772DD6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89" name="Group 84">
                <a:extLst>
                  <a:ext uri="{FF2B5EF4-FFF2-40B4-BE49-F238E27FC236}">
                    <a16:creationId xmlns:a16="http://schemas.microsoft.com/office/drawing/2014/main" xmlns="" id="{E870E309-CD0E-7146-A313-EA5077136C6D}"/>
                  </a:ext>
                </a:extLst>
              </p:cNvPr>
              <p:cNvGrpSpPr/>
              <p:nvPr/>
            </p:nvGrpSpPr>
            <p:grpSpPr>
              <a:xfrm>
                <a:off x="4858472" y="1509364"/>
                <a:ext cx="941843" cy="1552796"/>
                <a:chOff x="8843962" y="2613025"/>
                <a:chExt cx="2043113" cy="3368437"/>
              </a:xfrm>
            </p:grpSpPr>
            <p:grpSp>
              <p:nvGrpSpPr>
                <p:cNvPr id="90" name="Group 70">
                  <a:extLst>
                    <a:ext uri="{FF2B5EF4-FFF2-40B4-BE49-F238E27FC236}">
                      <a16:creationId xmlns:a16="http://schemas.microsoft.com/office/drawing/2014/main" xmlns="" id="{4D15A21B-1D9F-6F4A-B630-AFC80BD6A7F5}"/>
                    </a:ext>
                  </a:extLst>
                </p:cNvPr>
                <p:cNvGrpSpPr/>
                <p:nvPr/>
              </p:nvGrpSpPr>
              <p:grpSpPr>
                <a:xfrm>
                  <a:off x="8843962" y="2613025"/>
                  <a:ext cx="2043113" cy="3368437"/>
                  <a:chOff x="8843962" y="2613025"/>
                  <a:chExt cx="2043113" cy="3368437"/>
                </a:xfrm>
              </p:grpSpPr>
              <p:sp>
                <p:nvSpPr>
                  <p:cNvPr id="95" name="Freeform 27">
                    <a:extLst>
                      <a:ext uri="{FF2B5EF4-FFF2-40B4-BE49-F238E27FC236}">
                        <a16:creationId xmlns:a16="http://schemas.microsoft.com/office/drawing/2014/main" xmlns="" id="{2E984973-2CB5-C34F-9270-38A99E68B01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843962" y="2613025"/>
                    <a:ext cx="2043113" cy="2081213"/>
                  </a:xfrm>
                  <a:custGeom>
                    <a:avLst/>
                    <a:gdLst/>
                    <a:ahLst/>
                    <a:cxnLst>
                      <a:cxn ang="0">
                        <a:pos x="0" y="22"/>
                      </a:cxn>
                      <a:cxn ang="0">
                        <a:pos x="12" y="12"/>
                      </a:cxn>
                      <a:cxn ang="0">
                        <a:pos x="40" y="3"/>
                      </a:cxn>
                      <a:cxn ang="0">
                        <a:pos x="95" y="0"/>
                      </a:cxn>
                      <a:cxn ang="0">
                        <a:pos x="183" y="8"/>
                      </a:cxn>
                      <a:cxn ang="0">
                        <a:pos x="248" y="18"/>
                      </a:cxn>
                      <a:cxn ang="0">
                        <a:pos x="443" y="70"/>
                      </a:cxn>
                      <a:cxn ang="0">
                        <a:pos x="925" y="214"/>
                      </a:cxn>
                      <a:cxn ang="0">
                        <a:pos x="1357" y="338"/>
                      </a:cxn>
                      <a:cxn ang="0">
                        <a:pos x="1722" y="428"/>
                      </a:cxn>
                      <a:cxn ang="0">
                        <a:pos x="1932" y="468"/>
                      </a:cxn>
                      <a:cxn ang="0">
                        <a:pos x="2123" y="494"/>
                      </a:cxn>
                      <a:cxn ang="0">
                        <a:pos x="2240" y="502"/>
                      </a:cxn>
                      <a:cxn ang="0">
                        <a:pos x="2409" y="503"/>
                      </a:cxn>
                      <a:cxn ang="0">
                        <a:pos x="2571" y="496"/>
                      </a:cxn>
                      <a:cxn ang="0">
                        <a:pos x="2823" y="468"/>
                      </a:cxn>
                      <a:cxn ang="0">
                        <a:pos x="3087" y="419"/>
                      </a:cxn>
                      <a:cxn ang="0">
                        <a:pos x="3292" y="367"/>
                      </a:cxn>
                      <a:cxn ang="0">
                        <a:pos x="3454" y="322"/>
                      </a:cxn>
                      <a:cxn ang="0">
                        <a:pos x="3624" y="285"/>
                      </a:cxn>
                      <a:cxn ang="0">
                        <a:pos x="3770" y="267"/>
                      </a:cxn>
                      <a:cxn ang="0">
                        <a:pos x="3836" y="272"/>
                      </a:cxn>
                      <a:cxn ang="0">
                        <a:pos x="3861" y="282"/>
                      </a:cxn>
                      <a:cxn ang="0">
                        <a:pos x="3841" y="325"/>
                      </a:cxn>
                      <a:cxn ang="0">
                        <a:pos x="3789" y="485"/>
                      </a:cxn>
                      <a:cxn ang="0">
                        <a:pos x="3729" y="764"/>
                      </a:cxn>
                      <a:cxn ang="0">
                        <a:pos x="3680" y="1087"/>
                      </a:cxn>
                      <a:cxn ang="0">
                        <a:pos x="3656" y="1320"/>
                      </a:cxn>
                      <a:cxn ang="0">
                        <a:pos x="3640" y="1584"/>
                      </a:cxn>
                      <a:cxn ang="0">
                        <a:pos x="3633" y="1877"/>
                      </a:cxn>
                      <a:cxn ang="0">
                        <a:pos x="3633" y="2089"/>
                      </a:cxn>
                      <a:cxn ang="0">
                        <a:pos x="3649" y="3807"/>
                      </a:cxn>
                      <a:cxn ang="0">
                        <a:pos x="2377" y="3931"/>
                      </a:cxn>
                      <a:cxn ang="0">
                        <a:pos x="2378" y="3763"/>
                      </a:cxn>
                      <a:cxn ang="0">
                        <a:pos x="2368" y="3502"/>
                      </a:cxn>
                      <a:cxn ang="0">
                        <a:pos x="2346" y="3251"/>
                      </a:cxn>
                      <a:cxn ang="0">
                        <a:pos x="2307" y="2968"/>
                      </a:cxn>
                      <a:cxn ang="0">
                        <a:pos x="2247" y="2670"/>
                      </a:cxn>
                      <a:cxn ang="0">
                        <a:pos x="2176" y="2418"/>
                      </a:cxn>
                      <a:cxn ang="0">
                        <a:pos x="2125" y="2269"/>
                      </a:cxn>
                      <a:cxn ang="0">
                        <a:pos x="2064" y="2126"/>
                      </a:cxn>
                      <a:cxn ang="0">
                        <a:pos x="1995" y="1988"/>
                      </a:cxn>
                      <a:cxn ang="0">
                        <a:pos x="1917" y="1857"/>
                      </a:cxn>
                      <a:cxn ang="0">
                        <a:pos x="1828" y="1736"/>
                      </a:cxn>
                      <a:cxn ang="0">
                        <a:pos x="1730" y="1627"/>
                      </a:cxn>
                      <a:cxn ang="0">
                        <a:pos x="1619" y="1529"/>
                      </a:cxn>
                      <a:cxn ang="0">
                        <a:pos x="1516" y="1454"/>
                      </a:cxn>
                      <a:cxn ang="0">
                        <a:pos x="1290" y="1308"/>
                      </a:cxn>
                      <a:cxn ang="0">
                        <a:pos x="931" y="1093"/>
                      </a:cxn>
                      <a:cxn ang="0">
                        <a:pos x="698" y="941"/>
                      </a:cxn>
                      <a:cxn ang="0">
                        <a:pos x="534" y="819"/>
                      </a:cxn>
                      <a:cxn ang="0">
                        <a:pos x="387" y="687"/>
                      </a:cxn>
                      <a:cxn ang="0">
                        <a:pos x="263" y="541"/>
                      </a:cxn>
                      <a:cxn ang="0">
                        <a:pos x="210" y="462"/>
                      </a:cxn>
                      <a:cxn ang="0">
                        <a:pos x="165" y="379"/>
                      </a:cxn>
                      <a:cxn ang="0">
                        <a:pos x="129" y="291"/>
                      </a:cxn>
                      <a:cxn ang="0">
                        <a:pos x="102" y="199"/>
                      </a:cxn>
                      <a:cxn ang="0">
                        <a:pos x="89" y="134"/>
                      </a:cxn>
                      <a:cxn ang="0">
                        <a:pos x="28" y="64"/>
                      </a:cxn>
                      <a:cxn ang="0">
                        <a:pos x="0" y="25"/>
                      </a:cxn>
                    </a:cxnLst>
                    <a:rect l="0" t="0" r="r" b="b"/>
                    <a:pathLst>
                      <a:path w="3861" h="3931">
                        <a:moveTo>
                          <a:pt x="0" y="25"/>
                        </a:moveTo>
                        <a:lnTo>
                          <a:pt x="0" y="25"/>
                        </a:lnTo>
                        <a:lnTo>
                          <a:pt x="0" y="22"/>
                        </a:lnTo>
                        <a:lnTo>
                          <a:pt x="5" y="18"/>
                        </a:lnTo>
                        <a:lnTo>
                          <a:pt x="8" y="15"/>
                        </a:lnTo>
                        <a:lnTo>
                          <a:pt x="12" y="12"/>
                        </a:lnTo>
                        <a:lnTo>
                          <a:pt x="20" y="9"/>
                        </a:lnTo>
                        <a:lnTo>
                          <a:pt x="28" y="6"/>
                        </a:lnTo>
                        <a:lnTo>
                          <a:pt x="40" y="3"/>
                        </a:lnTo>
                        <a:lnTo>
                          <a:pt x="55" y="2"/>
                        </a:lnTo>
                        <a:lnTo>
                          <a:pt x="74" y="0"/>
                        </a:lnTo>
                        <a:lnTo>
                          <a:pt x="95" y="0"/>
                        </a:lnTo>
                        <a:lnTo>
                          <a:pt x="120" y="2"/>
                        </a:lnTo>
                        <a:lnTo>
                          <a:pt x="149" y="3"/>
                        </a:lnTo>
                        <a:lnTo>
                          <a:pt x="183" y="8"/>
                        </a:lnTo>
                        <a:lnTo>
                          <a:pt x="221" y="14"/>
                        </a:lnTo>
                        <a:lnTo>
                          <a:pt x="221" y="14"/>
                        </a:lnTo>
                        <a:lnTo>
                          <a:pt x="248" y="18"/>
                        </a:lnTo>
                        <a:lnTo>
                          <a:pt x="277" y="25"/>
                        </a:lnTo>
                        <a:lnTo>
                          <a:pt x="353" y="43"/>
                        </a:lnTo>
                        <a:lnTo>
                          <a:pt x="443" y="70"/>
                        </a:lnTo>
                        <a:lnTo>
                          <a:pt x="547" y="101"/>
                        </a:lnTo>
                        <a:lnTo>
                          <a:pt x="791" y="174"/>
                        </a:lnTo>
                        <a:lnTo>
                          <a:pt x="925" y="214"/>
                        </a:lnTo>
                        <a:lnTo>
                          <a:pt x="1065" y="255"/>
                        </a:lnTo>
                        <a:lnTo>
                          <a:pt x="1209" y="298"/>
                        </a:lnTo>
                        <a:lnTo>
                          <a:pt x="1357" y="338"/>
                        </a:lnTo>
                        <a:lnTo>
                          <a:pt x="1506" y="376"/>
                        </a:lnTo>
                        <a:lnTo>
                          <a:pt x="1651" y="412"/>
                        </a:lnTo>
                        <a:lnTo>
                          <a:pt x="1722" y="428"/>
                        </a:lnTo>
                        <a:lnTo>
                          <a:pt x="1793" y="443"/>
                        </a:lnTo>
                        <a:lnTo>
                          <a:pt x="1864" y="456"/>
                        </a:lnTo>
                        <a:lnTo>
                          <a:pt x="1932" y="468"/>
                        </a:lnTo>
                        <a:lnTo>
                          <a:pt x="1996" y="478"/>
                        </a:lnTo>
                        <a:lnTo>
                          <a:pt x="2061" y="487"/>
                        </a:lnTo>
                        <a:lnTo>
                          <a:pt x="2123" y="494"/>
                        </a:lnTo>
                        <a:lnTo>
                          <a:pt x="2182" y="499"/>
                        </a:lnTo>
                        <a:lnTo>
                          <a:pt x="2182" y="499"/>
                        </a:lnTo>
                        <a:lnTo>
                          <a:pt x="2240" y="502"/>
                        </a:lnTo>
                        <a:lnTo>
                          <a:pt x="2296" y="503"/>
                        </a:lnTo>
                        <a:lnTo>
                          <a:pt x="2353" y="504"/>
                        </a:lnTo>
                        <a:lnTo>
                          <a:pt x="2409" y="503"/>
                        </a:lnTo>
                        <a:lnTo>
                          <a:pt x="2464" y="502"/>
                        </a:lnTo>
                        <a:lnTo>
                          <a:pt x="2518" y="500"/>
                        </a:lnTo>
                        <a:lnTo>
                          <a:pt x="2571" y="496"/>
                        </a:lnTo>
                        <a:lnTo>
                          <a:pt x="2624" y="493"/>
                        </a:lnTo>
                        <a:lnTo>
                          <a:pt x="2726" y="481"/>
                        </a:lnTo>
                        <a:lnTo>
                          <a:pt x="2823" y="468"/>
                        </a:lnTo>
                        <a:lnTo>
                          <a:pt x="2918" y="453"/>
                        </a:lnTo>
                        <a:lnTo>
                          <a:pt x="3005" y="437"/>
                        </a:lnTo>
                        <a:lnTo>
                          <a:pt x="3087" y="419"/>
                        </a:lnTo>
                        <a:lnTo>
                          <a:pt x="3163" y="401"/>
                        </a:lnTo>
                        <a:lnTo>
                          <a:pt x="3232" y="384"/>
                        </a:lnTo>
                        <a:lnTo>
                          <a:pt x="3292" y="367"/>
                        </a:lnTo>
                        <a:lnTo>
                          <a:pt x="3391" y="339"/>
                        </a:lnTo>
                        <a:lnTo>
                          <a:pt x="3454" y="322"/>
                        </a:lnTo>
                        <a:lnTo>
                          <a:pt x="3454" y="322"/>
                        </a:lnTo>
                        <a:lnTo>
                          <a:pt x="3505" y="308"/>
                        </a:lnTo>
                        <a:lnTo>
                          <a:pt x="3562" y="297"/>
                        </a:lnTo>
                        <a:lnTo>
                          <a:pt x="3624" y="285"/>
                        </a:lnTo>
                        <a:lnTo>
                          <a:pt x="3686" y="274"/>
                        </a:lnTo>
                        <a:lnTo>
                          <a:pt x="3743" y="269"/>
                        </a:lnTo>
                        <a:lnTo>
                          <a:pt x="3770" y="267"/>
                        </a:lnTo>
                        <a:lnTo>
                          <a:pt x="3795" y="267"/>
                        </a:lnTo>
                        <a:lnTo>
                          <a:pt x="3817" y="269"/>
                        </a:lnTo>
                        <a:lnTo>
                          <a:pt x="3836" y="272"/>
                        </a:lnTo>
                        <a:lnTo>
                          <a:pt x="3851" y="276"/>
                        </a:lnTo>
                        <a:lnTo>
                          <a:pt x="3857" y="279"/>
                        </a:lnTo>
                        <a:lnTo>
                          <a:pt x="3861" y="282"/>
                        </a:lnTo>
                        <a:lnTo>
                          <a:pt x="3861" y="282"/>
                        </a:lnTo>
                        <a:lnTo>
                          <a:pt x="3854" y="297"/>
                        </a:lnTo>
                        <a:lnTo>
                          <a:pt x="3841" y="325"/>
                        </a:lnTo>
                        <a:lnTo>
                          <a:pt x="3826" y="364"/>
                        </a:lnTo>
                        <a:lnTo>
                          <a:pt x="3808" y="418"/>
                        </a:lnTo>
                        <a:lnTo>
                          <a:pt x="3789" y="485"/>
                        </a:lnTo>
                        <a:lnTo>
                          <a:pt x="3770" y="565"/>
                        </a:lnTo>
                        <a:lnTo>
                          <a:pt x="3749" y="658"/>
                        </a:lnTo>
                        <a:lnTo>
                          <a:pt x="3729" y="764"/>
                        </a:lnTo>
                        <a:lnTo>
                          <a:pt x="3708" y="882"/>
                        </a:lnTo>
                        <a:lnTo>
                          <a:pt x="3689" y="1015"/>
                        </a:lnTo>
                        <a:lnTo>
                          <a:pt x="3680" y="1087"/>
                        </a:lnTo>
                        <a:lnTo>
                          <a:pt x="3671" y="1161"/>
                        </a:lnTo>
                        <a:lnTo>
                          <a:pt x="3664" y="1239"/>
                        </a:lnTo>
                        <a:lnTo>
                          <a:pt x="3656" y="1320"/>
                        </a:lnTo>
                        <a:lnTo>
                          <a:pt x="3650" y="1404"/>
                        </a:lnTo>
                        <a:lnTo>
                          <a:pt x="3645" y="1492"/>
                        </a:lnTo>
                        <a:lnTo>
                          <a:pt x="3640" y="1584"/>
                        </a:lnTo>
                        <a:lnTo>
                          <a:pt x="3637" y="1678"/>
                        </a:lnTo>
                        <a:lnTo>
                          <a:pt x="3634" y="1777"/>
                        </a:lnTo>
                        <a:lnTo>
                          <a:pt x="3633" y="1877"/>
                        </a:lnTo>
                        <a:lnTo>
                          <a:pt x="3631" y="1982"/>
                        </a:lnTo>
                        <a:lnTo>
                          <a:pt x="3633" y="2089"/>
                        </a:lnTo>
                        <a:lnTo>
                          <a:pt x="3633" y="2089"/>
                        </a:lnTo>
                        <a:lnTo>
                          <a:pt x="3642" y="2869"/>
                        </a:lnTo>
                        <a:lnTo>
                          <a:pt x="3646" y="3447"/>
                        </a:lnTo>
                        <a:lnTo>
                          <a:pt x="3649" y="3807"/>
                        </a:lnTo>
                        <a:lnTo>
                          <a:pt x="3649" y="3931"/>
                        </a:lnTo>
                        <a:lnTo>
                          <a:pt x="2377" y="3931"/>
                        </a:lnTo>
                        <a:lnTo>
                          <a:pt x="2377" y="3931"/>
                        </a:lnTo>
                        <a:lnTo>
                          <a:pt x="2378" y="3910"/>
                        </a:lnTo>
                        <a:lnTo>
                          <a:pt x="2378" y="3853"/>
                        </a:lnTo>
                        <a:lnTo>
                          <a:pt x="2378" y="3763"/>
                        </a:lnTo>
                        <a:lnTo>
                          <a:pt x="2375" y="3645"/>
                        </a:lnTo>
                        <a:lnTo>
                          <a:pt x="2371" y="3576"/>
                        </a:lnTo>
                        <a:lnTo>
                          <a:pt x="2368" y="3502"/>
                        </a:lnTo>
                        <a:lnTo>
                          <a:pt x="2362" y="3422"/>
                        </a:lnTo>
                        <a:lnTo>
                          <a:pt x="2355" y="3338"/>
                        </a:lnTo>
                        <a:lnTo>
                          <a:pt x="2346" y="3251"/>
                        </a:lnTo>
                        <a:lnTo>
                          <a:pt x="2335" y="3160"/>
                        </a:lnTo>
                        <a:lnTo>
                          <a:pt x="2322" y="3066"/>
                        </a:lnTo>
                        <a:lnTo>
                          <a:pt x="2307" y="2968"/>
                        </a:lnTo>
                        <a:lnTo>
                          <a:pt x="2290" y="2869"/>
                        </a:lnTo>
                        <a:lnTo>
                          <a:pt x="2269" y="2771"/>
                        </a:lnTo>
                        <a:lnTo>
                          <a:pt x="2247" y="2670"/>
                        </a:lnTo>
                        <a:lnTo>
                          <a:pt x="2220" y="2569"/>
                        </a:lnTo>
                        <a:lnTo>
                          <a:pt x="2192" y="2468"/>
                        </a:lnTo>
                        <a:lnTo>
                          <a:pt x="2176" y="2418"/>
                        </a:lnTo>
                        <a:lnTo>
                          <a:pt x="2160" y="2368"/>
                        </a:lnTo>
                        <a:lnTo>
                          <a:pt x="2142" y="2319"/>
                        </a:lnTo>
                        <a:lnTo>
                          <a:pt x="2125" y="2269"/>
                        </a:lnTo>
                        <a:lnTo>
                          <a:pt x="2106" y="2221"/>
                        </a:lnTo>
                        <a:lnTo>
                          <a:pt x="2085" y="2174"/>
                        </a:lnTo>
                        <a:lnTo>
                          <a:pt x="2064" y="2126"/>
                        </a:lnTo>
                        <a:lnTo>
                          <a:pt x="2042" y="2079"/>
                        </a:lnTo>
                        <a:lnTo>
                          <a:pt x="2019" y="2033"/>
                        </a:lnTo>
                        <a:lnTo>
                          <a:pt x="1995" y="1988"/>
                        </a:lnTo>
                        <a:lnTo>
                          <a:pt x="1970" y="1944"/>
                        </a:lnTo>
                        <a:lnTo>
                          <a:pt x="1943" y="1899"/>
                        </a:lnTo>
                        <a:lnTo>
                          <a:pt x="1917" y="1857"/>
                        </a:lnTo>
                        <a:lnTo>
                          <a:pt x="1889" y="1815"/>
                        </a:lnTo>
                        <a:lnTo>
                          <a:pt x="1859" y="1775"/>
                        </a:lnTo>
                        <a:lnTo>
                          <a:pt x="1828" y="1736"/>
                        </a:lnTo>
                        <a:lnTo>
                          <a:pt x="1796" y="1697"/>
                        </a:lnTo>
                        <a:lnTo>
                          <a:pt x="1763" y="1662"/>
                        </a:lnTo>
                        <a:lnTo>
                          <a:pt x="1730" y="1627"/>
                        </a:lnTo>
                        <a:lnTo>
                          <a:pt x="1694" y="1593"/>
                        </a:lnTo>
                        <a:lnTo>
                          <a:pt x="1657" y="1560"/>
                        </a:lnTo>
                        <a:lnTo>
                          <a:pt x="1619" y="1529"/>
                        </a:lnTo>
                        <a:lnTo>
                          <a:pt x="1619" y="1529"/>
                        </a:lnTo>
                        <a:lnTo>
                          <a:pt x="1569" y="1491"/>
                        </a:lnTo>
                        <a:lnTo>
                          <a:pt x="1516" y="1454"/>
                        </a:lnTo>
                        <a:lnTo>
                          <a:pt x="1461" y="1417"/>
                        </a:lnTo>
                        <a:lnTo>
                          <a:pt x="1405" y="1380"/>
                        </a:lnTo>
                        <a:lnTo>
                          <a:pt x="1290" y="1308"/>
                        </a:lnTo>
                        <a:lnTo>
                          <a:pt x="1172" y="1237"/>
                        </a:lnTo>
                        <a:lnTo>
                          <a:pt x="1051" y="1165"/>
                        </a:lnTo>
                        <a:lnTo>
                          <a:pt x="931" y="1093"/>
                        </a:lnTo>
                        <a:lnTo>
                          <a:pt x="813" y="1019"/>
                        </a:lnTo>
                        <a:lnTo>
                          <a:pt x="754" y="981"/>
                        </a:lnTo>
                        <a:lnTo>
                          <a:pt x="698" y="941"/>
                        </a:lnTo>
                        <a:lnTo>
                          <a:pt x="642" y="901"/>
                        </a:lnTo>
                        <a:lnTo>
                          <a:pt x="587" y="861"/>
                        </a:lnTo>
                        <a:lnTo>
                          <a:pt x="534" y="819"/>
                        </a:lnTo>
                        <a:lnTo>
                          <a:pt x="482" y="776"/>
                        </a:lnTo>
                        <a:lnTo>
                          <a:pt x="434" y="732"/>
                        </a:lnTo>
                        <a:lnTo>
                          <a:pt x="387" y="687"/>
                        </a:lnTo>
                        <a:lnTo>
                          <a:pt x="342" y="640"/>
                        </a:lnTo>
                        <a:lnTo>
                          <a:pt x="301" y="591"/>
                        </a:lnTo>
                        <a:lnTo>
                          <a:pt x="263" y="541"/>
                        </a:lnTo>
                        <a:lnTo>
                          <a:pt x="244" y="515"/>
                        </a:lnTo>
                        <a:lnTo>
                          <a:pt x="226" y="488"/>
                        </a:lnTo>
                        <a:lnTo>
                          <a:pt x="210" y="462"/>
                        </a:lnTo>
                        <a:lnTo>
                          <a:pt x="195" y="435"/>
                        </a:lnTo>
                        <a:lnTo>
                          <a:pt x="179" y="407"/>
                        </a:lnTo>
                        <a:lnTo>
                          <a:pt x="165" y="379"/>
                        </a:lnTo>
                        <a:lnTo>
                          <a:pt x="152" y="350"/>
                        </a:lnTo>
                        <a:lnTo>
                          <a:pt x="140" y="322"/>
                        </a:lnTo>
                        <a:lnTo>
                          <a:pt x="129" y="291"/>
                        </a:lnTo>
                        <a:lnTo>
                          <a:pt x="118" y="261"/>
                        </a:lnTo>
                        <a:lnTo>
                          <a:pt x="109" y="230"/>
                        </a:lnTo>
                        <a:lnTo>
                          <a:pt x="102" y="199"/>
                        </a:lnTo>
                        <a:lnTo>
                          <a:pt x="95" y="167"/>
                        </a:lnTo>
                        <a:lnTo>
                          <a:pt x="89" y="134"/>
                        </a:lnTo>
                        <a:lnTo>
                          <a:pt x="89" y="134"/>
                        </a:lnTo>
                        <a:lnTo>
                          <a:pt x="73" y="117"/>
                        </a:lnTo>
                        <a:lnTo>
                          <a:pt x="56" y="99"/>
                        </a:lnTo>
                        <a:lnTo>
                          <a:pt x="28" y="64"/>
                        </a:lnTo>
                        <a:lnTo>
                          <a:pt x="8" y="36"/>
                        </a:lnTo>
                        <a:lnTo>
                          <a:pt x="0" y="25"/>
                        </a:lnTo>
                        <a:lnTo>
                          <a:pt x="0" y="25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100000">
                        <a:schemeClr val="accent6">
                          <a:lumMod val="75000"/>
                        </a:schemeClr>
                      </a:gs>
                      <a:gs pos="3000">
                        <a:schemeClr val="accent6">
                          <a:lumMod val="5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6" name="Rectangle 30">
                    <a:extLst>
                      <a:ext uri="{FF2B5EF4-FFF2-40B4-BE49-F238E27FC236}">
                        <a16:creationId xmlns:a16="http://schemas.microsoft.com/office/drawing/2014/main" xmlns="" id="{89DEAC19-732F-2240-8905-3B2CC4C3D7E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101265" y="4679950"/>
                    <a:ext cx="673101" cy="857548"/>
                  </a:xfrm>
                  <a:prstGeom prst="rect">
                    <a:avLst/>
                  </a:prstGeom>
                  <a:solidFill>
                    <a:schemeClr val="accent6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7" name="Freeform 31">
                    <a:extLst>
                      <a:ext uri="{FF2B5EF4-FFF2-40B4-BE49-F238E27FC236}">
                        <a16:creationId xmlns:a16="http://schemas.microsoft.com/office/drawing/2014/main" xmlns="" id="{54E4AEC1-1104-7348-80F3-EC2DF77FE8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101261" y="5530611"/>
                    <a:ext cx="673101" cy="450851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719"/>
                      </a:cxn>
                      <a:cxn ang="0">
                        <a:pos x="0" y="719"/>
                      </a:cxn>
                      <a:cxn ang="0">
                        <a:pos x="1" y="727"/>
                      </a:cxn>
                      <a:cxn ang="0">
                        <a:pos x="4" y="734"/>
                      </a:cxn>
                      <a:cxn ang="0">
                        <a:pos x="7" y="740"/>
                      </a:cxn>
                      <a:cxn ang="0">
                        <a:pos x="13" y="747"/>
                      </a:cxn>
                      <a:cxn ang="0">
                        <a:pos x="20" y="753"/>
                      </a:cxn>
                      <a:cxn ang="0">
                        <a:pos x="29" y="759"/>
                      </a:cxn>
                      <a:cxn ang="0">
                        <a:pos x="50" y="771"/>
                      </a:cxn>
                      <a:cxn ang="0">
                        <a:pos x="76" y="783"/>
                      </a:cxn>
                      <a:cxn ang="0">
                        <a:pos x="109" y="795"/>
                      </a:cxn>
                      <a:cxn ang="0">
                        <a:pos x="146" y="805"/>
                      </a:cxn>
                      <a:cxn ang="0">
                        <a:pos x="187" y="814"/>
                      </a:cxn>
                      <a:cxn ang="0">
                        <a:pos x="231" y="823"/>
                      </a:cxn>
                      <a:cxn ang="0">
                        <a:pos x="280" y="830"/>
                      </a:cxn>
                      <a:cxn ang="0">
                        <a:pos x="333" y="837"/>
                      </a:cxn>
                      <a:cxn ang="0">
                        <a:pos x="389" y="842"/>
                      </a:cxn>
                      <a:cxn ang="0">
                        <a:pos x="446" y="846"/>
                      </a:cxn>
                      <a:cxn ang="0">
                        <a:pos x="508" y="851"/>
                      </a:cxn>
                      <a:cxn ang="0">
                        <a:pos x="570" y="852"/>
                      </a:cxn>
                      <a:cxn ang="0">
                        <a:pos x="637" y="852"/>
                      </a:cxn>
                      <a:cxn ang="0">
                        <a:pos x="637" y="852"/>
                      </a:cxn>
                      <a:cxn ang="0">
                        <a:pos x="701" y="852"/>
                      </a:cxn>
                      <a:cxn ang="0">
                        <a:pos x="763" y="851"/>
                      </a:cxn>
                      <a:cxn ang="0">
                        <a:pos x="825" y="846"/>
                      </a:cxn>
                      <a:cxn ang="0">
                        <a:pos x="883" y="842"/>
                      </a:cxn>
                      <a:cxn ang="0">
                        <a:pos x="939" y="837"/>
                      </a:cxn>
                      <a:cxn ang="0">
                        <a:pos x="992" y="830"/>
                      </a:cxn>
                      <a:cxn ang="0">
                        <a:pos x="1041" y="823"/>
                      </a:cxn>
                      <a:cxn ang="0">
                        <a:pos x="1085" y="814"/>
                      </a:cxn>
                      <a:cxn ang="0">
                        <a:pos x="1126" y="805"/>
                      </a:cxn>
                      <a:cxn ang="0">
                        <a:pos x="1163" y="795"/>
                      </a:cxn>
                      <a:cxn ang="0">
                        <a:pos x="1195" y="783"/>
                      </a:cxn>
                      <a:cxn ang="0">
                        <a:pos x="1222" y="771"/>
                      </a:cxn>
                      <a:cxn ang="0">
                        <a:pos x="1243" y="759"/>
                      </a:cxn>
                      <a:cxn ang="0">
                        <a:pos x="1251" y="753"/>
                      </a:cxn>
                      <a:cxn ang="0">
                        <a:pos x="1259" y="747"/>
                      </a:cxn>
                      <a:cxn ang="0">
                        <a:pos x="1265" y="740"/>
                      </a:cxn>
                      <a:cxn ang="0">
                        <a:pos x="1268" y="734"/>
                      </a:cxn>
                      <a:cxn ang="0">
                        <a:pos x="1271" y="727"/>
                      </a:cxn>
                      <a:cxn ang="0">
                        <a:pos x="1272" y="719"/>
                      </a:cxn>
                      <a:cxn ang="0">
                        <a:pos x="1272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272" h="852">
                        <a:moveTo>
                          <a:pt x="0" y="0"/>
                        </a:moveTo>
                        <a:lnTo>
                          <a:pt x="0" y="719"/>
                        </a:lnTo>
                        <a:lnTo>
                          <a:pt x="0" y="719"/>
                        </a:lnTo>
                        <a:lnTo>
                          <a:pt x="1" y="727"/>
                        </a:lnTo>
                        <a:lnTo>
                          <a:pt x="4" y="734"/>
                        </a:lnTo>
                        <a:lnTo>
                          <a:pt x="7" y="740"/>
                        </a:lnTo>
                        <a:lnTo>
                          <a:pt x="13" y="747"/>
                        </a:lnTo>
                        <a:lnTo>
                          <a:pt x="20" y="753"/>
                        </a:lnTo>
                        <a:lnTo>
                          <a:pt x="29" y="759"/>
                        </a:lnTo>
                        <a:lnTo>
                          <a:pt x="50" y="771"/>
                        </a:lnTo>
                        <a:lnTo>
                          <a:pt x="76" y="783"/>
                        </a:lnTo>
                        <a:lnTo>
                          <a:pt x="109" y="795"/>
                        </a:lnTo>
                        <a:lnTo>
                          <a:pt x="146" y="805"/>
                        </a:lnTo>
                        <a:lnTo>
                          <a:pt x="187" y="814"/>
                        </a:lnTo>
                        <a:lnTo>
                          <a:pt x="231" y="823"/>
                        </a:lnTo>
                        <a:lnTo>
                          <a:pt x="280" y="830"/>
                        </a:lnTo>
                        <a:lnTo>
                          <a:pt x="333" y="837"/>
                        </a:lnTo>
                        <a:lnTo>
                          <a:pt x="389" y="842"/>
                        </a:lnTo>
                        <a:lnTo>
                          <a:pt x="446" y="846"/>
                        </a:lnTo>
                        <a:lnTo>
                          <a:pt x="508" y="851"/>
                        </a:lnTo>
                        <a:lnTo>
                          <a:pt x="570" y="852"/>
                        </a:lnTo>
                        <a:lnTo>
                          <a:pt x="637" y="852"/>
                        </a:lnTo>
                        <a:lnTo>
                          <a:pt x="637" y="852"/>
                        </a:lnTo>
                        <a:lnTo>
                          <a:pt x="701" y="852"/>
                        </a:lnTo>
                        <a:lnTo>
                          <a:pt x="763" y="851"/>
                        </a:lnTo>
                        <a:lnTo>
                          <a:pt x="825" y="846"/>
                        </a:lnTo>
                        <a:lnTo>
                          <a:pt x="883" y="842"/>
                        </a:lnTo>
                        <a:lnTo>
                          <a:pt x="939" y="837"/>
                        </a:lnTo>
                        <a:lnTo>
                          <a:pt x="992" y="830"/>
                        </a:lnTo>
                        <a:lnTo>
                          <a:pt x="1041" y="823"/>
                        </a:lnTo>
                        <a:lnTo>
                          <a:pt x="1085" y="814"/>
                        </a:lnTo>
                        <a:lnTo>
                          <a:pt x="1126" y="805"/>
                        </a:lnTo>
                        <a:lnTo>
                          <a:pt x="1163" y="795"/>
                        </a:lnTo>
                        <a:lnTo>
                          <a:pt x="1195" y="783"/>
                        </a:lnTo>
                        <a:lnTo>
                          <a:pt x="1222" y="771"/>
                        </a:lnTo>
                        <a:lnTo>
                          <a:pt x="1243" y="759"/>
                        </a:lnTo>
                        <a:lnTo>
                          <a:pt x="1251" y="753"/>
                        </a:lnTo>
                        <a:lnTo>
                          <a:pt x="1259" y="747"/>
                        </a:lnTo>
                        <a:lnTo>
                          <a:pt x="1265" y="740"/>
                        </a:lnTo>
                        <a:lnTo>
                          <a:pt x="1268" y="734"/>
                        </a:lnTo>
                        <a:lnTo>
                          <a:pt x="1271" y="727"/>
                        </a:lnTo>
                        <a:lnTo>
                          <a:pt x="1272" y="719"/>
                        </a:lnTo>
                        <a:lnTo>
                          <a:pt x="127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1" name="Group 83">
                  <a:extLst>
                    <a:ext uri="{FF2B5EF4-FFF2-40B4-BE49-F238E27FC236}">
                      <a16:creationId xmlns:a16="http://schemas.microsoft.com/office/drawing/2014/main" xmlns="" id="{1E1D8921-C19B-5047-8DE2-6D6BDB025093}"/>
                    </a:ext>
                  </a:extLst>
                </p:cNvPr>
                <p:cNvGrpSpPr/>
                <p:nvPr/>
              </p:nvGrpSpPr>
              <p:grpSpPr>
                <a:xfrm>
                  <a:off x="8913812" y="2667000"/>
                  <a:ext cx="1672695" cy="3201098"/>
                  <a:chOff x="8913812" y="2667000"/>
                  <a:chExt cx="1672695" cy="3201098"/>
                </a:xfrm>
              </p:grpSpPr>
              <p:sp>
                <p:nvSpPr>
                  <p:cNvPr id="92" name="Freeform 91">
                    <a:extLst>
                      <a:ext uri="{FF2B5EF4-FFF2-40B4-BE49-F238E27FC236}">
                        <a16:creationId xmlns:a16="http://schemas.microsoft.com/office/drawing/2014/main" xmlns="" id="{02959D3A-907A-0A40-BC7A-CA4087D45579}"/>
                      </a:ext>
                    </a:extLst>
                  </p:cNvPr>
                  <p:cNvSpPr/>
                  <p:nvPr/>
                </p:nvSpPr>
                <p:spPr>
                  <a:xfrm>
                    <a:off x="8913812" y="2667000"/>
                    <a:ext cx="1672695" cy="411700"/>
                  </a:xfrm>
                  <a:custGeom>
                    <a:avLst/>
                    <a:gdLst>
                      <a:gd name="connsiteX0" fmla="*/ 44450 w 1367367"/>
                      <a:gd name="connsiteY0" fmla="*/ 0 h 336550"/>
                      <a:gd name="connsiteX1" fmla="*/ 336550 w 1367367"/>
                      <a:gd name="connsiteY1" fmla="*/ 88900 h 336550"/>
                      <a:gd name="connsiteX2" fmla="*/ 734483 w 1367367"/>
                      <a:gd name="connsiteY2" fmla="*/ 186267 h 336550"/>
                      <a:gd name="connsiteX3" fmla="*/ 1123950 w 1367367"/>
                      <a:gd name="connsiteY3" fmla="*/ 232833 h 336550"/>
                      <a:gd name="connsiteX4" fmla="*/ 1339850 w 1367367"/>
                      <a:gd name="connsiteY4" fmla="*/ 198967 h 336550"/>
                      <a:gd name="connsiteX5" fmla="*/ 1289050 w 1367367"/>
                      <a:gd name="connsiteY5" fmla="*/ 266700 h 336550"/>
                      <a:gd name="connsiteX6" fmla="*/ 1077383 w 1367367"/>
                      <a:gd name="connsiteY6" fmla="*/ 313267 h 336550"/>
                      <a:gd name="connsiteX7" fmla="*/ 683683 w 1367367"/>
                      <a:gd name="connsiteY7" fmla="*/ 317500 h 336550"/>
                      <a:gd name="connsiteX8" fmla="*/ 209550 w 1367367"/>
                      <a:gd name="connsiteY8" fmla="*/ 198967 h 336550"/>
                      <a:gd name="connsiteX9" fmla="*/ 69850 w 1367367"/>
                      <a:gd name="connsiteY9" fmla="*/ 88900 h 336550"/>
                      <a:gd name="connsiteX10" fmla="*/ 44450 w 1367367"/>
                      <a:gd name="connsiteY10" fmla="*/ 0 h 336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367367" h="336550">
                        <a:moveTo>
                          <a:pt x="44450" y="0"/>
                        </a:moveTo>
                        <a:cubicBezTo>
                          <a:pt x="88900" y="0"/>
                          <a:pt x="221545" y="57856"/>
                          <a:pt x="336550" y="88900"/>
                        </a:cubicBezTo>
                        <a:cubicBezTo>
                          <a:pt x="451556" y="119945"/>
                          <a:pt x="603250" y="162278"/>
                          <a:pt x="734483" y="186267"/>
                        </a:cubicBezTo>
                        <a:cubicBezTo>
                          <a:pt x="865716" y="210256"/>
                          <a:pt x="1023056" y="230716"/>
                          <a:pt x="1123950" y="232833"/>
                        </a:cubicBezTo>
                        <a:cubicBezTo>
                          <a:pt x="1224844" y="234950"/>
                          <a:pt x="1312333" y="193323"/>
                          <a:pt x="1339850" y="198967"/>
                        </a:cubicBezTo>
                        <a:cubicBezTo>
                          <a:pt x="1367367" y="204611"/>
                          <a:pt x="1332794" y="247650"/>
                          <a:pt x="1289050" y="266700"/>
                        </a:cubicBezTo>
                        <a:cubicBezTo>
                          <a:pt x="1245306" y="285750"/>
                          <a:pt x="1178277" y="304800"/>
                          <a:pt x="1077383" y="313267"/>
                        </a:cubicBezTo>
                        <a:cubicBezTo>
                          <a:pt x="976489" y="321734"/>
                          <a:pt x="828322" y="336550"/>
                          <a:pt x="683683" y="317500"/>
                        </a:cubicBezTo>
                        <a:cubicBezTo>
                          <a:pt x="539044" y="298450"/>
                          <a:pt x="311855" y="237067"/>
                          <a:pt x="209550" y="198967"/>
                        </a:cubicBezTo>
                        <a:cubicBezTo>
                          <a:pt x="107245" y="160867"/>
                          <a:pt x="102305" y="122767"/>
                          <a:pt x="69850" y="88900"/>
                        </a:cubicBezTo>
                        <a:cubicBezTo>
                          <a:pt x="37395" y="55033"/>
                          <a:pt x="0" y="0"/>
                          <a:pt x="44450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11000">
                        <a:srgbClr val="FFFFFF"/>
                      </a:gs>
                      <a:gs pos="73000">
                        <a:srgbClr val="FFFFFF">
                          <a:alpha val="0"/>
                        </a:srgbClr>
                      </a:gs>
                    </a:gsLst>
                    <a:lin ang="564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3" name="Freeform 92">
                    <a:extLst>
                      <a:ext uri="{FF2B5EF4-FFF2-40B4-BE49-F238E27FC236}">
                        <a16:creationId xmlns:a16="http://schemas.microsoft.com/office/drawing/2014/main" xmlns="" id="{6E38CE48-DC1B-0F40-A6D1-55E6AC466313}"/>
                      </a:ext>
                    </a:extLst>
                  </p:cNvPr>
                  <p:cNvSpPr/>
                  <p:nvPr/>
                </p:nvSpPr>
                <p:spPr>
                  <a:xfrm>
                    <a:off x="9070622" y="2808111"/>
                    <a:ext cx="1235428" cy="1897944"/>
                  </a:xfrm>
                  <a:custGeom>
                    <a:avLst/>
                    <a:gdLst>
                      <a:gd name="connsiteX0" fmla="*/ 1411 w 1235428"/>
                      <a:gd name="connsiteY0" fmla="*/ 11289 h 1897944"/>
                      <a:gd name="connsiteX1" fmla="*/ 200378 w 1235428"/>
                      <a:gd name="connsiteY1" fmla="*/ 222956 h 1897944"/>
                      <a:gd name="connsiteX2" fmla="*/ 450145 w 1235428"/>
                      <a:gd name="connsiteY2" fmla="*/ 349956 h 1897944"/>
                      <a:gd name="connsiteX3" fmla="*/ 797278 w 1235428"/>
                      <a:gd name="connsiteY3" fmla="*/ 608189 h 1897944"/>
                      <a:gd name="connsiteX4" fmla="*/ 1025878 w 1235428"/>
                      <a:gd name="connsiteY4" fmla="*/ 1124656 h 1897944"/>
                      <a:gd name="connsiteX5" fmla="*/ 1165578 w 1235428"/>
                      <a:gd name="connsiteY5" fmla="*/ 1353256 h 1897944"/>
                      <a:gd name="connsiteX6" fmla="*/ 1195211 w 1235428"/>
                      <a:gd name="connsiteY6" fmla="*/ 1882422 h 1897944"/>
                      <a:gd name="connsiteX7" fmla="*/ 1207911 w 1235428"/>
                      <a:gd name="connsiteY7" fmla="*/ 1260122 h 1897944"/>
                      <a:gd name="connsiteX8" fmla="*/ 1030111 w 1235428"/>
                      <a:gd name="connsiteY8" fmla="*/ 862189 h 1897944"/>
                      <a:gd name="connsiteX9" fmla="*/ 1008945 w 1235428"/>
                      <a:gd name="connsiteY9" fmla="*/ 468489 h 1897944"/>
                      <a:gd name="connsiteX10" fmla="*/ 509411 w 1235428"/>
                      <a:gd name="connsiteY10" fmla="*/ 273756 h 1897944"/>
                      <a:gd name="connsiteX11" fmla="*/ 191911 w 1235428"/>
                      <a:gd name="connsiteY11" fmla="*/ 155222 h 1897944"/>
                      <a:gd name="connsiteX12" fmla="*/ 1411 w 1235428"/>
                      <a:gd name="connsiteY12" fmla="*/ 11289 h 18979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235428" h="1897944">
                        <a:moveTo>
                          <a:pt x="1411" y="11289"/>
                        </a:moveTo>
                        <a:cubicBezTo>
                          <a:pt x="2822" y="22578"/>
                          <a:pt x="125589" y="166512"/>
                          <a:pt x="200378" y="222956"/>
                        </a:cubicBezTo>
                        <a:cubicBezTo>
                          <a:pt x="275167" y="279401"/>
                          <a:pt x="350662" y="285751"/>
                          <a:pt x="450145" y="349956"/>
                        </a:cubicBezTo>
                        <a:cubicBezTo>
                          <a:pt x="549628" y="414161"/>
                          <a:pt x="701323" y="479072"/>
                          <a:pt x="797278" y="608189"/>
                        </a:cubicBezTo>
                        <a:cubicBezTo>
                          <a:pt x="893234" y="737306"/>
                          <a:pt x="964495" y="1000478"/>
                          <a:pt x="1025878" y="1124656"/>
                        </a:cubicBezTo>
                        <a:cubicBezTo>
                          <a:pt x="1087261" y="1248834"/>
                          <a:pt x="1137356" y="1226962"/>
                          <a:pt x="1165578" y="1353256"/>
                        </a:cubicBezTo>
                        <a:cubicBezTo>
                          <a:pt x="1193800" y="1479550"/>
                          <a:pt x="1188156" y="1897944"/>
                          <a:pt x="1195211" y="1882422"/>
                        </a:cubicBezTo>
                        <a:cubicBezTo>
                          <a:pt x="1202266" y="1866900"/>
                          <a:pt x="1235428" y="1430161"/>
                          <a:pt x="1207911" y="1260122"/>
                        </a:cubicBezTo>
                        <a:cubicBezTo>
                          <a:pt x="1180394" y="1090083"/>
                          <a:pt x="1063272" y="994128"/>
                          <a:pt x="1030111" y="862189"/>
                        </a:cubicBezTo>
                        <a:cubicBezTo>
                          <a:pt x="996950" y="730250"/>
                          <a:pt x="1095728" y="566561"/>
                          <a:pt x="1008945" y="468489"/>
                        </a:cubicBezTo>
                        <a:cubicBezTo>
                          <a:pt x="922162" y="370417"/>
                          <a:pt x="645583" y="325967"/>
                          <a:pt x="509411" y="273756"/>
                        </a:cubicBezTo>
                        <a:cubicBezTo>
                          <a:pt x="373239" y="221545"/>
                          <a:pt x="275872" y="202494"/>
                          <a:pt x="191911" y="155222"/>
                        </a:cubicBezTo>
                        <a:cubicBezTo>
                          <a:pt x="107950" y="107950"/>
                          <a:pt x="0" y="0"/>
                          <a:pt x="1411" y="11289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1878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4" name="Freeform 93">
                    <a:extLst>
                      <a:ext uri="{FF2B5EF4-FFF2-40B4-BE49-F238E27FC236}">
                        <a16:creationId xmlns:a16="http://schemas.microsoft.com/office/drawing/2014/main" xmlns="" id="{65D68051-EBA5-814A-8D2B-F43B5690FF4E}"/>
                      </a:ext>
                    </a:extLst>
                  </p:cNvPr>
                  <p:cNvSpPr/>
                  <p:nvPr/>
                </p:nvSpPr>
                <p:spPr>
                  <a:xfrm>
                    <a:off x="10215564" y="4343403"/>
                    <a:ext cx="211137" cy="1524695"/>
                  </a:xfrm>
                  <a:custGeom>
                    <a:avLst/>
                    <a:gdLst>
                      <a:gd name="connsiteX0" fmla="*/ 37042 w 153459"/>
                      <a:gd name="connsiteY0" fmla="*/ 95250 h 2247900"/>
                      <a:gd name="connsiteX1" fmla="*/ 5292 w 153459"/>
                      <a:gd name="connsiteY1" fmla="*/ 520700 h 2247900"/>
                      <a:gd name="connsiteX2" fmla="*/ 68792 w 153459"/>
                      <a:gd name="connsiteY2" fmla="*/ 857250 h 2247900"/>
                      <a:gd name="connsiteX3" fmla="*/ 17992 w 153459"/>
                      <a:gd name="connsiteY3" fmla="*/ 1397000 h 2247900"/>
                      <a:gd name="connsiteX4" fmla="*/ 30692 w 153459"/>
                      <a:gd name="connsiteY4" fmla="*/ 2006600 h 2247900"/>
                      <a:gd name="connsiteX5" fmla="*/ 43392 w 153459"/>
                      <a:gd name="connsiteY5" fmla="*/ 2190750 h 2247900"/>
                      <a:gd name="connsiteX6" fmla="*/ 56092 w 153459"/>
                      <a:gd name="connsiteY6" fmla="*/ 1663700 h 2247900"/>
                      <a:gd name="connsiteX7" fmla="*/ 68792 w 153459"/>
                      <a:gd name="connsiteY7" fmla="*/ 1231900 h 2247900"/>
                      <a:gd name="connsiteX8" fmla="*/ 144992 w 153459"/>
                      <a:gd name="connsiteY8" fmla="*/ 1009650 h 2247900"/>
                      <a:gd name="connsiteX9" fmla="*/ 119592 w 153459"/>
                      <a:gd name="connsiteY9" fmla="*/ 768350 h 2247900"/>
                      <a:gd name="connsiteX10" fmla="*/ 62442 w 153459"/>
                      <a:gd name="connsiteY10" fmla="*/ 615950 h 2247900"/>
                      <a:gd name="connsiteX11" fmla="*/ 43392 w 153459"/>
                      <a:gd name="connsiteY11" fmla="*/ 215900 h 2247900"/>
                      <a:gd name="connsiteX12" fmla="*/ 43392 w 153459"/>
                      <a:gd name="connsiteY12" fmla="*/ 31750 h 2247900"/>
                      <a:gd name="connsiteX13" fmla="*/ 30692 w 153459"/>
                      <a:gd name="connsiteY13" fmla="*/ 25400 h 2247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53459" h="2247900">
                        <a:moveTo>
                          <a:pt x="37042" y="95250"/>
                        </a:moveTo>
                        <a:cubicBezTo>
                          <a:pt x="18521" y="244475"/>
                          <a:pt x="0" y="393700"/>
                          <a:pt x="5292" y="520700"/>
                        </a:cubicBezTo>
                        <a:cubicBezTo>
                          <a:pt x="10584" y="647700"/>
                          <a:pt x="66675" y="711200"/>
                          <a:pt x="68792" y="857250"/>
                        </a:cubicBezTo>
                        <a:cubicBezTo>
                          <a:pt x="70909" y="1003300"/>
                          <a:pt x="24342" y="1205442"/>
                          <a:pt x="17992" y="1397000"/>
                        </a:cubicBezTo>
                        <a:cubicBezTo>
                          <a:pt x="11642" y="1588558"/>
                          <a:pt x="26459" y="1874308"/>
                          <a:pt x="30692" y="2006600"/>
                        </a:cubicBezTo>
                        <a:cubicBezTo>
                          <a:pt x="34925" y="2138892"/>
                          <a:pt x="39159" y="2247900"/>
                          <a:pt x="43392" y="2190750"/>
                        </a:cubicBezTo>
                        <a:cubicBezTo>
                          <a:pt x="47625" y="2133600"/>
                          <a:pt x="51859" y="1823508"/>
                          <a:pt x="56092" y="1663700"/>
                        </a:cubicBezTo>
                        <a:cubicBezTo>
                          <a:pt x="60325" y="1503892"/>
                          <a:pt x="53975" y="1340908"/>
                          <a:pt x="68792" y="1231900"/>
                        </a:cubicBezTo>
                        <a:cubicBezTo>
                          <a:pt x="83609" y="1122892"/>
                          <a:pt x="136525" y="1086908"/>
                          <a:pt x="144992" y="1009650"/>
                        </a:cubicBezTo>
                        <a:cubicBezTo>
                          <a:pt x="153459" y="932392"/>
                          <a:pt x="133350" y="833967"/>
                          <a:pt x="119592" y="768350"/>
                        </a:cubicBezTo>
                        <a:cubicBezTo>
                          <a:pt x="105834" y="702733"/>
                          <a:pt x="75142" y="708025"/>
                          <a:pt x="62442" y="615950"/>
                        </a:cubicBezTo>
                        <a:cubicBezTo>
                          <a:pt x="49742" y="523875"/>
                          <a:pt x="46567" y="313267"/>
                          <a:pt x="43392" y="215900"/>
                        </a:cubicBezTo>
                        <a:cubicBezTo>
                          <a:pt x="40217" y="118533"/>
                          <a:pt x="45509" y="63500"/>
                          <a:pt x="43392" y="31750"/>
                        </a:cubicBezTo>
                        <a:cubicBezTo>
                          <a:pt x="41275" y="0"/>
                          <a:pt x="35983" y="12700"/>
                          <a:pt x="30692" y="25400"/>
                        </a:cubicBezTo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213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111" name="Group 208">
              <a:extLst>
                <a:ext uri="{FF2B5EF4-FFF2-40B4-BE49-F238E27FC236}">
                  <a16:creationId xmlns:a16="http://schemas.microsoft.com/office/drawing/2014/main" xmlns="" id="{E23FE3A7-B348-8848-B560-37F156ADAF71}"/>
                </a:ext>
              </a:extLst>
            </p:cNvPr>
            <p:cNvGrpSpPr/>
            <p:nvPr/>
          </p:nvGrpSpPr>
          <p:grpSpPr>
            <a:xfrm>
              <a:off x="7292907" y="1346259"/>
              <a:ext cx="1056726" cy="1731876"/>
              <a:chOff x="6134100" y="304800"/>
              <a:chExt cx="1682438" cy="2757360"/>
            </a:xfrm>
          </p:grpSpPr>
          <p:grpSp>
            <p:nvGrpSpPr>
              <p:cNvPr id="112" name="Group 79">
                <a:extLst>
                  <a:ext uri="{FF2B5EF4-FFF2-40B4-BE49-F238E27FC236}">
                    <a16:creationId xmlns:a16="http://schemas.microsoft.com/office/drawing/2014/main" xmlns="" id="{0C12F28E-908F-F34A-86C8-B77E1AC9D33C}"/>
                  </a:ext>
                </a:extLst>
              </p:cNvPr>
              <p:cNvGrpSpPr/>
              <p:nvPr/>
            </p:nvGrpSpPr>
            <p:grpSpPr>
              <a:xfrm flipH="1">
                <a:off x="6134100" y="304800"/>
                <a:ext cx="1682438" cy="1989067"/>
                <a:chOff x="7723187" y="0"/>
                <a:chExt cx="3649663" cy="4314826"/>
              </a:xfrm>
            </p:grpSpPr>
            <p:sp>
              <p:nvSpPr>
                <p:cNvPr id="122" name="Freeform 5">
                  <a:extLst>
                    <a:ext uri="{FF2B5EF4-FFF2-40B4-BE49-F238E27FC236}">
                      <a16:creationId xmlns:a16="http://schemas.microsoft.com/office/drawing/2014/main" xmlns="" id="{DB59D96C-965C-D041-B247-12BCC42838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3187" y="1579563"/>
                  <a:ext cx="2713038" cy="2735263"/>
                </a:xfrm>
                <a:custGeom>
                  <a:avLst/>
                  <a:gdLst/>
                  <a:ahLst/>
                  <a:cxnLst>
                    <a:cxn ang="0">
                      <a:pos x="5124" y="2784"/>
                    </a:cxn>
                    <a:cxn ang="0">
                      <a:pos x="5093" y="3105"/>
                    </a:cxn>
                    <a:cxn ang="0">
                      <a:pos x="5024" y="3413"/>
                    </a:cxn>
                    <a:cxn ang="0">
                      <a:pos x="4918" y="3705"/>
                    </a:cxn>
                    <a:cxn ang="0">
                      <a:pos x="4779" y="3978"/>
                    </a:cxn>
                    <a:cxn ang="0">
                      <a:pos x="4608" y="4229"/>
                    </a:cxn>
                    <a:cxn ang="0">
                      <a:pos x="4408" y="4456"/>
                    </a:cxn>
                    <a:cxn ang="0">
                      <a:pos x="4182" y="4656"/>
                    </a:cxn>
                    <a:cxn ang="0">
                      <a:pos x="3932" y="4827"/>
                    </a:cxn>
                    <a:cxn ang="0">
                      <a:pos x="3660" y="4966"/>
                    </a:cxn>
                    <a:cxn ang="0">
                      <a:pos x="3369" y="5071"/>
                    </a:cxn>
                    <a:cxn ang="0">
                      <a:pos x="3060" y="5140"/>
                    </a:cxn>
                    <a:cxn ang="0">
                      <a:pos x="2738" y="5168"/>
                    </a:cxn>
                    <a:cxn ang="0">
                      <a:pos x="2475" y="5162"/>
                    </a:cxn>
                    <a:cxn ang="0">
                      <a:pos x="2154" y="5116"/>
                    </a:cxn>
                    <a:cxn ang="0">
                      <a:pos x="1846" y="5034"/>
                    </a:cxn>
                    <a:cxn ang="0">
                      <a:pos x="1551" y="4914"/>
                    </a:cxn>
                    <a:cxn ang="0">
                      <a:pos x="1275" y="4762"/>
                    </a:cxn>
                    <a:cxn ang="0">
                      <a:pos x="1019" y="4578"/>
                    </a:cxn>
                    <a:cxn ang="0">
                      <a:pos x="784" y="4367"/>
                    </a:cxn>
                    <a:cxn ang="0">
                      <a:pos x="576" y="4131"/>
                    </a:cxn>
                    <a:cxn ang="0">
                      <a:pos x="397" y="3870"/>
                    </a:cxn>
                    <a:cxn ang="0">
                      <a:pos x="246" y="3590"/>
                    </a:cxn>
                    <a:cxn ang="0">
                      <a:pos x="130" y="3292"/>
                    </a:cxn>
                    <a:cxn ang="0">
                      <a:pos x="49" y="2978"/>
                    </a:cxn>
                    <a:cxn ang="0">
                      <a:pos x="6" y="2651"/>
                    </a:cxn>
                    <a:cxn ang="0">
                      <a:pos x="1" y="2386"/>
                    </a:cxn>
                    <a:cxn ang="0">
                      <a:pos x="32" y="2064"/>
                    </a:cxn>
                    <a:cxn ang="0">
                      <a:pos x="102" y="1756"/>
                    </a:cxn>
                    <a:cxn ang="0">
                      <a:pos x="208" y="1464"/>
                    </a:cxn>
                    <a:cxn ang="0">
                      <a:pos x="348" y="1191"/>
                    </a:cxn>
                    <a:cxn ang="0">
                      <a:pos x="519" y="941"/>
                    </a:cxn>
                    <a:cxn ang="0">
                      <a:pos x="718" y="714"/>
                    </a:cxn>
                    <a:cxn ang="0">
                      <a:pos x="943" y="515"/>
                    </a:cxn>
                    <a:cxn ang="0">
                      <a:pos x="1194" y="344"/>
                    </a:cxn>
                    <a:cxn ang="0">
                      <a:pos x="1467" y="204"/>
                    </a:cxn>
                    <a:cxn ang="0">
                      <a:pos x="1757" y="99"/>
                    </a:cxn>
                    <a:cxn ang="0">
                      <a:pos x="2065" y="31"/>
                    </a:cxn>
                    <a:cxn ang="0">
                      <a:pos x="2388" y="2"/>
                    </a:cxn>
                    <a:cxn ang="0">
                      <a:pos x="2652" y="9"/>
                    </a:cxn>
                    <a:cxn ang="0">
                      <a:pos x="2972" y="53"/>
                    </a:cxn>
                    <a:cxn ang="0">
                      <a:pos x="3282" y="137"/>
                    </a:cxn>
                    <a:cxn ang="0">
                      <a:pos x="3575" y="255"/>
                    </a:cxn>
                    <a:cxn ang="0">
                      <a:pos x="3851" y="408"/>
                    </a:cxn>
                    <a:cxn ang="0">
                      <a:pos x="4107" y="591"/>
                    </a:cxn>
                    <a:cxn ang="0">
                      <a:pos x="4342" y="802"/>
                    </a:cxn>
                    <a:cxn ang="0">
                      <a:pos x="4549" y="1038"/>
                    </a:cxn>
                    <a:cxn ang="0">
                      <a:pos x="4729" y="1299"/>
                    </a:cxn>
                    <a:cxn ang="0">
                      <a:pos x="4880" y="1579"/>
                    </a:cxn>
                    <a:cxn ang="0">
                      <a:pos x="4996" y="1877"/>
                    </a:cxn>
                    <a:cxn ang="0">
                      <a:pos x="5077" y="2191"/>
                    </a:cxn>
                    <a:cxn ang="0">
                      <a:pos x="5120" y="2518"/>
                    </a:cxn>
                  </a:cxnLst>
                  <a:rect l="0" t="0" r="r" b="b"/>
                  <a:pathLst>
                    <a:path w="5126" h="5169">
                      <a:moveTo>
                        <a:pt x="5123" y="2585"/>
                      </a:moveTo>
                      <a:lnTo>
                        <a:pt x="5123" y="2585"/>
                      </a:lnTo>
                      <a:lnTo>
                        <a:pt x="5126" y="2651"/>
                      </a:lnTo>
                      <a:lnTo>
                        <a:pt x="5126" y="2717"/>
                      </a:lnTo>
                      <a:lnTo>
                        <a:pt x="5124" y="2784"/>
                      </a:lnTo>
                      <a:lnTo>
                        <a:pt x="5121" y="2849"/>
                      </a:lnTo>
                      <a:lnTo>
                        <a:pt x="5117" y="2914"/>
                      </a:lnTo>
                      <a:lnTo>
                        <a:pt x="5111" y="2978"/>
                      </a:lnTo>
                      <a:lnTo>
                        <a:pt x="5102" y="3042"/>
                      </a:lnTo>
                      <a:lnTo>
                        <a:pt x="5093" y="3105"/>
                      </a:lnTo>
                      <a:lnTo>
                        <a:pt x="5083" y="3169"/>
                      </a:lnTo>
                      <a:lnTo>
                        <a:pt x="5070" y="3231"/>
                      </a:lnTo>
                      <a:lnTo>
                        <a:pt x="5057" y="3292"/>
                      </a:lnTo>
                      <a:lnTo>
                        <a:pt x="5040" y="3353"/>
                      </a:lnTo>
                      <a:lnTo>
                        <a:pt x="5024" y="3413"/>
                      </a:lnTo>
                      <a:lnTo>
                        <a:pt x="5005" y="3474"/>
                      </a:lnTo>
                      <a:lnTo>
                        <a:pt x="4986" y="3533"/>
                      </a:lnTo>
                      <a:lnTo>
                        <a:pt x="4965" y="3590"/>
                      </a:lnTo>
                      <a:lnTo>
                        <a:pt x="4942" y="3648"/>
                      </a:lnTo>
                      <a:lnTo>
                        <a:pt x="4918" y="3705"/>
                      </a:lnTo>
                      <a:lnTo>
                        <a:pt x="4893" y="3761"/>
                      </a:lnTo>
                      <a:lnTo>
                        <a:pt x="4866" y="3816"/>
                      </a:lnTo>
                      <a:lnTo>
                        <a:pt x="4838" y="3870"/>
                      </a:lnTo>
                      <a:lnTo>
                        <a:pt x="4809" y="3925"/>
                      </a:lnTo>
                      <a:lnTo>
                        <a:pt x="4779" y="3978"/>
                      </a:lnTo>
                      <a:lnTo>
                        <a:pt x="4747" y="4030"/>
                      </a:lnTo>
                      <a:lnTo>
                        <a:pt x="4715" y="4081"/>
                      </a:lnTo>
                      <a:lnTo>
                        <a:pt x="4681" y="4131"/>
                      </a:lnTo>
                      <a:lnTo>
                        <a:pt x="4645" y="4180"/>
                      </a:lnTo>
                      <a:lnTo>
                        <a:pt x="4608" y="4229"/>
                      </a:lnTo>
                      <a:lnTo>
                        <a:pt x="4570" y="4276"/>
                      </a:lnTo>
                      <a:lnTo>
                        <a:pt x="4532" y="4323"/>
                      </a:lnTo>
                      <a:lnTo>
                        <a:pt x="4492" y="4367"/>
                      </a:lnTo>
                      <a:lnTo>
                        <a:pt x="4451" y="4412"/>
                      </a:lnTo>
                      <a:lnTo>
                        <a:pt x="4408" y="4456"/>
                      </a:lnTo>
                      <a:lnTo>
                        <a:pt x="4365" y="4497"/>
                      </a:lnTo>
                      <a:lnTo>
                        <a:pt x="4321" y="4538"/>
                      </a:lnTo>
                      <a:lnTo>
                        <a:pt x="4275" y="4578"/>
                      </a:lnTo>
                      <a:lnTo>
                        <a:pt x="4230" y="4618"/>
                      </a:lnTo>
                      <a:lnTo>
                        <a:pt x="4182" y="4656"/>
                      </a:lnTo>
                      <a:lnTo>
                        <a:pt x="4134" y="4692"/>
                      </a:lnTo>
                      <a:lnTo>
                        <a:pt x="4085" y="4727"/>
                      </a:lnTo>
                      <a:lnTo>
                        <a:pt x="4035" y="4762"/>
                      </a:lnTo>
                      <a:lnTo>
                        <a:pt x="3983" y="4795"/>
                      </a:lnTo>
                      <a:lnTo>
                        <a:pt x="3932" y="4827"/>
                      </a:lnTo>
                      <a:lnTo>
                        <a:pt x="3879" y="4857"/>
                      </a:lnTo>
                      <a:lnTo>
                        <a:pt x="3826" y="4886"/>
                      </a:lnTo>
                      <a:lnTo>
                        <a:pt x="3771" y="4914"/>
                      </a:lnTo>
                      <a:lnTo>
                        <a:pt x="3716" y="4941"/>
                      </a:lnTo>
                      <a:lnTo>
                        <a:pt x="3660" y="4966"/>
                      </a:lnTo>
                      <a:lnTo>
                        <a:pt x="3603" y="4989"/>
                      </a:lnTo>
                      <a:lnTo>
                        <a:pt x="3545" y="5012"/>
                      </a:lnTo>
                      <a:lnTo>
                        <a:pt x="3488" y="5034"/>
                      </a:lnTo>
                      <a:lnTo>
                        <a:pt x="3429" y="5053"/>
                      </a:lnTo>
                      <a:lnTo>
                        <a:pt x="3369" y="5071"/>
                      </a:lnTo>
                      <a:lnTo>
                        <a:pt x="3308" y="5088"/>
                      </a:lnTo>
                      <a:lnTo>
                        <a:pt x="3248" y="5103"/>
                      </a:lnTo>
                      <a:lnTo>
                        <a:pt x="3186" y="5116"/>
                      </a:lnTo>
                      <a:lnTo>
                        <a:pt x="3124" y="5128"/>
                      </a:lnTo>
                      <a:lnTo>
                        <a:pt x="3060" y="5140"/>
                      </a:lnTo>
                      <a:lnTo>
                        <a:pt x="2997" y="5149"/>
                      </a:lnTo>
                      <a:lnTo>
                        <a:pt x="2934" y="5156"/>
                      </a:lnTo>
                      <a:lnTo>
                        <a:pt x="2869" y="5162"/>
                      </a:lnTo>
                      <a:lnTo>
                        <a:pt x="2804" y="5165"/>
                      </a:lnTo>
                      <a:lnTo>
                        <a:pt x="2738" y="5168"/>
                      </a:lnTo>
                      <a:lnTo>
                        <a:pt x="2673" y="5169"/>
                      </a:lnTo>
                      <a:lnTo>
                        <a:pt x="2673" y="5169"/>
                      </a:lnTo>
                      <a:lnTo>
                        <a:pt x="2606" y="5168"/>
                      </a:lnTo>
                      <a:lnTo>
                        <a:pt x="2540" y="5165"/>
                      </a:lnTo>
                      <a:lnTo>
                        <a:pt x="2475" y="5162"/>
                      </a:lnTo>
                      <a:lnTo>
                        <a:pt x="2410" y="5156"/>
                      </a:lnTo>
                      <a:lnTo>
                        <a:pt x="2345" y="5149"/>
                      </a:lnTo>
                      <a:lnTo>
                        <a:pt x="2281" y="5140"/>
                      </a:lnTo>
                      <a:lnTo>
                        <a:pt x="2217" y="5128"/>
                      </a:lnTo>
                      <a:lnTo>
                        <a:pt x="2154" y="5116"/>
                      </a:lnTo>
                      <a:lnTo>
                        <a:pt x="2090" y="5103"/>
                      </a:lnTo>
                      <a:lnTo>
                        <a:pt x="2029" y="5088"/>
                      </a:lnTo>
                      <a:lnTo>
                        <a:pt x="1967" y="5071"/>
                      </a:lnTo>
                      <a:lnTo>
                        <a:pt x="1906" y="5053"/>
                      </a:lnTo>
                      <a:lnTo>
                        <a:pt x="1846" y="5034"/>
                      </a:lnTo>
                      <a:lnTo>
                        <a:pt x="1785" y="5012"/>
                      </a:lnTo>
                      <a:lnTo>
                        <a:pt x="1726" y="4989"/>
                      </a:lnTo>
                      <a:lnTo>
                        <a:pt x="1667" y="4966"/>
                      </a:lnTo>
                      <a:lnTo>
                        <a:pt x="1608" y="4941"/>
                      </a:lnTo>
                      <a:lnTo>
                        <a:pt x="1551" y="4914"/>
                      </a:lnTo>
                      <a:lnTo>
                        <a:pt x="1495" y="4886"/>
                      </a:lnTo>
                      <a:lnTo>
                        <a:pt x="1439" y="4857"/>
                      </a:lnTo>
                      <a:lnTo>
                        <a:pt x="1383" y="4827"/>
                      </a:lnTo>
                      <a:lnTo>
                        <a:pt x="1328" y="4795"/>
                      </a:lnTo>
                      <a:lnTo>
                        <a:pt x="1275" y="4762"/>
                      </a:lnTo>
                      <a:lnTo>
                        <a:pt x="1222" y="4727"/>
                      </a:lnTo>
                      <a:lnTo>
                        <a:pt x="1171" y="4692"/>
                      </a:lnTo>
                      <a:lnTo>
                        <a:pt x="1119" y="4656"/>
                      </a:lnTo>
                      <a:lnTo>
                        <a:pt x="1069" y="4618"/>
                      </a:lnTo>
                      <a:lnTo>
                        <a:pt x="1019" y="4578"/>
                      </a:lnTo>
                      <a:lnTo>
                        <a:pt x="970" y="4538"/>
                      </a:lnTo>
                      <a:lnTo>
                        <a:pt x="923" y="4497"/>
                      </a:lnTo>
                      <a:lnTo>
                        <a:pt x="876" y="4456"/>
                      </a:lnTo>
                      <a:lnTo>
                        <a:pt x="830" y="4412"/>
                      </a:lnTo>
                      <a:lnTo>
                        <a:pt x="784" y="4367"/>
                      </a:lnTo>
                      <a:lnTo>
                        <a:pt x="742" y="4323"/>
                      </a:lnTo>
                      <a:lnTo>
                        <a:pt x="699" y="4276"/>
                      </a:lnTo>
                      <a:lnTo>
                        <a:pt x="657" y="4229"/>
                      </a:lnTo>
                      <a:lnTo>
                        <a:pt x="616" y="4180"/>
                      </a:lnTo>
                      <a:lnTo>
                        <a:pt x="576" y="4131"/>
                      </a:lnTo>
                      <a:lnTo>
                        <a:pt x="538" y="4081"/>
                      </a:lnTo>
                      <a:lnTo>
                        <a:pt x="501" y="4030"/>
                      </a:lnTo>
                      <a:lnTo>
                        <a:pt x="464" y="3978"/>
                      </a:lnTo>
                      <a:lnTo>
                        <a:pt x="430" y="3925"/>
                      </a:lnTo>
                      <a:lnTo>
                        <a:pt x="397" y="3870"/>
                      </a:lnTo>
                      <a:lnTo>
                        <a:pt x="364" y="3816"/>
                      </a:lnTo>
                      <a:lnTo>
                        <a:pt x="333" y="3761"/>
                      </a:lnTo>
                      <a:lnTo>
                        <a:pt x="302" y="3705"/>
                      </a:lnTo>
                      <a:lnTo>
                        <a:pt x="274" y="3648"/>
                      </a:lnTo>
                      <a:lnTo>
                        <a:pt x="246" y="3590"/>
                      </a:lnTo>
                      <a:lnTo>
                        <a:pt x="221" y="3533"/>
                      </a:lnTo>
                      <a:lnTo>
                        <a:pt x="196" y="3474"/>
                      </a:lnTo>
                      <a:lnTo>
                        <a:pt x="172" y="3413"/>
                      </a:lnTo>
                      <a:lnTo>
                        <a:pt x="150" y="3353"/>
                      </a:lnTo>
                      <a:lnTo>
                        <a:pt x="130" y="3292"/>
                      </a:lnTo>
                      <a:lnTo>
                        <a:pt x="111" y="3231"/>
                      </a:lnTo>
                      <a:lnTo>
                        <a:pt x="93" y="3169"/>
                      </a:lnTo>
                      <a:lnTo>
                        <a:pt x="77" y="3105"/>
                      </a:lnTo>
                      <a:lnTo>
                        <a:pt x="62" y="3042"/>
                      </a:lnTo>
                      <a:lnTo>
                        <a:pt x="49" y="2978"/>
                      </a:lnTo>
                      <a:lnTo>
                        <a:pt x="37" y="2914"/>
                      </a:lnTo>
                      <a:lnTo>
                        <a:pt x="27" y="2849"/>
                      </a:lnTo>
                      <a:lnTo>
                        <a:pt x="19" y="2784"/>
                      </a:lnTo>
                      <a:lnTo>
                        <a:pt x="12" y="2717"/>
                      </a:lnTo>
                      <a:lnTo>
                        <a:pt x="6" y="2651"/>
                      </a:lnTo>
                      <a:lnTo>
                        <a:pt x="3" y="2585"/>
                      </a:lnTo>
                      <a:lnTo>
                        <a:pt x="3" y="2585"/>
                      </a:lnTo>
                      <a:lnTo>
                        <a:pt x="1" y="2518"/>
                      </a:lnTo>
                      <a:lnTo>
                        <a:pt x="0" y="2452"/>
                      </a:lnTo>
                      <a:lnTo>
                        <a:pt x="1" y="2386"/>
                      </a:lnTo>
                      <a:lnTo>
                        <a:pt x="4" y="2321"/>
                      </a:lnTo>
                      <a:lnTo>
                        <a:pt x="9" y="2256"/>
                      </a:lnTo>
                      <a:lnTo>
                        <a:pt x="16" y="2191"/>
                      </a:lnTo>
                      <a:lnTo>
                        <a:pt x="24" y="2128"/>
                      </a:lnTo>
                      <a:lnTo>
                        <a:pt x="32" y="2064"/>
                      </a:lnTo>
                      <a:lnTo>
                        <a:pt x="44" y="2001"/>
                      </a:lnTo>
                      <a:lnTo>
                        <a:pt x="56" y="1939"/>
                      </a:lnTo>
                      <a:lnTo>
                        <a:pt x="71" y="1877"/>
                      </a:lnTo>
                      <a:lnTo>
                        <a:pt x="86" y="1817"/>
                      </a:lnTo>
                      <a:lnTo>
                        <a:pt x="102" y="1756"/>
                      </a:lnTo>
                      <a:lnTo>
                        <a:pt x="121" y="1696"/>
                      </a:lnTo>
                      <a:lnTo>
                        <a:pt x="140" y="1637"/>
                      </a:lnTo>
                      <a:lnTo>
                        <a:pt x="162" y="1579"/>
                      </a:lnTo>
                      <a:lnTo>
                        <a:pt x="184" y="1522"/>
                      </a:lnTo>
                      <a:lnTo>
                        <a:pt x="208" y="1464"/>
                      </a:lnTo>
                      <a:lnTo>
                        <a:pt x="233" y="1408"/>
                      </a:lnTo>
                      <a:lnTo>
                        <a:pt x="259" y="1354"/>
                      </a:lnTo>
                      <a:lnTo>
                        <a:pt x="287" y="1299"/>
                      </a:lnTo>
                      <a:lnTo>
                        <a:pt x="317" y="1244"/>
                      </a:lnTo>
                      <a:lnTo>
                        <a:pt x="348" y="1191"/>
                      </a:lnTo>
                      <a:lnTo>
                        <a:pt x="379" y="1140"/>
                      </a:lnTo>
                      <a:lnTo>
                        <a:pt x="413" y="1090"/>
                      </a:lnTo>
                      <a:lnTo>
                        <a:pt x="447" y="1038"/>
                      </a:lnTo>
                      <a:lnTo>
                        <a:pt x="482" y="989"/>
                      </a:lnTo>
                      <a:lnTo>
                        <a:pt x="519" y="941"/>
                      </a:lnTo>
                      <a:lnTo>
                        <a:pt x="556" y="894"/>
                      </a:lnTo>
                      <a:lnTo>
                        <a:pt x="594" y="848"/>
                      </a:lnTo>
                      <a:lnTo>
                        <a:pt x="635" y="802"/>
                      </a:lnTo>
                      <a:lnTo>
                        <a:pt x="675" y="758"/>
                      </a:lnTo>
                      <a:lnTo>
                        <a:pt x="718" y="714"/>
                      </a:lnTo>
                      <a:lnTo>
                        <a:pt x="761" y="672"/>
                      </a:lnTo>
                      <a:lnTo>
                        <a:pt x="805" y="631"/>
                      </a:lnTo>
                      <a:lnTo>
                        <a:pt x="851" y="591"/>
                      </a:lnTo>
                      <a:lnTo>
                        <a:pt x="896" y="552"/>
                      </a:lnTo>
                      <a:lnTo>
                        <a:pt x="943" y="515"/>
                      </a:lnTo>
                      <a:lnTo>
                        <a:pt x="992" y="478"/>
                      </a:lnTo>
                      <a:lnTo>
                        <a:pt x="1041" y="442"/>
                      </a:lnTo>
                      <a:lnTo>
                        <a:pt x="1091" y="408"/>
                      </a:lnTo>
                      <a:lnTo>
                        <a:pt x="1143" y="375"/>
                      </a:lnTo>
                      <a:lnTo>
                        <a:pt x="1194" y="344"/>
                      </a:lnTo>
                      <a:lnTo>
                        <a:pt x="1247" y="313"/>
                      </a:lnTo>
                      <a:lnTo>
                        <a:pt x="1300" y="283"/>
                      </a:lnTo>
                      <a:lnTo>
                        <a:pt x="1355" y="255"/>
                      </a:lnTo>
                      <a:lnTo>
                        <a:pt x="1411" y="229"/>
                      </a:lnTo>
                      <a:lnTo>
                        <a:pt x="1467" y="204"/>
                      </a:lnTo>
                      <a:lnTo>
                        <a:pt x="1523" y="180"/>
                      </a:lnTo>
                      <a:lnTo>
                        <a:pt x="1580" y="158"/>
                      </a:lnTo>
                      <a:lnTo>
                        <a:pt x="1639" y="137"/>
                      </a:lnTo>
                      <a:lnTo>
                        <a:pt x="1698" y="117"/>
                      </a:lnTo>
                      <a:lnTo>
                        <a:pt x="1757" y="99"/>
                      </a:lnTo>
                      <a:lnTo>
                        <a:pt x="1818" y="83"/>
                      </a:lnTo>
                      <a:lnTo>
                        <a:pt x="1878" y="66"/>
                      </a:lnTo>
                      <a:lnTo>
                        <a:pt x="1940" y="53"/>
                      </a:lnTo>
                      <a:lnTo>
                        <a:pt x="2002" y="41"/>
                      </a:lnTo>
                      <a:lnTo>
                        <a:pt x="2065" y="31"/>
                      </a:lnTo>
                      <a:lnTo>
                        <a:pt x="2129" y="22"/>
                      </a:lnTo>
                      <a:lnTo>
                        <a:pt x="2194" y="15"/>
                      </a:lnTo>
                      <a:lnTo>
                        <a:pt x="2257" y="9"/>
                      </a:lnTo>
                      <a:lnTo>
                        <a:pt x="2322" y="5"/>
                      </a:lnTo>
                      <a:lnTo>
                        <a:pt x="2388" y="2"/>
                      </a:lnTo>
                      <a:lnTo>
                        <a:pt x="2455" y="0"/>
                      </a:lnTo>
                      <a:lnTo>
                        <a:pt x="2455" y="0"/>
                      </a:lnTo>
                      <a:lnTo>
                        <a:pt x="2521" y="2"/>
                      </a:lnTo>
                      <a:lnTo>
                        <a:pt x="2586" y="5"/>
                      </a:lnTo>
                      <a:lnTo>
                        <a:pt x="2652" y="9"/>
                      </a:lnTo>
                      <a:lnTo>
                        <a:pt x="2717" y="15"/>
                      </a:lnTo>
                      <a:lnTo>
                        <a:pt x="2782" y="22"/>
                      </a:lnTo>
                      <a:lnTo>
                        <a:pt x="2845" y="31"/>
                      </a:lnTo>
                      <a:lnTo>
                        <a:pt x="2909" y="41"/>
                      </a:lnTo>
                      <a:lnTo>
                        <a:pt x="2972" y="53"/>
                      </a:lnTo>
                      <a:lnTo>
                        <a:pt x="3035" y="66"/>
                      </a:lnTo>
                      <a:lnTo>
                        <a:pt x="3097" y="83"/>
                      </a:lnTo>
                      <a:lnTo>
                        <a:pt x="3159" y="99"/>
                      </a:lnTo>
                      <a:lnTo>
                        <a:pt x="3221" y="117"/>
                      </a:lnTo>
                      <a:lnTo>
                        <a:pt x="3282" y="137"/>
                      </a:lnTo>
                      <a:lnTo>
                        <a:pt x="3341" y="158"/>
                      </a:lnTo>
                      <a:lnTo>
                        <a:pt x="3401" y="180"/>
                      </a:lnTo>
                      <a:lnTo>
                        <a:pt x="3460" y="204"/>
                      </a:lnTo>
                      <a:lnTo>
                        <a:pt x="3517" y="229"/>
                      </a:lnTo>
                      <a:lnTo>
                        <a:pt x="3575" y="255"/>
                      </a:lnTo>
                      <a:lnTo>
                        <a:pt x="3631" y="283"/>
                      </a:lnTo>
                      <a:lnTo>
                        <a:pt x="3687" y="313"/>
                      </a:lnTo>
                      <a:lnTo>
                        <a:pt x="3743" y="344"/>
                      </a:lnTo>
                      <a:lnTo>
                        <a:pt x="3798" y="375"/>
                      </a:lnTo>
                      <a:lnTo>
                        <a:pt x="3851" y="408"/>
                      </a:lnTo>
                      <a:lnTo>
                        <a:pt x="3904" y="442"/>
                      </a:lnTo>
                      <a:lnTo>
                        <a:pt x="3957" y="478"/>
                      </a:lnTo>
                      <a:lnTo>
                        <a:pt x="4008" y="515"/>
                      </a:lnTo>
                      <a:lnTo>
                        <a:pt x="4059" y="552"/>
                      </a:lnTo>
                      <a:lnTo>
                        <a:pt x="4107" y="591"/>
                      </a:lnTo>
                      <a:lnTo>
                        <a:pt x="4156" y="631"/>
                      </a:lnTo>
                      <a:lnTo>
                        <a:pt x="4204" y="672"/>
                      </a:lnTo>
                      <a:lnTo>
                        <a:pt x="4250" y="714"/>
                      </a:lnTo>
                      <a:lnTo>
                        <a:pt x="4296" y="758"/>
                      </a:lnTo>
                      <a:lnTo>
                        <a:pt x="4342" y="802"/>
                      </a:lnTo>
                      <a:lnTo>
                        <a:pt x="4384" y="848"/>
                      </a:lnTo>
                      <a:lnTo>
                        <a:pt x="4427" y="894"/>
                      </a:lnTo>
                      <a:lnTo>
                        <a:pt x="4470" y="941"/>
                      </a:lnTo>
                      <a:lnTo>
                        <a:pt x="4510" y="989"/>
                      </a:lnTo>
                      <a:lnTo>
                        <a:pt x="4549" y="1038"/>
                      </a:lnTo>
                      <a:lnTo>
                        <a:pt x="4588" y="1090"/>
                      </a:lnTo>
                      <a:lnTo>
                        <a:pt x="4625" y="1140"/>
                      </a:lnTo>
                      <a:lnTo>
                        <a:pt x="4661" y="1191"/>
                      </a:lnTo>
                      <a:lnTo>
                        <a:pt x="4697" y="1244"/>
                      </a:lnTo>
                      <a:lnTo>
                        <a:pt x="4729" y="1299"/>
                      </a:lnTo>
                      <a:lnTo>
                        <a:pt x="4763" y="1354"/>
                      </a:lnTo>
                      <a:lnTo>
                        <a:pt x="4794" y="1408"/>
                      </a:lnTo>
                      <a:lnTo>
                        <a:pt x="4824" y="1464"/>
                      </a:lnTo>
                      <a:lnTo>
                        <a:pt x="4853" y="1522"/>
                      </a:lnTo>
                      <a:lnTo>
                        <a:pt x="4880" y="1579"/>
                      </a:lnTo>
                      <a:lnTo>
                        <a:pt x="4906" y="1637"/>
                      </a:lnTo>
                      <a:lnTo>
                        <a:pt x="4931" y="1696"/>
                      </a:lnTo>
                      <a:lnTo>
                        <a:pt x="4953" y="1756"/>
                      </a:lnTo>
                      <a:lnTo>
                        <a:pt x="4975" y="1817"/>
                      </a:lnTo>
                      <a:lnTo>
                        <a:pt x="4996" y="1877"/>
                      </a:lnTo>
                      <a:lnTo>
                        <a:pt x="5015" y="1939"/>
                      </a:lnTo>
                      <a:lnTo>
                        <a:pt x="5033" y="2001"/>
                      </a:lnTo>
                      <a:lnTo>
                        <a:pt x="5049" y="2064"/>
                      </a:lnTo>
                      <a:lnTo>
                        <a:pt x="5064" y="2128"/>
                      </a:lnTo>
                      <a:lnTo>
                        <a:pt x="5077" y="2191"/>
                      </a:lnTo>
                      <a:lnTo>
                        <a:pt x="5089" y="2256"/>
                      </a:lnTo>
                      <a:lnTo>
                        <a:pt x="5099" y="2321"/>
                      </a:lnTo>
                      <a:lnTo>
                        <a:pt x="5108" y="2386"/>
                      </a:lnTo>
                      <a:lnTo>
                        <a:pt x="5114" y="2452"/>
                      </a:lnTo>
                      <a:lnTo>
                        <a:pt x="5120" y="2518"/>
                      </a:lnTo>
                      <a:lnTo>
                        <a:pt x="5123" y="2585"/>
                      </a:lnTo>
                      <a:lnTo>
                        <a:pt x="5123" y="2585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23" name="Freeform 8">
                  <a:extLst>
                    <a:ext uri="{FF2B5EF4-FFF2-40B4-BE49-F238E27FC236}">
                      <a16:creationId xmlns:a16="http://schemas.microsoft.com/office/drawing/2014/main" xmlns="" id="{BB630342-B888-A34F-90F2-FDBD46F26D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93112" y="406400"/>
                  <a:ext cx="2947988" cy="2871788"/>
                </a:xfrm>
                <a:custGeom>
                  <a:avLst/>
                  <a:gdLst/>
                  <a:ahLst/>
                  <a:cxnLst>
                    <a:cxn ang="0">
                      <a:pos x="5553" y="2571"/>
                    </a:cxn>
                    <a:cxn ang="0">
                      <a:pos x="5490" y="2225"/>
                    </a:cxn>
                    <a:cxn ang="0">
                      <a:pos x="5385" y="1893"/>
                    </a:cxn>
                    <a:cxn ang="0">
                      <a:pos x="5244" y="1577"/>
                    </a:cxn>
                    <a:cxn ang="0">
                      <a:pos x="5067" y="1284"/>
                    </a:cxn>
                    <a:cxn ang="0">
                      <a:pos x="4859" y="1014"/>
                    </a:cxn>
                    <a:cxn ang="0">
                      <a:pos x="4620" y="769"/>
                    </a:cxn>
                    <a:cxn ang="0">
                      <a:pos x="4356" y="554"/>
                    </a:cxn>
                    <a:cxn ang="0">
                      <a:pos x="4069" y="370"/>
                    </a:cxn>
                    <a:cxn ang="0">
                      <a:pos x="3759" y="219"/>
                    </a:cxn>
                    <a:cxn ang="0">
                      <a:pos x="3433" y="106"/>
                    </a:cxn>
                    <a:cxn ang="0">
                      <a:pos x="3091" y="32"/>
                    </a:cxn>
                    <a:cxn ang="0">
                      <a:pos x="2737" y="1"/>
                    </a:cxn>
                    <a:cxn ang="0">
                      <a:pos x="2463" y="7"/>
                    </a:cxn>
                    <a:cxn ang="0">
                      <a:pos x="2137" y="51"/>
                    </a:cxn>
                    <a:cxn ang="0">
                      <a:pos x="1825" y="131"/>
                    </a:cxn>
                    <a:cxn ang="0">
                      <a:pos x="1530" y="246"/>
                    </a:cxn>
                    <a:cxn ang="0">
                      <a:pos x="1254" y="393"/>
                    </a:cxn>
                    <a:cxn ang="0">
                      <a:pos x="1001" y="572"/>
                    </a:cxn>
                    <a:cxn ang="0">
                      <a:pos x="769" y="778"/>
                    </a:cxn>
                    <a:cxn ang="0">
                      <a:pos x="564" y="1008"/>
                    </a:cxn>
                    <a:cxn ang="0">
                      <a:pos x="387" y="1263"/>
                    </a:cxn>
                    <a:cxn ang="0">
                      <a:pos x="240" y="1539"/>
                    </a:cxn>
                    <a:cxn ang="0">
                      <a:pos x="127" y="1832"/>
                    </a:cxn>
                    <a:cxn ang="0">
                      <a:pos x="47" y="2142"/>
                    </a:cxn>
                    <a:cxn ang="0">
                      <a:pos x="4" y="2466"/>
                    </a:cxn>
                    <a:cxn ang="0">
                      <a:pos x="199" y="2438"/>
                    </a:cxn>
                    <a:cxn ang="0">
                      <a:pos x="550" y="2322"/>
                    </a:cxn>
                    <a:cxn ang="0">
                      <a:pos x="926" y="2258"/>
                    </a:cxn>
                    <a:cxn ang="0">
                      <a:pos x="1226" y="2248"/>
                    </a:cxn>
                    <a:cxn ang="0">
                      <a:pos x="1551" y="2278"/>
                    </a:cxn>
                    <a:cxn ang="0">
                      <a:pos x="1865" y="2345"/>
                    </a:cxn>
                    <a:cxn ang="0">
                      <a:pos x="2164" y="2450"/>
                    </a:cxn>
                    <a:cxn ang="0">
                      <a:pos x="2448" y="2590"/>
                    </a:cxn>
                    <a:cxn ang="0">
                      <a:pos x="2712" y="2761"/>
                    </a:cxn>
                    <a:cxn ang="0">
                      <a:pos x="2956" y="2962"/>
                    </a:cxn>
                    <a:cxn ang="0">
                      <a:pos x="3175" y="3187"/>
                    </a:cxn>
                    <a:cxn ang="0">
                      <a:pos x="3367" y="3439"/>
                    </a:cxn>
                    <a:cxn ang="0">
                      <a:pos x="3529" y="3711"/>
                    </a:cxn>
                    <a:cxn ang="0">
                      <a:pos x="3659" y="4003"/>
                    </a:cxn>
                    <a:cxn ang="0">
                      <a:pos x="3755" y="4311"/>
                    </a:cxn>
                    <a:cxn ang="0">
                      <a:pos x="3814" y="4632"/>
                    </a:cxn>
                    <a:cxn ang="0">
                      <a:pos x="3831" y="4908"/>
                    </a:cxn>
                    <a:cxn ang="0">
                      <a:pos x="3809" y="5281"/>
                    </a:cxn>
                    <a:cxn ang="0">
                      <a:pos x="3886" y="5390"/>
                    </a:cxn>
                    <a:cxn ang="0">
                      <a:pos x="4129" y="5281"/>
                    </a:cxn>
                    <a:cxn ang="0">
                      <a:pos x="4358" y="5150"/>
                    </a:cxn>
                    <a:cxn ang="0">
                      <a:pos x="4571" y="4998"/>
                    </a:cxn>
                    <a:cxn ang="0">
                      <a:pos x="4767" y="4825"/>
                    </a:cxn>
                    <a:cxn ang="0">
                      <a:pos x="4946" y="4635"/>
                    </a:cxn>
                    <a:cxn ang="0">
                      <a:pos x="5105" y="4427"/>
                    </a:cxn>
                    <a:cxn ang="0">
                      <a:pos x="5242" y="4203"/>
                    </a:cxn>
                    <a:cxn ang="0">
                      <a:pos x="5359" y="3966"/>
                    </a:cxn>
                    <a:cxn ang="0">
                      <a:pos x="5450" y="3715"/>
                    </a:cxn>
                    <a:cxn ang="0">
                      <a:pos x="5518" y="3453"/>
                    </a:cxn>
                    <a:cxn ang="0">
                      <a:pos x="5559" y="3181"/>
                    </a:cxn>
                    <a:cxn ang="0">
                      <a:pos x="5572" y="2900"/>
                    </a:cxn>
                  </a:cxnLst>
                  <a:rect l="0" t="0" r="r" b="b"/>
                  <a:pathLst>
                    <a:path w="5572" h="5427">
                      <a:moveTo>
                        <a:pt x="5569" y="2786"/>
                      </a:moveTo>
                      <a:lnTo>
                        <a:pt x="5569" y="2786"/>
                      </a:lnTo>
                      <a:lnTo>
                        <a:pt x="5566" y="2714"/>
                      </a:lnTo>
                      <a:lnTo>
                        <a:pt x="5560" y="2642"/>
                      </a:lnTo>
                      <a:lnTo>
                        <a:pt x="5553" y="2571"/>
                      </a:lnTo>
                      <a:lnTo>
                        <a:pt x="5543" y="2500"/>
                      </a:lnTo>
                      <a:lnTo>
                        <a:pt x="5532" y="2431"/>
                      </a:lnTo>
                      <a:lnTo>
                        <a:pt x="5519" y="2362"/>
                      </a:lnTo>
                      <a:lnTo>
                        <a:pt x="5504" y="2292"/>
                      </a:lnTo>
                      <a:lnTo>
                        <a:pt x="5490" y="2225"/>
                      </a:lnTo>
                      <a:lnTo>
                        <a:pt x="5472" y="2157"/>
                      </a:lnTo>
                      <a:lnTo>
                        <a:pt x="5453" y="2089"/>
                      </a:lnTo>
                      <a:lnTo>
                        <a:pt x="5432" y="2023"/>
                      </a:lnTo>
                      <a:lnTo>
                        <a:pt x="5409" y="1958"/>
                      </a:lnTo>
                      <a:lnTo>
                        <a:pt x="5385" y="1893"/>
                      </a:lnTo>
                      <a:lnTo>
                        <a:pt x="5360" y="1828"/>
                      </a:lnTo>
                      <a:lnTo>
                        <a:pt x="5333" y="1765"/>
                      </a:lnTo>
                      <a:lnTo>
                        <a:pt x="5304" y="1701"/>
                      </a:lnTo>
                      <a:lnTo>
                        <a:pt x="5274" y="1639"/>
                      </a:lnTo>
                      <a:lnTo>
                        <a:pt x="5244" y="1577"/>
                      </a:lnTo>
                      <a:lnTo>
                        <a:pt x="5211" y="1517"/>
                      </a:lnTo>
                      <a:lnTo>
                        <a:pt x="5177" y="1458"/>
                      </a:lnTo>
                      <a:lnTo>
                        <a:pt x="5142" y="1399"/>
                      </a:lnTo>
                      <a:lnTo>
                        <a:pt x="5105" y="1341"/>
                      </a:lnTo>
                      <a:lnTo>
                        <a:pt x="5067" y="1284"/>
                      </a:lnTo>
                      <a:lnTo>
                        <a:pt x="5028" y="1228"/>
                      </a:lnTo>
                      <a:lnTo>
                        <a:pt x="4987" y="1173"/>
                      </a:lnTo>
                      <a:lnTo>
                        <a:pt x="4946" y="1119"/>
                      </a:lnTo>
                      <a:lnTo>
                        <a:pt x="4903" y="1066"/>
                      </a:lnTo>
                      <a:lnTo>
                        <a:pt x="4859" y="1014"/>
                      </a:lnTo>
                      <a:lnTo>
                        <a:pt x="4813" y="962"/>
                      </a:lnTo>
                      <a:lnTo>
                        <a:pt x="4766" y="912"/>
                      </a:lnTo>
                      <a:lnTo>
                        <a:pt x="4719" y="864"/>
                      </a:lnTo>
                      <a:lnTo>
                        <a:pt x="4670" y="817"/>
                      </a:lnTo>
                      <a:lnTo>
                        <a:pt x="4620" y="769"/>
                      </a:lnTo>
                      <a:lnTo>
                        <a:pt x="4570" y="724"/>
                      </a:lnTo>
                      <a:lnTo>
                        <a:pt x="4518" y="679"/>
                      </a:lnTo>
                      <a:lnTo>
                        <a:pt x="4465" y="637"/>
                      </a:lnTo>
                      <a:lnTo>
                        <a:pt x="4411" y="594"/>
                      </a:lnTo>
                      <a:lnTo>
                        <a:pt x="4356" y="554"/>
                      </a:lnTo>
                      <a:lnTo>
                        <a:pt x="4300" y="514"/>
                      </a:lnTo>
                      <a:lnTo>
                        <a:pt x="4244" y="476"/>
                      </a:lnTo>
                      <a:lnTo>
                        <a:pt x="4187" y="439"/>
                      </a:lnTo>
                      <a:lnTo>
                        <a:pt x="4128" y="404"/>
                      </a:lnTo>
                      <a:lnTo>
                        <a:pt x="4069" y="370"/>
                      </a:lnTo>
                      <a:lnTo>
                        <a:pt x="4008" y="336"/>
                      </a:lnTo>
                      <a:lnTo>
                        <a:pt x="3946" y="305"/>
                      </a:lnTo>
                      <a:lnTo>
                        <a:pt x="3886" y="275"/>
                      </a:lnTo>
                      <a:lnTo>
                        <a:pt x="3822" y="246"/>
                      </a:lnTo>
                      <a:lnTo>
                        <a:pt x="3759" y="219"/>
                      </a:lnTo>
                      <a:lnTo>
                        <a:pt x="3696" y="193"/>
                      </a:lnTo>
                      <a:lnTo>
                        <a:pt x="3631" y="169"/>
                      </a:lnTo>
                      <a:lnTo>
                        <a:pt x="3566" y="147"/>
                      </a:lnTo>
                      <a:lnTo>
                        <a:pt x="3500" y="125"/>
                      </a:lnTo>
                      <a:lnTo>
                        <a:pt x="3433" y="106"/>
                      </a:lnTo>
                      <a:lnTo>
                        <a:pt x="3365" y="88"/>
                      </a:lnTo>
                      <a:lnTo>
                        <a:pt x="3298" y="72"/>
                      </a:lnTo>
                      <a:lnTo>
                        <a:pt x="3230" y="57"/>
                      </a:lnTo>
                      <a:lnTo>
                        <a:pt x="3160" y="44"/>
                      </a:lnTo>
                      <a:lnTo>
                        <a:pt x="3091" y="32"/>
                      </a:lnTo>
                      <a:lnTo>
                        <a:pt x="3022" y="23"/>
                      </a:lnTo>
                      <a:lnTo>
                        <a:pt x="2951" y="14"/>
                      </a:lnTo>
                      <a:lnTo>
                        <a:pt x="2880" y="9"/>
                      </a:lnTo>
                      <a:lnTo>
                        <a:pt x="2810" y="4"/>
                      </a:lnTo>
                      <a:lnTo>
                        <a:pt x="2737" y="1"/>
                      </a:lnTo>
                      <a:lnTo>
                        <a:pt x="2667" y="0"/>
                      </a:lnTo>
                      <a:lnTo>
                        <a:pt x="2667" y="0"/>
                      </a:lnTo>
                      <a:lnTo>
                        <a:pt x="2599" y="1"/>
                      </a:lnTo>
                      <a:lnTo>
                        <a:pt x="2531" y="4"/>
                      </a:lnTo>
                      <a:lnTo>
                        <a:pt x="2463" y="7"/>
                      </a:lnTo>
                      <a:lnTo>
                        <a:pt x="2397" y="13"/>
                      </a:lnTo>
                      <a:lnTo>
                        <a:pt x="2332" y="20"/>
                      </a:lnTo>
                      <a:lnTo>
                        <a:pt x="2266" y="29"/>
                      </a:lnTo>
                      <a:lnTo>
                        <a:pt x="2201" y="39"/>
                      </a:lnTo>
                      <a:lnTo>
                        <a:pt x="2137" y="51"/>
                      </a:lnTo>
                      <a:lnTo>
                        <a:pt x="2074" y="65"/>
                      </a:lnTo>
                      <a:lnTo>
                        <a:pt x="2011" y="79"/>
                      </a:lnTo>
                      <a:lnTo>
                        <a:pt x="1949" y="94"/>
                      </a:lnTo>
                      <a:lnTo>
                        <a:pt x="1887" y="112"/>
                      </a:lnTo>
                      <a:lnTo>
                        <a:pt x="1825" y="131"/>
                      </a:lnTo>
                      <a:lnTo>
                        <a:pt x="1764" y="152"/>
                      </a:lnTo>
                      <a:lnTo>
                        <a:pt x="1705" y="174"/>
                      </a:lnTo>
                      <a:lnTo>
                        <a:pt x="1646" y="196"/>
                      </a:lnTo>
                      <a:lnTo>
                        <a:pt x="1587" y="221"/>
                      </a:lnTo>
                      <a:lnTo>
                        <a:pt x="1530" y="246"/>
                      </a:lnTo>
                      <a:lnTo>
                        <a:pt x="1474" y="274"/>
                      </a:lnTo>
                      <a:lnTo>
                        <a:pt x="1418" y="302"/>
                      </a:lnTo>
                      <a:lnTo>
                        <a:pt x="1362" y="331"/>
                      </a:lnTo>
                      <a:lnTo>
                        <a:pt x="1307" y="362"/>
                      </a:lnTo>
                      <a:lnTo>
                        <a:pt x="1254" y="393"/>
                      </a:lnTo>
                      <a:lnTo>
                        <a:pt x="1201" y="427"/>
                      </a:lnTo>
                      <a:lnTo>
                        <a:pt x="1150" y="461"/>
                      </a:lnTo>
                      <a:lnTo>
                        <a:pt x="1100" y="497"/>
                      </a:lnTo>
                      <a:lnTo>
                        <a:pt x="1049" y="533"/>
                      </a:lnTo>
                      <a:lnTo>
                        <a:pt x="1001" y="572"/>
                      </a:lnTo>
                      <a:lnTo>
                        <a:pt x="952" y="610"/>
                      </a:lnTo>
                      <a:lnTo>
                        <a:pt x="905" y="651"/>
                      </a:lnTo>
                      <a:lnTo>
                        <a:pt x="859" y="693"/>
                      </a:lnTo>
                      <a:lnTo>
                        <a:pt x="814" y="734"/>
                      </a:lnTo>
                      <a:lnTo>
                        <a:pt x="769" y="778"/>
                      </a:lnTo>
                      <a:lnTo>
                        <a:pt x="727" y="822"/>
                      </a:lnTo>
                      <a:lnTo>
                        <a:pt x="684" y="867"/>
                      </a:lnTo>
                      <a:lnTo>
                        <a:pt x="643" y="914"/>
                      </a:lnTo>
                      <a:lnTo>
                        <a:pt x="603" y="961"/>
                      </a:lnTo>
                      <a:lnTo>
                        <a:pt x="564" y="1008"/>
                      </a:lnTo>
                      <a:lnTo>
                        <a:pt x="526" y="1058"/>
                      </a:lnTo>
                      <a:lnTo>
                        <a:pt x="491" y="1108"/>
                      </a:lnTo>
                      <a:lnTo>
                        <a:pt x="455" y="1159"/>
                      </a:lnTo>
                      <a:lnTo>
                        <a:pt x="420" y="1210"/>
                      </a:lnTo>
                      <a:lnTo>
                        <a:pt x="387" y="1263"/>
                      </a:lnTo>
                      <a:lnTo>
                        <a:pt x="355" y="1316"/>
                      </a:lnTo>
                      <a:lnTo>
                        <a:pt x="326" y="1371"/>
                      </a:lnTo>
                      <a:lnTo>
                        <a:pt x="296" y="1425"/>
                      </a:lnTo>
                      <a:lnTo>
                        <a:pt x="268" y="1481"/>
                      </a:lnTo>
                      <a:lnTo>
                        <a:pt x="240" y="1539"/>
                      </a:lnTo>
                      <a:lnTo>
                        <a:pt x="215" y="1596"/>
                      </a:lnTo>
                      <a:lnTo>
                        <a:pt x="191" y="1654"/>
                      </a:lnTo>
                      <a:lnTo>
                        <a:pt x="168" y="1713"/>
                      </a:lnTo>
                      <a:lnTo>
                        <a:pt x="147" y="1772"/>
                      </a:lnTo>
                      <a:lnTo>
                        <a:pt x="127" y="1832"/>
                      </a:lnTo>
                      <a:lnTo>
                        <a:pt x="107" y="1893"/>
                      </a:lnTo>
                      <a:lnTo>
                        <a:pt x="90" y="1955"/>
                      </a:lnTo>
                      <a:lnTo>
                        <a:pt x="75" y="2017"/>
                      </a:lnTo>
                      <a:lnTo>
                        <a:pt x="60" y="2080"/>
                      </a:lnTo>
                      <a:lnTo>
                        <a:pt x="47" y="2142"/>
                      </a:lnTo>
                      <a:lnTo>
                        <a:pt x="35" y="2207"/>
                      </a:lnTo>
                      <a:lnTo>
                        <a:pt x="25" y="2270"/>
                      </a:lnTo>
                      <a:lnTo>
                        <a:pt x="17" y="2335"/>
                      </a:lnTo>
                      <a:lnTo>
                        <a:pt x="10" y="2401"/>
                      </a:lnTo>
                      <a:lnTo>
                        <a:pt x="4" y="2466"/>
                      </a:lnTo>
                      <a:lnTo>
                        <a:pt x="0" y="2533"/>
                      </a:lnTo>
                      <a:lnTo>
                        <a:pt x="0" y="2533"/>
                      </a:lnTo>
                      <a:lnTo>
                        <a:pt x="65" y="2500"/>
                      </a:lnTo>
                      <a:lnTo>
                        <a:pt x="131" y="2468"/>
                      </a:lnTo>
                      <a:lnTo>
                        <a:pt x="199" y="2438"/>
                      </a:lnTo>
                      <a:lnTo>
                        <a:pt x="267" y="2412"/>
                      </a:lnTo>
                      <a:lnTo>
                        <a:pt x="336" y="2387"/>
                      </a:lnTo>
                      <a:lnTo>
                        <a:pt x="407" y="2363"/>
                      </a:lnTo>
                      <a:lnTo>
                        <a:pt x="477" y="2341"/>
                      </a:lnTo>
                      <a:lnTo>
                        <a:pt x="550" y="2322"/>
                      </a:lnTo>
                      <a:lnTo>
                        <a:pt x="623" y="2304"/>
                      </a:lnTo>
                      <a:lnTo>
                        <a:pt x="697" y="2289"/>
                      </a:lnTo>
                      <a:lnTo>
                        <a:pt x="772" y="2278"/>
                      </a:lnTo>
                      <a:lnTo>
                        <a:pt x="849" y="2266"/>
                      </a:lnTo>
                      <a:lnTo>
                        <a:pt x="926" y="2258"/>
                      </a:lnTo>
                      <a:lnTo>
                        <a:pt x="1002" y="2253"/>
                      </a:lnTo>
                      <a:lnTo>
                        <a:pt x="1080" y="2248"/>
                      </a:lnTo>
                      <a:lnTo>
                        <a:pt x="1160" y="2248"/>
                      </a:lnTo>
                      <a:lnTo>
                        <a:pt x="1160" y="2248"/>
                      </a:lnTo>
                      <a:lnTo>
                        <a:pt x="1226" y="2248"/>
                      </a:lnTo>
                      <a:lnTo>
                        <a:pt x="1291" y="2251"/>
                      </a:lnTo>
                      <a:lnTo>
                        <a:pt x="1358" y="2256"/>
                      </a:lnTo>
                      <a:lnTo>
                        <a:pt x="1422" y="2261"/>
                      </a:lnTo>
                      <a:lnTo>
                        <a:pt x="1486" y="2269"/>
                      </a:lnTo>
                      <a:lnTo>
                        <a:pt x="1551" y="2278"/>
                      </a:lnTo>
                      <a:lnTo>
                        <a:pt x="1614" y="2288"/>
                      </a:lnTo>
                      <a:lnTo>
                        <a:pt x="1677" y="2300"/>
                      </a:lnTo>
                      <a:lnTo>
                        <a:pt x="1741" y="2313"/>
                      </a:lnTo>
                      <a:lnTo>
                        <a:pt x="1803" y="2329"/>
                      </a:lnTo>
                      <a:lnTo>
                        <a:pt x="1865" y="2345"/>
                      </a:lnTo>
                      <a:lnTo>
                        <a:pt x="1925" y="2363"/>
                      </a:lnTo>
                      <a:lnTo>
                        <a:pt x="1987" y="2384"/>
                      </a:lnTo>
                      <a:lnTo>
                        <a:pt x="2046" y="2404"/>
                      </a:lnTo>
                      <a:lnTo>
                        <a:pt x="2106" y="2427"/>
                      </a:lnTo>
                      <a:lnTo>
                        <a:pt x="2164" y="2450"/>
                      </a:lnTo>
                      <a:lnTo>
                        <a:pt x="2223" y="2475"/>
                      </a:lnTo>
                      <a:lnTo>
                        <a:pt x="2280" y="2502"/>
                      </a:lnTo>
                      <a:lnTo>
                        <a:pt x="2336" y="2530"/>
                      </a:lnTo>
                      <a:lnTo>
                        <a:pt x="2392" y="2559"/>
                      </a:lnTo>
                      <a:lnTo>
                        <a:pt x="2448" y="2590"/>
                      </a:lnTo>
                      <a:lnTo>
                        <a:pt x="2503" y="2621"/>
                      </a:lnTo>
                      <a:lnTo>
                        <a:pt x="2556" y="2655"/>
                      </a:lnTo>
                      <a:lnTo>
                        <a:pt x="2609" y="2689"/>
                      </a:lnTo>
                      <a:lnTo>
                        <a:pt x="2662" y="2724"/>
                      </a:lnTo>
                      <a:lnTo>
                        <a:pt x="2712" y="2761"/>
                      </a:lnTo>
                      <a:lnTo>
                        <a:pt x="2764" y="2798"/>
                      </a:lnTo>
                      <a:lnTo>
                        <a:pt x="2813" y="2838"/>
                      </a:lnTo>
                      <a:lnTo>
                        <a:pt x="2861" y="2878"/>
                      </a:lnTo>
                      <a:lnTo>
                        <a:pt x="2910" y="2919"/>
                      </a:lnTo>
                      <a:lnTo>
                        <a:pt x="2956" y="2962"/>
                      </a:lnTo>
                      <a:lnTo>
                        <a:pt x="3001" y="3005"/>
                      </a:lnTo>
                      <a:lnTo>
                        <a:pt x="3047" y="3049"/>
                      </a:lnTo>
                      <a:lnTo>
                        <a:pt x="3090" y="3094"/>
                      </a:lnTo>
                      <a:lnTo>
                        <a:pt x="3132" y="3140"/>
                      </a:lnTo>
                      <a:lnTo>
                        <a:pt x="3175" y="3187"/>
                      </a:lnTo>
                      <a:lnTo>
                        <a:pt x="3215" y="3236"/>
                      </a:lnTo>
                      <a:lnTo>
                        <a:pt x="3255" y="3286"/>
                      </a:lnTo>
                      <a:lnTo>
                        <a:pt x="3293" y="3336"/>
                      </a:lnTo>
                      <a:lnTo>
                        <a:pt x="3330" y="3386"/>
                      </a:lnTo>
                      <a:lnTo>
                        <a:pt x="3367" y="3439"/>
                      </a:lnTo>
                      <a:lnTo>
                        <a:pt x="3402" y="3491"/>
                      </a:lnTo>
                      <a:lnTo>
                        <a:pt x="3435" y="3546"/>
                      </a:lnTo>
                      <a:lnTo>
                        <a:pt x="3467" y="3600"/>
                      </a:lnTo>
                      <a:lnTo>
                        <a:pt x="3500" y="3655"/>
                      </a:lnTo>
                      <a:lnTo>
                        <a:pt x="3529" y="3711"/>
                      </a:lnTo>
                      <a:lnTo>
                        <a:pt x="3557" y="3768"/>
                      </a:lnTo>
                      <a:lnTo>
                        <a:pt x="3585" y="3826"/>
                      </a:lnTo>
                      <a:lnTo>
                        <a:pt x="3612" y="3885"/>
                      </a:lnTo>
                      <a:lnTo>
                        <a:pt x="3635" y="3944"/>
                      </a:lnTo>
                      <a:lnTo>
                        <a:pt x="3659" y="4003"/>
                      </a:lnTo>
                      <a:lnTo>
                        <a:pt x="3681" y="4063"/>
                      </a:lnTo>
                      <a:lnTo>
                        <a:pt x="3702" y="4124"/>
                      </a:lnTo>
                      <a:lnTo>
                        <a:pt x="3721" y="4186"/>
                      </a:lnTo>
                      <a:lnTo>
                        <a:pt x="3738" y="4247"/>
                      </a:lnTo>
                      <a:lnTo>
                        <a:pt x="3755" y="4311"/>
                      </a:lnTo>
                      <a:lnTo>
                        <a:pt x="3769" y="4374"/>
                      </a:lnTo>
                      <a:lnTo>
                        <a:pt x="3783" y="4438"/>
                      </a:lnTo>
                      <a:lnTo>
                        <a:pt x="3794" y="4503"/>
                      </a:lnTo>
                      <a:lnTo>
                        <a:pt x="3805" y="4567"/>
                      </a:lnTo>
                      <a:lnTo>
                        <a:pt x="3814" y="4632"/>
                      </a:lnTo>
                      <a:lnTo>
                        <a:pt x="3819" y="4699"/>
                      </a:lnTo>
                      <a:lnTo>
                        <a:pt x="3825" y="4765"/>
                      </a:lnTo>
                      <a:lnTo>
                        <a:pt x="3828" y="4831"/>
                      </a:lnTo>
                      <a:lnTo>
                        <a:pt x="3828" y="4831"/>
                      </a:lnTo>
                      <a:lnTo>
                        <a:pt x="3831" y="4908"/>
                      </a:lnTo>
                      <a:lnTo>
                        <a:pt x="3831" y="4985"/>
                      </a:lnTo>
                      <a:lnTo>
                        <a:pt x="3828" y="5060"/>
                      </a:lnTo>
                      <a:lnTo>
                        <a:pt x="3824" y="5134"/>
                      </a:lnTo>
                      <a:lnTo>
                        <a:pt x="3818" y="5209"/>
                      </a:lnTo>
                      <a:lnTo>
                        <a:pt x="3809" y="5281"/>
                      </a:lnTo>
                      <a:lnTo>
                        <a:pt x="3799" y="5355"/>
                      </a:lnTo>
                      <a:lnTo>
                        <a:pt x="3786" y="5427"/>
                      </a:lnTo>
                      <a:lnTo>
                        <a:pt x="3786" y="5427"/>
                      </a:lnTo>
                      <a:lnTo>
                        <a:pt x="3836" y="5408"/>
                      </a:lnTo>
                      <a:lnTo>
                        <a:pt x="3886" y="5390"/>
                      </a:lnTo>
                      <a:lnTo>
                        <a:pt x="3936" y="5369"/>
                      </a:lnTo>
                      <a:lnTo>
                        <a:pt x="3985" y="5349"/>
                      </a:lnTo>
                      <a:lnTo>
                        <a:pt x="4033" y="5327"/>
                      </a:lnTo>
                      <a:lnTo>
                        <a:pt x="4082" y="5305"/>
                      </a:lnTo>
                      <a:lnTo>
                        <a:pt x="4129" y="5281"/>
                      </a:lnTo>
                      <a:lnTo>
                        <a:pt x="4176" y="5256"/>
                      </a:lnTo>
                      <a:lnTo>
                        <a:pt x="4223" y="5231"/>
                      </a:lnTo>
                      <a:lnTo>
                        <a:pt x="4269" y="5204"/>
                      </a:lnTo>
                      <a:lnTo>
                        <a:pt x="4313" y="5178"/>
                      </a:lnTo>
                      <a:lnTo>
                        <a:pt x="4358" y="5150"/>
                      </a:lnTo>
                      <a:lnTo>
                        <a:pt x="4402" y="5122"/>
                      </a:lnTo>
                      <a:lnTo>
                        <a:pt x="4446" y="5092"/>
                      </a:lnTo>
                      <a:lnTo>
                        <a:pt x="4489" y="5061"/>
                      </a:lnTo>
                      <a:lnTo>
                        <a:pt x="4530" y="5030"/>
                      </a:lnTo>
                      <a:lnTo>
                        <a:pt x="4571" y="4998"/>
                      </a:lnTo>
                      <a:lnTo>
                        <a:pt x="4613" y="4965"/>
                      </a:lnTo>
                      <a:lnTo>
                        <a:pt x="4652" y="4932"/>
                      </a:lnTo>
                      <a:lnTo>
                        <a:pt x="4691" y="4896"/>
                      </a:lnTo>
                      <a:lnTo>
                        <a:pt x="4731" y="4861"/>
                      </a:lnTo>
                      <a:lnTo>
                        <a:pt x="4767" y="4825"/>
                      </a:lnTo>
                      <a:lnTo>
                        <a:pt x="4804" y="4789"/>
                      </a:lnTo>
                      <a:lnTo>
                        <a:pt x="4841" y="4752"/>
                      </a:lnTo>
                      <a:lnTo>
                        <a:pt x="4876" y="4713"/>
                      </a:lnTo>
                      <a:lnTo>
                        <a:pt x="4912" y="4675"/>
                      </a:lnTo>
                      <a:lnTo>
                        <a:pt x="4946" y="4635"/>
                      </a:lnTo>
                      <a:lnTo>
                        <a:pt x="4980" y="4595"/>
                      </a:lnTo>
                      <a:lnTo>
                        <a:pt x="5012" y="4554"/>
                      </a:lnTo>
                      <a:lnTo>
                        <a:pt x="5043" y="4513"/>
                      </a:lnTo>
                      <a:lnTo>
                        <a:pt x="5074" y="4470"/>
                      </a:lnTo>
                      <a:lnTo>
                        <a:pt x="5105" y="4427"/>
                      </a:lnTo>
                      <a:lnTo>
                        <a:pt x="5134" y="4383"/>
                      </a:lnTo>
                      <a:lnTo>
                        <a:pt x="5162" y="4340"/>
                      </a:lnTo>
                      <a:lnTo>
                        <a:pt x="5190" y="4295"/>
                      </a:lnTo>
                      <a:lnTo>
                        <a:pt x="5217" y="4250"/>
                      </a:lnTo>
                      <a:lnTo>
                        <a:pt x="5242" y="4203"/>
                      </a:lnTo>
                      <a:lnTo>
                        <a:pt x="5267" y="4158"/>
                      </a:lnTo>
                      <a:lnTo>
                        <a:pt x="5292" y="4110"/>
                      </a:lnTo>
                      <a:lnTo>
                        <a:pt x="5314" y="4063"/>
                      </a:lnTo>
                      <a:lnTo>
                        <a:pt x="5336" y="4014"/>
                      </a:lnTo>
                      <a:lnTo>
                        <a:pt x="5359" y="3966"/>
                      </a:lnTo>
                      <a:lnTo>
                        <a:pt x="5379" y="3917"/>
                      </a:lnTo>
                      <a:lnTo>
                        <a:pt x="5398" y="3867"/>
                      </a:lnTo>
                      <a:lnTo>
                        <a:pt x="5416" y="3817"/>
                      </a:lnTo>
                      <a:lnTo>
                        <a:pt x="5434" y="3767"/>
                      </a:lnTo>
                      <a:lnTo>
                        <a:pt x="5450" y="3715"/>
                      </a:lnTo>
                      <a:lnTo>
                        <a:pt x="5466" y="3664"/>
                      </a:lnTo>
                      <a:lnTo>
                        <a:pt x="5481" y="3612"/>
                      </a:lnTo>
                      <a:lnTo>
                        <a:pt x="5494" y="3559"/>
                      </a:lnTo>
                      <a:lnTo>
                        <a:pt x="5506" y="3507"/>
                      </a:lnTo>
                      <a:lnTo>
                        <a:pt x="5518" y="3453"/>
                      </a:lnTo>
                      <a:lnTo>
                        <a:pt x="5528" y="3400"/>
                      </a:lnTo>
                      <a:lnTo>
                        <a:pt x="5537" y="3345"/>
                      </a:lnTo>
                      <a:lnTo>
                        <a:pt x="5546" y="3291"/>
                      </a:lnTo>
                      <a:lnTo>
                        <a:pt x="5553" y="3236"/>
                      </a:lnTo>
                      <a:lnTo>
                        <a:pt x="5559" y="3181"/>
                      </a:lnTo>
                      <a:lnTo>
                        <a:pt x="5563" y="3125"/>
                      </a:lnTo>
                      <a:lnTo>
                        <a:pt x="5568" y="3069"/>
                      </a:lnTo>
                      <a:lnTo>
                        <a:pt x="5571" y="3013"/>
                      </a:lnTo>
                      <a:lnTo>
                        <a:pt x="5572" y="2957"/>
                      </a:lnTo>
                      <a:lnTo>
                        <a:pt x="5572" y="2900"/>
                      </a:lnTo>
                      <a:lnTo>
                        <a:pt x="5571" y="2842"/>
                      </a:lnTo>
                      <a:lnTo>
                        <a:pt x="5569" y="2786"/>
                      </a:lnTo>
                      <a:lnTo>
                        <a:pt x="5569" y="2786"/>
                      </a:lnTo>
                      <a:close/>
                    </a:path>
                  </a:pathLst>
                </a:custGeom>
                <a:gradFill flip="none" rotWithShape="1">
                  <a:gsLst>
                    <a:gs pos="45000">
                      <a:schemeClr val="accent2">
                        <a:lumMod val="75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  <a:gs pos="83000">
                      <a:schemeClr val="accent2">
                        <a:lumMod val="75000"/>
                      </a:schemeClr>
                    </a:gs>
                    <a:gs pos="55000">
                      <a:schemeClr val="accent2">
                        <a:lumMod val="50000"/>
                      </a:schemeClr>
                    </a:gs>
                    <a:gs pos="69000">
                      <a:schemeClr val="accent2">
                        <a:lumMod val="50000"/>
                      </a:schemeClr>
                    </a:gs>
                  </a:gsLst>
                  <a:lin ang="27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24" name="Freeform 10">
                  <a:extLst>
                    <a:ext uri="{FF2B5EF4-FFF2-40B4-BE49-F238E27FC236}">
                      <a16:creationId xmlns:a16="http://schemas.microsoft.com/office/drawing/2014/main" xmlns="" id="{3F29C365-429A-2448-80FF-3BA19E4D12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42325" y="1582738"/>
                  <a:ext cx="2017713" cy="1719263"/>
                </a:xfrm>
                <a:custGeom>
                  <a:avLst/>
                  <a:gdLst/>
                  <a:ahLst/>
                  <a:cxnLst>
                    <a:cxn ang="0">
                      <a:pos x="3757" y="3095"/>
                    </a:cxn>
                    <a:cxn ang="0">
                      <a:pos x="3794" y="3057"/>
                    </a:cxn>
                    <a:cxn ang="0">
                      <a:pos x="3810" y="3002"/>
                    </a:cxn>
                    <a:cxn ang="0">
                      <a:pos x="3809" y="2896"/>
                    </a:cxn>
                    <a:cxn ang="0">
                      <a:pos x="3774" y="2695"/>
                    </a:cxn>
                    <a:cxn ang="0">
                      <a:pos x="3759" y="2585"/>
                    </a:cxn>
                    <a:cxn ang="0">
                      <a:pos x="3735" y="2321"/>
                    </a:cxn>
                    <a:cxn ang="0">
                      <a:pos x="3685" y="2064"/>
                    </a:cxn>
                    <a:cxn ang="0">
                      <a:pos x="3611" y="1817"/>
                    </a:cxn>
                    <a:cxn ang="0">
                      <a:pos x="3516" y="1579"/>
                    </a:cxn>
                    <a:cxn ang="0">
                      <a:pos x="3399" y="1354"/>
                    </a:cxn>
                    <a:cxn ang="0">
                      <a:pos x="3261" y="1140"/>
                    </a:cxn>
                    <a:cxn ang="0">
                      <a:pos x="3106" y="941"/>
                    </a:cxn>
                    <a:cxn ang="0">
                      <a:pos x="2932" y="758"/>
                    </a:cxn>
                    <a:cxn ang="0">
                      <a:pos x="2743" y="591"/>
                    </a:cxn>
                    <a:cxn ang="0">
                      <a:pos x="2540" y="442"/>
                    </a:cxn>
                    <a:cxn ang="0">
                      <a:pos x="2323" y="313"/>
                    </a:cxn>
                    <a:cxn ang="0">
                      <a:pos x="2096" y="204"/>
                    </a:cxn>
                    <a:cxn ang="0">
                      <a:pos x="1857" y="117"/>
                    </a:cxn>
                    <a:cxn ang="0">
                      <a:pos x="1608" y="53"/>
                    </a:cxn>
                    <a:cxn ang="0">
                      <a:pos x="1353" y="15"/>
                    </a:cxn>
                    <a:cxn ang="0">
                      <a:pos x="1091" y="0"/>
                    </a:cxn>
                    <a:cxn ang="0">
                      <a:pos x="902" y="7"/>
                    </a:cxn>
                    <a:cxn ang="0">
                      <a:pos x="676" y="31"/>
                    </a:cxn>
                    <a:cxn ang="0">
                      <a:pos x="480" y="69"/>
                    </a:cxn>
                    <a:cxn ang="0">
                      <a:pos x="216" y="149"/>
                    </a:cxn>
                    <a:cxn ang="0">
                      <a:pos x="41" y="229"/>
                    </a:cxn>
                    <a:cxn ang="0">
                      <a:pos x="1" y="308"/>
                    </a:cxn>
                    <a:cxn ang="0">
                      <a:pos x="37" y="667"/>
                    </a:cxn>
                    <a:cxn ang="0">
                      <a:pos x="95" y="972"/>
                    </a:cxn>
                    <a:cxn ang="0">
                      <a:pos x="166" y="1246"/>
                    </a:cxn>
                    <a:cxn ang="0">
                      <a:pos x="265" y="1536"/>
                    </a:cxn>
                    <a:cxn ang="0">
                      <a:pos x="395" y="1833"/>
                    </a:cxn>
                    <a:cxn ang="0">
                      <a:pos x="560" y="2125"/>
                    </a:cxn>
                    <a:cxn ang="0">
                      <a:pos x="762" y="2403"/>
                    </a:cxn>
                    <a:cxn ang="0">
                      <a:pos x="1007" y="2658"/>
                    </a:cxn>
                    <a:cxn ang="0">
                      <a:pos x="1145" y="2775"/>
                    </a:cxn>
                    <a:cxn ang="0">
                      <a:pos x="1297" y="2881"/>
                    </a:cxn>
                    <a:cxn ang="0">
                      <a:pos x="1461" y="2975"/>
                    </a:cxn>
                    <a:cxn ang="0">
                      <a:pos x="1637" y="3059"/>
                    </a:cxn>
                    <a:cxn ang="0">
                      <a:pos x="1828" y="3129"/>
                    </a:cxn>
                    <a:cxn ang="0">
                      <a:pos x="2031" y="3185"/>
                    </a:cxn>
                    <a:cxn ang="0">
                      <a:pos x="2249" y="3223"/>
                    </a:cxn>
                    <a:cxn ang="0">
                      <a:pos x="2484" y="3247"/>
                    </a:cxn>
                    <a:cxn ang="0">
                      <a:pos x="2731" y="3251"/>
                    </a:cxn>
                    <a:cxn ang="0">
                      <a:pos x="2997" y="3236"/>
                    </a:cxn>
                    <a:cxn ang="0">
                      <a:pos x="3277" y="3201"/>
                    </a:cxn>
                    <a:cxn ang="0">
                      <a:pos x="3575" y="3144"/>
                    </a:cxn>
                  </a:cxnLst>
                  <a:rect l="0" t="0" r="r" b="b"/>
                  <a:pathLst>
                    <a:path w="3813" h="3251">
                      <a:moveTo>
                        <a:pt x="3729" y="3105"/>
                      </a:moveTo>
                      <a:lnTo>
                        <a:pt x="3729" y="3105"/>
                      </a:lnTo>
                      <a:lnTo>
                        <a:pt x="3744" y="3101"/>
                      </a:lnTo>
                      <a:lnTo>
                        <a:pt x="3757" y="3095"/>
                      </a:lnTo>
                      <a:lnTo>
                        <a:pt x="3768" y="3087"/>
                      </a:lnTo>
                      <a:lnTo>
                        <a:pt x="3778" y="3079"/>
                      </a:lnTo>
                      <a:lnTo>
                        <a:pt x="3787" y="3068"/>
                      </a:lnTo>
                      <a:lnTo>
                        <a:pt x="3794" y="3057"/>
                      </a:lnTo>
                      <a:lnTo>
                        <a:pt x="3800" y="3045"/>
                      </a:lnTo>
                      <a:lnTo>
                        <a:pt x="3805" y="3031"/>
                      </a:lnTo>
                      <a:lnTo>
                        <a:pt x="3809" y="3017"/>
                      </a:lnTo>
                      <a:lnTo>
                        <a:pt x="3810" y="3002"/>
                      </a:lnTo>
                      <a:lnTo>
                        <a:pt x="3812" y="2986"/>
                      </a:lnTo>
                      <a:lnTo>
                        <a:pt x="3813" y="2970"/>
                      </a:lnTo>
                      <a:lnTo>
                        <a:pt x="3812" y="2934"/>
                      </a:lnTo>
                      <a:lnTo>
                        <a:pt x="3809" y="2896"/>
                      </a:lnTo>
                      <a:lnTo>
                        <a:pt x="3803" y="2857"/>
                      </a:lnTo>
                      <a:lnTo>
                        <a:pt x="3797" y="2816"/>
                      </a:lnTo>
                      <a:lnTo>
                        <a:pt x="3781" y="2735"/>
                      </a:lnTo>
                      <a:lnTo>
                        <a:pt x="3774" y="2695"/>
                      </a:lnTo>
                      <a:lnTo>
                        <a:pt x="3768" y="2657"/>
                      </a:lnTo>
                      <a:lnTo>
                        <a:pt x="3762" y="2620"/>
                      </a:lnTo>
                      <a:lnTo>
                        <a:pt x="3759" y="2585"/>
                      </a:lnTo>
                      <a:lnTo>
                        <a:pt x="3759" y="2585"/>
                      </a:lnTo>
                      <a:lnTo>
                        <a:pt x="3756" y="2518"/>
                      </a:lnTo>
                      <a:lnTo>
                        <a:pt x="3750" y="2452"/>
                      </a:lnTo>
                      <a:lnTo>
                        <a:pt x="3744" y="2386"/>
                      </a:lnTo>
                      <a:lnTo>
                        <a:pt x="3735" y="2321"/>
                      </a:lnTo>
                      <a:lnTo>
                        <a:pt x="3725" y="2256"/>
                      </a:lnTo>
                      <a:lnTo>
                        <a:pt x="3713" y="2191"/>
                      </a:lnTo>
                      <a:lnTo>
                        <a:pt x="3700" y="2128"/>
                      </a:lnTo>
                      <a:lnTo>
                        <a:pt x="3685" y="2064"/>
                      </a:lnTo>
                      <a:lnTo>
                        <a:pt x="3669" y="2001"/>
                      </a:lnTo>
                      <a:lnTo>
                        <a:pt x="3651" y="1939"/>
                      </a:lnTo>
                      <a:lnTo>
                        <a:pt x="3632" y="1877"/>
                      </a:lnTo>
                      <a:lnTo>
                        <a:pt x="3611" y="1817"/>
                      </a:lnTo>
                      <a:lnTo>
                        <a:pt x="3589" y="1756"/>
                      </a:lnTo>
                      <a:lnTo>
                        <a:pt x="3567" y="1696"/>
                      </a:lnTo>
                      <a:lnTo>
                        <a:pt x="3542" y="1637"/>
                      </a:lnTo>
                      <a:lnTo>
                        <a:pt x="3516" y="1579"/>
                      </a:lnTo>
                      <a:lnTo>
                        <a:pt x="3489" y="1522"/>
                      </a:lnTo>
                      <a:lnTo>
                        <a:pt x="3460" y="1464"/>
                      </a:lnTo>
                      <a:lnTo>
                        <a:pt x="3430" y="1408"/>
                      </a:lnTo>
                      <a:lnTo>
                        <a:pt x="3399" y="1354"/>
                      </a:lnTo>
                      <a:lnTo>
                        <a:pt x="3365" y="1299"/>
                      </a:lnTo>
                      <a:lnTo>
                        <a:pt x="3333" y="1244"/>
                      </a:lnTo>
                      <a:lnTo>
                        <a:pt x="3297" y="1191"/>
                      </a:lnTo>
                      <a:lnTo>
                        <a:pt x="3261" y="1140"/>
                      </a:lnTo>
                      <a:lnTo>
                        <a:pt x="3224" y="1090"/>
                      </a:lnTo>
                      <a:lnTo>
                        <a:pt x="3185" y="1038"/>
                      </a:lnTo>
                      <a:lnTo>
                        <a:pt x="3146" y="989"/>
                      </a:lnTo>
                      <a:lnTo>
                        <a:pt x="3106" y="941"/>
                      </a:lnTo>
                      <a:lnTo>
                        <a:pt x="3063" y="894"/>
                      </a:lnTo>
                      <a:lnTo>
                        <a:pt x="3020" y="848"/>
                      </a:lnTo>
                      <a:lnTo>
                        <a:pt x="2978" y="802"/>
                      </a:lnTo>
                      <a:lnTo>
                        <a:pt x="2932" y="758"/>
                      </a:lnTo>
                      <a:lnTo>
                        <a:pt x="2886" y="714"/>
                      </a:lnTo>
                      <a:lnTo>
                        <a:pt x="2840" y="672"/>
                      </a:lnTo>
                      <a:lnTo>
                        <a:pt x="2792" y="631"/>
                      </a:lnTo>
                      <a:lnTo>
                        <a:pt x="2743" y="591"/>
                      </a:lnTo>
                      <a:lnTo>
                        <a:pt x="2695" y="552"/>
                      </a:lnTo>
                      <a:lnTo>
                        <a:pt x="2644" y="515"/>
                      </a:lnTo>
                      <a:lnTo>
                        <a:pt x="2593" y="478"/>
                      </a:lnTo>
                      <a:lnTo>
                        <a:pt x="2540" y="442"/>
                      </a:lnTo>
                      <a:lnTo>
                        <a:pt x="2487" y="408"/>
                      </a:lnTo>
                      <a:lnTo>
                        <a:pt x="2434" y="375"/>
                      </a:lnTo>
                      <a:lnTo>
                        <a:pt x="2379" y="344"/>
                      </a:lnTo>
                      <a:lnTo>
                        <a:pt x="2323" y="313"/>
                      </a:lnTo>
                      <a:lnTo>
                        <a:pt x="2267" y="283"/>
                      </a:lnTo>
                      <a:lnTo>
                        <a:pt x="2211" y="255"/>
                      </a:lnTo>
                      <a:lnTo>
                        <a:pt x="2153" y="229"/>
                      </a:lnTo>
                      <a:lnTo>
                        <a:pt x="2096" y="204"/>
                      </a:lnTo>
                      <a:lnTo>
                        <a:pt x="2037" y="180"/>
                      </a:lnTo>
                      <a:lnTo>
                        <a:pt x="1977" y="158"/>
                      </a:lnTo>
                      <a:lnTo>
                        <a:pt x="1918" y="137"/>
                      </a:lnTo>
                      <a:lnTo>
                        <a:pt x="1857" y="117"/>
                      </a:lnTo>
                      <a:lnTo>
                        <a:pt x="1795" y="99"/>
                      </a:lnTo>
                      <a:lnTo>
                        <a:pt x="1733" y="83"/>
                      </a:lnTo>
                      <a:lnTo>
                        <a:pt x="1671" y="66"/>
                      </a:lnTo>
                      <a:lnTo>
                        <a:pt x="1608" y="53"/>
                      </a:lnTo>
                      <a:lnTo>
                        <a:pt x="1545" y="41"/>
                      </a:lnTo>
                      <a:lnTo>
                        <a:pt x="1481" y="31"/>
                      </a:lnTo>
                      <a:lnTo>
                        <a:pt x="1418" y="22"/>
                      </a:lnTo>
                      <a:lnTo>
                        <a:pt x="1353" y="15"/>
                      </a:lnTo>
                      <a:lnTo>
                        <a:pt x="1288" y="9"/>
                      </a:lnTo>
                      <a:lnTo>
                        <a:pt x="1222" y="5"/>
                      </a:lnTo>
                      <a:lnTo>
                        <a:pt x="1157" y="2"/>
                      </a:lnTo>
                      <a:lnTo>
                        <a:pt x="1091" y="0"/>
                      </a:lnTo>
                      <a:lnTo>
                        <a:pt x="1091" y="0"/>
                      </a:lnTo>
                      <a:lnTo>
                        <a:pt x="1026" y="2"/>
                      </a:lnTo>
                      <a:lnTo>
                        <a:pt x="962" y="3"/>
                      </a:lnTo>
                      <a:lnTo>
                        <a:pt x="902" y="7"/>
                      </a:lnTo>
                      <a:lnTo>
                        <a:pt x="841" y="12"/>
                      </a:lnTo>
                      <a:lnTo>
                        <a:pt x="785" y="18"/>
                      </a:lnTo>
                      <a:lnTo>
                        <a:pt x="729" y="24"/>
                      </a:lnTo>
                      <a:lnTo>
                        <a:pt x="676" y="31"/>
                      </a:lnTo>
                      <a:lnTo>
                        <a:pt x="625" y="40"/>
                      </a:lnTo>
                      <a:lnTo>
                        <a:pt x="575" y="49"/>
                      </a:lnTo>
                      <a:lnTo>
                        <a:pt x="527" y="59"/>
                      </a:lnTo>
                      <a:lnTo>
                        <a:pt x="480" y="69"/>
                      </a:lnTo>
                      <a:lnTo>
                        <a:pt x="437" y="80"/>
                      </a:lnTo>
                      <a:lnTo>
                        <a:pt x="355" y="103"/>
                      </a:lnTo>
                      <a:lnTo>
                        <a:pt x="283" y="125"/>
                      </a:lnTo>
                      <a:lnTo>
                        <a:pt x="216" y="149"/>
                      </a:lnTo>
                      <a:lnTo>
                        <a:pt x="160" y="173"/>
                      </a:lnTo>
                      <a:lnTo>
                        <a:pt x="112" y="193"/>
                      </a:lnTo>
                      <a:lnTo>
                        <a:pt x="72" y="212"/>
                      </a:lnTo>
                      <a:lnTo>
                        <a:pt x="41" y="229"/>
                      </a:lnTo>
                      <a:lnTo>
                        <a:pt x="17" y="240"/>
                      </a:lnTo>
                      <a:lnTo>
                        <a:pt x="0" y="251"/>
                      </a:lnTo>
                      <a:lnTo>
                        <a:pt x="0" y="251"/>
                      </a:lnTo>
                      <a:lnTo>
                        <a:pt x="1" y="308"/>
                      </a:lnTo>
                      <a:lnTo>
                        <a:pt x="6" y="379"/>
                      </a:lnTo>
                      <a:lnTo>
                        <a:pt x="11" y="463"/>
                      </a:lnTo>
                      <a:lnTo>
                        <a:pt x="23" y="559"/>
                      </a:lnTo>
                      <a:lnTo>
                        <a:pt x="37" y="667"/>
                      </a:lnTo>
                      <a:lnTo>
                        <a:pt x="57" y="782"/>
                      </a:lnTo>
                      <a:lnTo>
                        <a:pt x="67" y="843"/>
                      </a:lnTo>
                      <a:lnTo>
                        <a:pt x="81" y="907"/>
                      </a:lnTo>
                      <a:lnTo>
                        <a:pt x="95" y="972"/>
                      </a:lnTo>
                      <a:lnTo>
                        <a:pt x="110" y="1038"/>
                      </a:lnTo>
                      <a:lnTo>
                        <a:pt x="128" y="1106"/>
                      </a:lnTo>
                      <a:lnTo>
                        <a:pt x="147" y="1175"/>
                      </a:lnTo>
                      <a:lnTo>
                        <a:pt x="166" y="1246"/>
                      </a:lnTo>
                      <a:lnTo>
                        <a:pt x="188" y="1318"/>
                      </a:lnTo>
                      <a:lnTo>
                        <a:pt x="212" y="1390"/>
                      </a:lnTo>
                      <a:lnTo>
                        <a:pt x="238" y="1463"/>
                      </a:lnTo>
                      <a:lnTo>
                        <a:pt x="265" y="1536"/>
                      </a:lnTo>
                      <a:lnTo>
                        <a:pt x="294" y="1610"/>
                      </a:lnTo>
                      <a:lnTo>
                        <a:pt x="327" y="1684"/>
                      </a:lnTo>
                      <a:lnTo>
                        <a:pt x="359" y="1759"/>
                      </a:lnTo>
                      <a:lnTo>
                        <a:pt x="395" y="1833"/>
                      </a:lnTo>
                      <a:lnTo>
                        <a:pt x="433" y="1906"/>
                      </a:lnTo>
                      <a:lnTo>
                        <a:pt x="473" y="1980"/>
                      </a:lnTo>
                      <a:lnTo>
                        <a:pt x="514" y="2052"/>
                      </a:lnTo>
                      <a:lnTo>
                        <a:pt x="560" y="2125"/>
                      </a:lnTo>
                      <a:lnTo>
                        <a:pt x="606" y="2197"/>
                      </a:lnTo>
                      <a:lnTo>
                        <a:pt x="656" y="2266"/>
                      </a:lnTo>
                      <a:lnTo>
                        <a:pt x="707" y="2336"/>
                      </a:lnTo>
                      <a:lnTo>
                        <a:pt x="762" y="2403"/>
                      </a:lnTo>
                      <a:lnTo>
                        <a:pt x="819" y="2470"/>
                      </a:lnTo>
                      <a:lnTo>
                        <a:pt x="878" y="2535"/>
                      </a:lnTo>
                      <a:lnTo>
                        <a:pt x="940" y="2598"/>
                      </a:lnTo>
                      <a:lnTo>
                        <a:pt x="1007" y="2658"/>
                      </a:lnTo>
                      <a:lnTo>
                        <a:pt x="1040" y="2688"/>
                      </a:lnTo>
                      <a:lnTo>
                        <a:pt x="1074" y="2717"/>
                      </a:lnTo>
                      <a:lnTo>
                        <a:pt x="1110" y="2747"/>
                      </a:lnTo>
                      <a:lnTo>
                        <a:pt x="1145" y="2775"/>
                      </a:lnTo>
                      <a:lnTo>
                        <a:pt x="1182" y="2801"/>
                      </a:lnTo>
                      <a:lnTo>
                        <a:pt x="1220" y="2829"/>
                      </a:lnTo>
                      <a:lnTo>
                        <a:pt x="1257" y="2855"/>
                      </a:lnTo>
                      <a:lnTo>
                        <a:pt x="1297" y="2881"/>
                      </a:lnTo>
                      <a:lnTo>
                        <a:pt x="1337" y="2905"/>
                      </a:lnTo>
                      <a:lnTo>
                        <a:pt x="1377" y="2930"/>
                      </a:lnTo>
                      <a:lnTo>
                        <a:pt x="1418" y="2953"/>
                      </a:lnTo>
                      <a:lnTo>
                        <a:pt x="1461" y="2975"/>
                      </a:lnTo>
                      <a:lnTo>
                        <a:pt x="1503" y="2998"/>
                      </a:lnTo>
                      <a:lnTo>
                        <a:pt x="1548" y="3018"/>
                      </a:lnTo>
                      <a:lnTo>
                        <a:pt x="1592" y="3039"/>
                      </a:lnTo>
                      <a:lnTo>
                        <a:pt x="1637" y="3059"/>
                      </a:lnTo>
                      <a:lnTo>
                        <a:pt x="1683" y="3077"/>
                      </a:lnTo>
                      <a:lnTo>
                        <a:pt x="1730" y="3095"/>
                      </a:lnTo>
                      <a:lnTo>
                        <a:pt x="1779" y="3113"/>
                      </a:lnTo>
                      <a:lnTo>
                        <a:pt x="1828" y="3129"/>
                      </a:lnTo>
                      <a:lnTo>
                        <a:pt x="1878" y="3144"/>
                      </a:lnTo>
                      <a:lnTo>
                        <a:pt x="1928" y="3158"/>
                      </a:lnTo>
                      <a:lnTo>
                        <a:pt x="1980" y="3172"/>
                      </a:lnTo>
                      <a:lnTo>
                        <a:pt x="2031" y="3185"/>
                      </a:lnTo>
                      <a:lnTo>
                        <a:pt x="2084" y="3195"/>
                      </a:lnTo>
                      <a:lnTo>
                        <a:pt x="2139" y="3205"/>
                      </a:lnTo>
                      <a:lnTo>
                        <a:pt x="2193" y="3216"/>
                      </a:lnTo>
                      <a:lnTo>
                        <a:pt x="2249" y="3223"/>
                      </a:lnTo>
                      <a:lnTo>
                        <a:pt x="2307" y="3231"/>
                      </a:lnTo>
                      <a:lnTo>
                        <a:pt x="2364" y="3238"/>
                      </a:lnTo>
                      <a:lnTo>
                        <a:pt x="2423" y="3242"/>
                      </a:lnTo>
                      <a:lnTo>
                        <a:pt x="2484" y="3247"/>
                      </a:lnTo>
                      <a:lnTo>
                        <a:pt x="2544" y="3250"/>
                      </a:lnTo>
                      <a:lnTo>
                        <a:pt x="2606" y="3251"/>
                      </a:lnTo>
                      <a:lnTo>
                        <a:pt x="2668" y="3251"/>
                      </a:lnTo>
                      <a:lnTo>
                        <a:pt x="2731" y="3251"/>
                      </a:lnTo>
                      <a:lnTo>
                        <a:pt x="2796" y="3250"/>
                      </a:lnTo>
                      <a:lnTo>
                        <a:pt x="2863" y="3247"/>
                      </a:lnTo>
                      <a:lnTo>
                        <a:pt x="2929" y="3242"/>
                      </a:lnTo>
                      <a:lnTo>
                        <a:pt x="2997" y="3236"/>
                      </a:lnTo>
                      <a:lnTo>
                        <a:pt x="3065" y="3229"/>
                      </a:lnTo>
                      <a:lnTo>
                        <a:pt x="3134" y="3220"/>
                      </a:lnTo>
                      <a:lnTo>
                        <a:pt x="3205" y="3211"/>
                      </a:lnTo>
                      <a:lnTo>
                        <a:pt x="3277" y="3201"/>
                      </a:lnTo>
                      <a:lnTo>
                        <a:pt x="3349" y="3188"/>
                      </a:lnTo>
                      <a:lnTo>
                        <a:pt x="3423" y="3174"/>
                      </a:lnTo>
                      <a:lnTo>
                        <a:pt x="3498" y="3160"/>
                      </a:lnTo>
                      <a:lnTo>
                        <a:pt x="3575" y="3144"/>
                      </a:lnTo>
                      <a:lnTo>
                        <a:pt x="3651" y="3124"/>
                      </a:lnTo>
                      <a:lnTo>
                        <a:pt x="3729" y="3105"/>
                      </a:lnTo>
                      <a:lnTo>
                        <a:pt x="3729" y="3105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3000">
                      <a:schemeClr val="accent2">
                        <a:lumMod val="5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" name="Freeform 11">
                  <a:extLst>
                    <a:ext uri="{FF2B5EF4-FFF2-40B4-BE49-F238E27FC236}">
                      <a16:creationId xmlns:a16="http://schemas.microsoft.com/office/drawing/2014/main" xmlns="" id="{0601D9D2-1710-B241-9982-532DEC6356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9550" y="862013"/>
                  <a:ext cx="3157538" cy="3313113"/>
                </a:xfrm>
                <a:custGeom>
                  <a:avLst/>
                  <a:gdLst/>
                  <a:ahLst/>
                  <a:cxnLst>
                    <a:cxn ang="0">
                      <a:pos x="4176" y="5653"/>
                    </a:cxn>
                    <a:cxn ang="0">
                      <a:pos x="3948" y="5836"/>
                    </a:cxn>
                    <a:cxn ang="0">
                      <a:pos x="3697" y="5989"/>
                    </a:cxn>
                    <a:cxn ang="0">
                      <a:pos x="3426" y="6110"/>
                    </a:cxn>
                    <a:cxn ang="0">
                      <a:pos x="3137" y="6199"/>
                    </a:cxn>
                    <a:cxn ang="0">
                      <a:pos x="2832" y="6249"/>
                    </a:cxn>
                    <a:cxn ang="0">
                      <a:pos x="2578" y="6262"/>
                    </a:cxn>
                    <a:cxn ang="0">
                      <a:pos x="2263" y="6243"/>
                    </a:cxn>
                    <a:cxn ang="0">
                      <a:pos x="1958" y="6184"/>
                    </a:cxn>
                    <a:cxn ang="0">
                      <a:pos x="1666" y="6091"/>
                    </a:cxn>
                    <a:cxn ang="0">
                      <a:pos x="1389" y="5964"/>
                    </a:cxn>
                    <a:cxn ang="0">
                      <a:pos x="1129" y="5806"/>
                    </a:cxn>
                    <a:cxn ang="0">
                      <a:pos x="890" y="5621"/>
                    </a:cxn>
                    <a:cxn ang="0">
                      <a:pos x="674" y="5408"/>
                    </a:cxn>
                    <a:cxn ang="0">
                      <a:pos x="484" y="5172"/>
                    </a:cxn>
                    <a:cxn ang="0">
                      <a:pos x="320" y="4916"/>
                    </a:cxn>
                    <a:cxn ang="0">
                      <a:pos x="189" y="4640"/>
                    </a:cxn>
                    <a:cxn ang="0">
                      <a:pos x="90" y="4348"/>
                    </a:cxn>
                    <a:cxn ang="0">
                      <a:pos x="25" y="4043"/>
                    </a:cxn>
                    <a:cxn ang="0">
                      <a:pos x="3" y="3791"/>
                    </a:cxn>
                    <a:cxn ang="0">
                      <a:pos x="9" y="3521"/>
                    </a:cxn>
                    <a:cxn ang="0">
                      <a:pos x="47" y="3263"/>
                    </a:cxn>
                    <a:cxn ang="0">
                      <a:pos x="113" y="3017"/>
                    </a:cxn>
                    <a:cxn ang="0">
                      <a:pos x="245" y="2686"/>
                    </a:cxn>
                    <a:cxn ang="0">
                      <a:pos x="485" y="2237"/>
                    </a:cxn>
                    <a:cxn ang="0">
                      <a:pos x="1589" y="146"/>
                    </a:cxn>
                    <a:cxn ang="0">
                      <a:pos x="1418" y="406"/>
                    </a:cxn>
                    <a:cxn ang="0">
                      <a:pos x="1277" y="684"/>
                    </a:cxn>
                    <a:cxn ang="0">
                      <a:pos x="1168" y="984"/>
                    </a:cxn>
                    <a:cxn ang="0">
                      <a:pos x="1095" y="1296"/>
                    </a:cxn>
                    <a:cxn ang="0">
                      <a:pos x="1058" y="1623"/>
                    </a:cxn>
                    <a:cxn ang="0">
                      <a:pos x="1057" y="1893"/>
                    </a:cxn>
                    <a:cxn ang="0">
                      <a:pos x="1095" y="2253"/>
                    </a:cxn>
                    <a:cxn ang="0">
                      <a:pos x="1175" y="2599"/>
                    </a:cxn>
                    <a:cxn ang="0">
                      <a:pos x="1296" y="2928"/>
                    </a:cxn>
                    <a:cxn ang="0">
                      <a:pos x="1455" y="3238"/>
                    </a:cxn>
                    <a:cxn ang="0">
                      <a:pos x="1647" y="3527"/>
                    </a:cxn>
                    <a:cxn ang="0">
                      <a:pos x="1871" y="3791"/>
                    </a:cxn>
                    <a:cxn ang="0">
                      <a:pos x="2123" y="4027"/>
                    </a:cxn>
                    <a:cxn ang="0">
                      <a:pos x="2400" y="4233"/>
                    </a:cxn>
                    <a:cxn ang="0">
                      <a:pos x="2701" y="4406"/>
                    </a:cxn>
                    <a:cxn ang="0">
                      <a:pos x="3021" y="4544"/>
                    </a:cxn>
                    <a:cxn ang="0">
                      <a:pos x="3357" y="4643"/>
                    </a:cxn>
                    <a:cxn ang="0">
                      <a:pos x="3708" y="4701"/>
                    </a:cxn>
                    <a:cxn ang="0">
                      <a:pos x="3997" y="4715"/>
                    </a:cxn>
                    <a:cxn ang="0">
                      <a:pos x="4358" y="4692"/>
                    </a:cxn>
                    <a:cxn ang="0">
                      <a:pos x="4701" y="4625"/>
                    </a:cxn>
                    <a:cxn ang="0">
                      <a:pos x="5028" y="4518"/>
                    </a:cxn>
                    <a:cxn ang="0">
                      <a:pos x="5334" y="4372"/>
                    </a:cxn>
                    <a:cxn ang="0">
                      <a:pos x="5615" y="4189"/>
                    </a:cxn>
                    <a:cxn ang="0">
                      <a:pos x="5870" y="3975"/>
                    </a:cxn>
                  </a:cxnLst>
                  <a:rect l="0" t="0" r="r" b="b"/>
                  <a:pathLst>
                    <a:path w="5965" h="6262">
                      <a:moveTo>
                        <a:pt x="4302" y="5531"/>
                      </a:moveTo>
                      <a:lnTo>
                        <a:pt x="4302" y="5531"/>
                      </a:lnTo>
                      <a:lnTo>
                        <a:pt x="4262" y="5573"/>
                      </a:lnTo>
                      <a:lnTo>
                        <a:pt x="4219" y="5613"/>
                      </a:lnTo>
                      <a:lnTo>
                        <a:pt x="4176" y="5653"/>
                      </a:lnTo>
                      <a:lnTo>
                        <a:pt x="4134" y="5693"/>
                      </a:lnTo>
                      <a:lnTo>
                        <a:pt x="4088" y="5730"/>
                      </a:lnTo>
                      <a:lnTo>
                        <a:pt x="4042" y="5767"/>
                      </a:lnTo>
                      <a:lnTo>
                        <a:pt x="3997" y="5802"/>
                      </a:lnTo>
                      <a:lnTo>
                        <a:pt x="3948" y="5836"/>
                      </a:lnTo>
                      <a:lnTo>
                        <a:pt x="3899" y="5868"/>
                      </a:lnTo>
                      <a:lnTo>
                        <a:pt x="3851" y="5901"/>
                      </a:lnTo>
                      <a:lnTo>
                        <a:pt x="3800" y="5932"/>
                      </a:lnTo>
                      <a:lnTo>
                        <a:pt x="3749" y="5961"/>
                      </a:lnTo>
                      <a:lnTo>
                        <a:pt x="3697" y="5989"/>
                      </a:lnTo>
                      <a:lnTo>
                        <a:pt x="3644" y="6016"/>
                      </a:lnTo>
                      <a:lnTo>
                        <a:pt x="3591" y="6041"/>
                      </a:lnTo>
                      <a:lnTo>
                        <a:pt x="3537" y="6066"/>
                      </a:lnTo>
                      <a:lnTo>
                        <a:pt x="3482" y="6089"/>
                      </a:lnTo>
                      <a:lnTo>
                        <a:pt x="3426" y="6110"/>
                      </a:lnTo>
                      <a:lnTo>
                        <a:pt x="3370" y="6131"/>
                      </a:lnTo>
                      <a:lnTo>
                        <a:pt x="3313" y="6150"/>
                      </a:lnTo>
                      <a:lnTo>
                        <a:pt x="3255" y="6168"/>
                      </a:lnTo>
                      <a:lnTo>
                        <a:pt x="3196" y="6184"/>
                      </a:lnTo>
                      <a:lnTo>
                        <a:pt x="3137" y="6199"/>
                      </a:lnTo>
                      <a:lnTo>
                        <a:pt x="3077" y="6212"/>
                      </a:lnTo>
                      <a:lnTo>
                        <a:pt x="3016" y="6224"/>
                      </a:lnTo>
                      <a:lnTo>
                        <a:pt x="2956" y="6234"/>
                      </a:lnTo>
                      <a:lnTo>
                        <a:pt x="2894" y="6241"/>
                      </a:lnTo>
                      <a:lnTo>
                        <a:pt x="2832" y="6249"/>
                      </a:lnTo>
                      <a:lnTo>
                        <a:pt x="2770" y="6255"/>
                      </a:lnTo>
                      <a:lnTo>
                        <a:pt x="2707" y="6259"/>
                      </a:lnTo>
                      <a:lnTo>
                        <a:pt x="2643" y="6260"/>
                      </a:lnTo>
                      <a:lnTo>
                        <a:pt x="2578" y="6262"/>
                      </a:lnTo>
                      <a:lnTo>
                        <a:pt x="2578" y="6262"/>
                      </a:lnTo>
                      <a:lnTo>
                        <a:pt x="2515" y="6260"/>
                      </a:lnTo>
                      <a:lnTo>
                        <a:pt x="2452" y="6259"/>
                      </a:lnTo>
                      <a:lnTo>
                        <a:pt x="2388" y="6255"/>
                      </a:lnTo>
                      <a:lnTo>
                        <a:pt x="2325" y="6249"/>
                      </a:lnTo>
                      <a:lnTo>
                        <a:pt x="2263" y="6243"/>
                      </a:lnTo>
                      <a:lnTo>
                        <a:pt x="2201" y="6234"/>
                      </a:lnTo>
                      <a:lnTo>
                        <a:pt x="2139" y="6224"/>
                      </a:lnTo>
                      <a:lnTo>
                        <a:pt x="2079" y="6212"/>
                      </a:lnTo>
                      <a:lnTo>
                        <a:pt x="2018" y="6199"/>
                      </a:lnTo>
                      <a:lnTo>
                        <a:pt x="1958" y="6184"/>
                      </a:lnTo>
                      <a:lnTo>
                        <a:pt x="1899" y="6168"/>
                      </a:lnTo>
                      <a:lnTo>
                        <a:pt x="1838" y="6151"/>
                      </a:lnTo>
                      <a:lnTo>
                        <a:pt x="1781" y="6132"/>
                      </a:lnTo>
                      <a:lnTo>
                        <a:pt x="1722" y="6112"/>
                      </a:lnTo>
                      <a:lnTo>
                        <a:pt x="1666" y="6091"/>
                      </a:lnTo>
                      <a:lnTo>
                        <a:pt x="1608" y="6067"/>
                      </a:lnTo>
                      <a:lnTo>
                        <a:pt x="1552" y="6044"/>
                      </a:lnTo>
                      <a:lnTo>
                        <a:pt x="1496" y="6019"/>
                      </a:lnTo>
                      <a:lnTo>
                        <a:pt x="1442" y="5992"/>
                      </a:lnTo>
                      <a:lnTo>
                        <a:pt x="1389" y="5964"/>
                      </a:lnTo>
                      <a:lnTo>
                        <a:pt x="1334" y="5935"/>
                      </a:lnTo>
                      <a:lnTo>
                        <a:pt x="1283" y="5904"/>
                      </a:lnTo>
                      <a:lnTo>
                        <a:pt x="1229" y="5873"/>
                      </a:lnTo>
                      <a:lnTo>
                        <a:pt x="1179" y="5840"/>
                      </a:lnTo>
                      <a:lnTo>
                        <a:pt x="1129" y="5806"/>
                      </a:lnTo>
                      <a:lnTo>
                        <a:pt x="1079" y="5771"/>
                      </a:lnTo>
                      <a:lnTo>
                        <a:pt x="1030" y="5734"/>
                      </a:lnTo>
                      <a:lnTo>
                        <a:pt x="983" y="5697"/>
                      </a:lnTo>
                      <a:lnTo>
                        <a:pt x="936" y="5659"/>
                      </a:lnTo>
                      <a:lnTo>
                        <a:pt x="890" y="5621"/>
                      </a:lnTo>
                      <a:lnTo>
                        <a:pt x="845" y="5579"/>
                      </a:lnTo>
                      <a:lnTo>
                        <a:pt x="800" y="5538"/>
                      </a:lnTo>
                      <a:lnTo>
                        <a:pt x="758" y="5495"/>
                      </a:lnTo>
                      <a:lnTo>
                        <a:pt x="715" y="5452"/>
                      </a:lnTo>
                      <a:lnTo>
                        <a:pt x="674" y="5408"/>
                      </a:lnTo>
                      <a:lnTo>
                        <a:pt x="634" y="5363"/>
                      </a:lnTo>
                      <a:lnTo>
                        <a:pt x="594" y="5317"/>
                      </a:lnTo>
                      <a:lnTo>
                        <a:pt x="556" y="5270"/>
                      </a:lnTo>
                      <a:lnTo>
                        <a:pt x="519" y="5221"/>
                      </a:lnTo>
                      <a:lnTo>
                        <a:pt x="484" y="5172"/>
                      </a:lnTo>
                      <a:lnTo>
                        <a:pt x="448" y="5122"/>
                      </a:lnTo>
                      <a:lnTo>
                        <a:pt x="414" y="5072"/>
                      </a:lnTo>
                      <a:lnTo>
                        <a:pt x="382" y="5020"/>
                      </a:lnTo>
                      <a:lnTo>
                        <a:pt x="351" y="4969"/>
                      </a:lnTo>
                      <a:lnTo>
                        <a:pt x="320" y="4916"/>
                      </a:lnTo>
                      <a:lnTo>
                        <a:pt x="292" y="4861"/>
                      </a:lnTo>
                      <a:lnTo>
                        <a:pt x="264" y="4808"/>
                      </a:lnTo>
                      <a:lnTo>
                        <a:pt x="237" y="4752"/>
                      </a:lnTo>
                      <a:lnTo>
                        <a:pt x="212" y="4696"/>
                      </a:lnTo>
                      <a:lnTo>
                        <a:pt x="189" y="4640"/>
                      </a:lnTo>
                      <a:lnTo>
                        <a:pt x="165" y="4583"/>
                      </a:lnTo>
                      <a:lnTo>
                        <a:pt x="144" y="4525"/>
                      </a:lnTo>
                      <a:lnTo>
                        <a:pt x="125" y="4468"/>
                      </a:lnTo>
                      <a:lnTo>
                        <a:pt x="106" y="4409"/>
                      </a:lnTo>
                      <a:lnTo>
                        <a:pt x="90" y="4348"/>
                      </a:lnTo>
                      <a:lnTo>
                        <a:pt x="74" y="4289"/>
                      </a:lnTo>
                      <a:lnTo>
                        <a:pt x="59" y="4227"/>
                      </a:lnTo>
                      <a:lnTo>
                        <a:pt x="47" y="4167"/>
                      </a:lnTo>
                      <a:lnTo>
                        <a:pt x="35" y="4105"/>
                      </a:lnTo>
                      <a:lnTo>
                        <a:pt x="25" y="4043"/>
                      </a:lnTo>
                      <a:lnTo>
                        <a:pt x="18" y="3981"/>
                      </a:lnTo>
                      <a:lnTo>
                        <a:pt x="10" y="3918"/>
                      </a:lnTo>
                      <a:lnTo>
                        <a:pt x="6" y="3854"/>
                      </a:lnTo>
                      <a:lnTo>
                        <a:pt x="3" y="3791"/>
                      </a:lnTo>
                      <a:lnTo>
                        <a:pt x="3" y="3791"/>
                      </a:lnTo>
                      <a:lnTo>
                        <a:pt x="0" y="3735"/>
                      </a:lnTo>
                      <a:lnTo>
                        <a:pt x="0" y="3682"/>
                      </a:lnTo>
                      <a:lnTo>
                        <a:pt x="1" y="3627"/>
                      </a:lnTo>
                      <a:lnTo>
                        <a:pt x="4" y="3574"/>
                      </a:lnTo>
                      <a:lnTo>
                        <a:pt x="9" y="3521"/>
                      </a:lnTo>
                      <a:lnTo>
                        <a:pt x="13" y="3468"/>
                      </a:lnTo>
                      <a:lnTo>
                        <a:pt x="21" y="3416"/>
                      </a:lnTo>
                      <a:lnTo>
                        <a:pt x="28" y="3365"/>
                      </a:lnTo>
                      <a:lnTo>
                        <a:pt x="37" y="3315"/>
                      </a:lnTo>
                      <a:lnTo>
                        <a:pt x="47" y="3263"/>
                      </a:lnTo>
                      <a:lnTo>
                        <a:pt x="59" y="3213"/>
                      </a:lnTo>
                      <a:lnTo>
                        <a:pt x="71" y="3164"/>
                      </a:lnTo>
                      <a:lnTo>
                        <a:pt x="84" y="3114"/>
                      </a:lnTo>
                      <a:lnTo>
                        <a:pt x="99" y="3065"/>
                      </a:lnTo>
                      <a:lnTo>
                        <a:pt x="113" y="3017"/>
                      </a:lnTo>
                      <a:lnTo>
                        <a:pt x="130" y="2968"/>
                      </a:lnTo>
                      <a:lnTo>
                        <a:pt x="147" y="2921"/>
                      </a:lnTo>
                      <a:lnTo>
                        <a:pt x="165" y="2874"/>
                      </a:lnTo>
                      <a:lnTo>
                        <a:pt x="203" y="2779"/>
                      </a:lnTo>
                      <a:lnTo>
                        <a:pt x="245" y="2686"/>
                      </a:lnTo>
                      <a:lnTo>
                        <a:pt x="289" y="2594"/>
                      </a:lnTo>
                      <a:lnTo>
                        <a:pt x="335" y="2504"/>
                      </a:lnTo>
                      <a:lnTo>
                        <a:pt x="383" y="2414"/>
                      </a:lnTo>
                      <a:lnTo>
                        <a:pt x="433" y="2325"/>
                      </a:lnTo>
                      <a:lnTo>
                        <a:pt x="485" y="2237"/>
                      </a:lnTo>
                      <a:lnTo>
                        <a:pt x="1706" y="0"/>
                      </a:lnTo>
                      <a:lnTo>
                        <a:pt x="1706" y="0"/>
                      </a:lnTo>
                      <a:lnTo>
                        <a:pt x="1666" y="47"/>
                      </a:lnTo>
                      <a:lnTo>
                        <a:pt x="1627" y="96"/>
                      </a:lnTo>
                      <a:lnTo>
                        <a:pt x="1589" y="146"/>
                      </a:lnTo>
                      <a:lnTo>
                        <a:pt x="1552" y="196"/>
                      </a:lnTo>
                      <a:lnTo>
                        <a:pt x="1517" y="246"/>
                      </a:lnTo>
                      <a:lnTo>
                        <a:pt x="1483" y="299"/>
                      </a:lnTo>
                      <a:lnTo>
                        <a:pt x="1449" y="351"/>
                      </a:lnTo>
                      <a:lnTo>
                        <a:pt x="1418" y="406"/>
                      </a:lnTo>
                      <a:lnTo>
                        <a:pt x="1387" y="460"/>
                      </a:lnTo>
                      <a:lnTo>
                        <a:pt x="1358" y="515"/>
                      </a:lnTo>
                      <a:lnTo>
                        <a:pt x="1330" y="571"/>
                      </a:lnTo>
                      <a:lnTo>
                        <a:pt x="1302" y="627"/>
                      </a:lnTo>
                      <a:lnTo>
                        <a:pt x="1277" y="684"/>
                      </a:lnTo>
                      <a:lnTo>
                        <a:pt x="1252" y="743"/>
                      </a:lnTo>
                      <a:lnTo>
                        <a:pt x="1229" y="802"/>
                      </a:lnTo>
                      <a:lnTo>
                        <a:pt x="1207" y="861"/>
                      </a:lnTo>
                      <a:lnTo>
                        <a:pt x="1187" y="922"/>
                      </a:lnTo>
                      <a:lnTo>
                        <a:pt x="1168" y="984"/>
                      </a:lnTo>
                      <a:lnTo>
                        <a:pt x="1151" y="1044"/>
                      </a:lnTo>
                      <a:lnTo>
                        <a:pt x="1135" y="1106"/>
                      </a:lnTo>
                      <a:lnTo>
                        <a:pt x="1120" y="1169"/>
                      </a:lnTo>
                      <a:lnTo>
                        <a:pt x="1107" y="1233"/>
                      </a:lnTo>
                      <a:lnTo>
                        <a:pt x="1095" y="1296"/>
                      </a:lnTo>
                      <a:lnTo>
                        <a:pt x="1084" y="1361"/>
                      </a:lnTo>
                      <a:lnTo>
                        <a:pt x="1075" y="1426"/>
                      </a:lnTo>
                      <a:lnTo>
                        <a:pt x="1067" y="1492"/>
                      </a:lnTo>
                      <a:lnTo>
                        <a:pt x="1063" y="1557"/>
                      </a:lnTo>
                      <a:lnTo>
                        <a:pt x="1058" y="1623"/>
                      </a:lnTo>
                      <a:lnTo>
                        <a:pt x="1056" y="1691"/>
                      </a:lnTo>
                      <a:lnTo>
                        <a:pt x="1054" y="1758"/>
                      </a:lnTo>
                      <a:lnTo>
                        <a:pt x="1054" y="1825"/>
                      </a:lnTo>
                      <a:lnTo>
                        <a:pt x="1057" y="1893"/>
                      </a:lnTo>
                      <a:lnTo>
                        <a:pt x="1057" y="1893"/>
                      </a:lnTo>
                      <a:lnTo>
                        <a:pt x="1061" y="1967"/>
                      </a:lnTo>
                      <a:lnTo>
                        <a:pt x="1066" y="2039"/>
                      </a:lnTo>
                      <a:lnTo>
                        <a:pt x="1075" y="2111"/>
                      </a:lnTo>
                      <a:lnTo>
                        <a:pt x="1084" y="2182"/>
                      </a:lnTo>
                      <a:lnTo>
                        <a:pt x="1095" y="2253"/>
                      </a:lnTo>
                      <a:lnTo>
                        <a:pt x="1107" y="2324"/>
                      </a:lnTo>
                      <a:lnTo>
                        <a:pt x="1122" y="2393"/>
                      </a:lnTo>
                      <a:lnTo>
                        <a:pt x="1138" y="2462"/>
                      </a:lnTo>
                      <a:lnTo>
                        <a:pt x="1156" y="2532"/>
                      </a:lnTo>
                      <a:lnTo>
                        <a:pt x="1175" y="2599"/>
                      </a:lnTo>
                      <a:lnTo>
                        <a:pt x="1197" y="2666"/>
                      </a:lnTo>
                      <a:lnTo>
                        <a:pt x="1219" y="2732"/>
                      </a:lnTo>
                      <a:lnTo>
                        <a:pt x="1243" y="2799"/>
                      </a:lnTo>
                      <a:lnTo>
                        <a:pt x="1269" y="2863"/>
                      </a:lnTo>
                      <a:lnTo>
                        <a:pt x="1296" y="2928"/>
                      </a:lnTo>
                      <a:lnTo>
                        <a:pt x="1325" y="2992"/>
                      </a:lnTo>
                      <a:lnTo>
                        <a:pt x="1355" y="3055"/>
                      </a:lnTo>
                      <a:lnTo>
                        <a:pt x="1387" y="3117"/>
                      </a:lnTo>
                      <a:lnTo>
                        <a:pt x="1420" y="3179"/>
                      </a:lnTo>
                      <a:lnTo>
                        <a:pt x="1455" y="3238"/>
                      </a:lnTo>
                      <a:lnTo>
                        <a:pt x="1490" y="3298"/>
                      </a:lnTo>
                      <a:lnTo>
                        <a:pt x="1527" y="3357"/>
                      </a:lnTo>
                      <a:lnTo>
                        <a:pt x="1566" y="3415"/>
                      </a:lnTo>
                      <a:lnTo>
                        <a:pt x="1605" y="3471"/>
                      </a:lnTo>
                      <a:lnTo>
                        <a:pt x="1647" y="3527"/>
                      </a:lnTo>
                      <a:lnTo>
                        <a:pt x="1689" y="3581"/>
                      </a:lnTo>
                      <a:lnTo>
                        <a:pt x="1732" y="3636"/>
                      </a:lnTo>
                      <a:lnTo>
                        <a:pt x="1776" y="3689"/>
                      </a:lnTo>
                      <a:lnTo>
                        <a:pt x="1824" y="3741"/>
                      </a:lnTo>
                      <a:lnTo>
                        <a:pt x="1871" y="3791"/>
                      </a:lnTo>
                      <a:lnTo>
                        <a:pt x="1918" y="3841"/>
                      </a:lnTo>
                      <a:lnTo>
                        <a:pt x="1968" y="3888"/>
                      </a:lnTo>
                      <a:lnTo>
                        <a:pt x="2018" y="3935"/>
                      </a:lnTo>
                      <a:lnTo>
                        <a:pt x="2070" y="3982"/>
                      </a:lnTo>
                      <a:lnTo>
                        <a:pt x="2123" y="4027"/>
                      </a:lnTo>
                      <a:lnTo>
                        <a:pt x="2176" y="4071"/>
                      </a:lnTo>
                      <a:lnTo>
                        <a:pt x="2230" y="4114"/>
                      </a:lnTo>
                      <a:lnTo>
                        <a:pt x="2286" y="4155"/>
                      </a:lnTo>
                      <a:lnTo>
                        <a:pt x="2342" y="4195"/>
                      </a:lnTo>
                      <a:lnTo>
                        <a:pt x="2400" y="4233"/>
                      </a:lnTo>
                      <a:lnTo>
                        <a:pt x="2457" y="4270"/>
                      </a:lnTo>
                      <a:lnTo>
                        <a:pt x="2518" y="4307"/>
                      </a:lnTo>
                      <a:lnTo>
                        <a:pt x="2577" y="4341"/>
                      </a:lnTo>
                      <a:lnTo>
                        <a:pt x="2639" y="4375"/>
                      </a:lnTo>
                      <a:lnTo>
                        <a:pt x="2701" y="4406"/>
                      </a:lnTo>
                      <a:lnTo>
                        <a:pt x="2763" y="4437"/>
                      </a:lnTo>
                      <a:lnTo>
                        <a:pt x="2826" y="4466"/>
                      </a:lnTo>
                      <a:lnTo>
                        <a:pt x="2889" y="4493"/>
                      </a:lnTo>
                      <a:lnTo>
                        <a:pt x="2954" y="4519"/>
                      </a:lnTo>
                      <a:lnTo>
                        <a:pt x="3021" y="4544"/>
                      </a:lnTo>
                      <a:lnTo>
                        <a:pt x="3087" y="4566"/>
                      </a:lnTo>
                      <a:lnTo>
                        <a:pt x="3153" y="4588"/>
                      </a:lnTo>
                      <a:lnTo>
                        <a:pt x="3221" y="4608"/>
                      </a:lnTo>
                      <a:lnTo>
                        <a:pt x="3289" y="4627"/>
                      </a:lnTo>
                      <a:lnTo>
                        <a:pt x="3357" y="4643"/>
                      </a:lnTo>
                      <a:lnTo>
                        <a:pt x="3426" y="4658"/>
                      </a:lnTo>
                      <a:lnTo>
                        <a:pt x="3497" y="4671"/>
                      </a:lnTo>
                      <a:lnTo>
                        <a:pt x="3566" y="4683"/>
                      </a:lnTo>
                      <a:lnTo>
                        <a:pt x="3637" y="4692"/>
                      </a:lnTo>
                      <a:lnTo>
                        <a:pt x="3708" y="4701"/>
                      </a:lnTo>
                      <a:lnTo>
                        <a:pt x="3780" y="4706"/>
                      </a:lnTo>
                      <a:lnTo>
                        <a:pt x="3852" y="4711"/>
                      </a:lnTo>
                      <a:lnTo>
                        <a:pt x="3924" y="4714"/>
                      </a:lnTo>
                      <a:lnTo>
                        <a:pt x="3997" y="4715"/>
                      </a:lnTo>
                      <a:lnTo>
                        <a:pt x="3997" y="4715"/>
                      </a:lnTo>
                      <a:lnTo>
                        <a:pt x="4070" y="4714"/>
                      </a:lnTo>
                      <a:lnTo>
                        <a:pt x="4142" y="4711"/>
                      </a:lnTo>
                      <a:lnTo>
                        <a:pt x="4215" y="4706"/>
                      </a:lnTo>
                      <a:lnTo>
                        <a:pt x="4287" y="4701"/>
                      </a:lnTo>
                      <a:lnTo>
                        <a:pt x="4358" y="4692"/>
                      </a:lnTo>
                      <a:lnTo>
                        <a:pt x="4427" y="4683"/>
                      </a:lnTo>
                      <a:lnTo>
                        <a:pt x="4498" y="4671"/>
                      </a:lnTo>
                      <a:lnTo>
                        <a:pt x="4566" y="4658"/>
                      </a:lnTo>
                      <a:lnTo>
                        <a:pt x="4635" y="4642"/>
                      </a:lnTo>
                      <a:lnTo>
                        <a:pt x="4701" y="4625"/>
                      </a:lnTo>
                      <a:lnTo>
                        <a:pt x="4769" y="4606"/>
                      </a:lnTo>
                      <a:lnTo>
                        <a:pt x="4835" y="4587"/>
                      </a:lnTo>
                      <a:lnTo>
                        <a:pt x="4900" y="4565"/>
                      </a:lnTo>
                      <a:lnTo>
                        <a:pt x="4965" y="4543"/>
                      </a:lnTo>
                      <a:lnTo>
                        <a:pt x="5028" y="4518"/>
                      </a:lnTo>
                      <a:lnTo>
                        <a:pt x="5090" y="4491"/>
                      </a:lnTo>
                      <a:lnTo>
                        <a:pt x="5152" y="4463"/>
                      </a:lnTo>
                      <a:lnTo>
                        <a:pt x="5214" y="4434"/>
                      </a:lnTo>
                      <a:lnTo>
                        <a:pt x="5275" y="4403"/>
                      </a:lnTo>
                      <a:lnTo>
                        <a:pt x="5334" y="4372"/>
                      </a:lnTo>
                      <a:lnTo>
                        <a:pt x="5391" y="4338"/>
                      </a:lnTo>
                      <a:lnTo>
                        <a:pt x="5449" y="4302"/>
                      </a:lnTo>
                      <a:lnTo>
                        <a:pt x="5505" y="4266"/>
                      </a:lnTo>
                      <a:lnTo>
                        <a:pt x="5561" y="4229"/>
                      </a:lnTo>
                      <a:lnTo>
                        <a:pt x="5615" y="4189"/>
                      </a:lnTo>
                      <a:lnTo>
                        <a:pt x="5668" y="4149"/>
                      </a:lnTo>
                      <a:lnTo>
                        <a:pt x="5720" y="4108"/>
                      </a:lnTo>
                      <a:lnTo>
                        <a:pt x="5772" y="4065"/>
                      </a:lnTo>
                      <a:lnTo>
                        <a:pt x="5822" y="4021"/>
                      </a:lnTo>
                      <a:lnTo>
                        <a:pt x="5870" y="3975"/>
                      </a:lnTo>
                      <a:lnTo>
                        <a:pt x="5917" y="3928"/>
                      </a:lnTo>
                      <a:lnTo>
                        <a:pt x="5965" y="3881"/>
                      </a:lnTo>
                      <a:lnTo>
                        <a:pt x="4302" y="5531"/>
                      </a:lnTo>
                      <a:close/>
                    </a:path>
                  </a:pathLst>
                </a:custGeom>
                <a:gradFill flip="none" rotWithShape="1">
                  <a:gsLst>
                    <a:gs pos="66000">
                      <a:schemeClr val="accent2">
                        <a:lumMod val="60000"/>
                        <a:lumOff val="4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  <a:gs pos="57000">
                      <a:schemeClr val="accent2">
                        <a:lumMod val="75000"/>
                      </a:schemeClr>
                    </a:gs>
                    <a:gs pos="96000">
                      <a:schemeClr val="accent2">
                        <a:lumMod val="40000"/>
                        <a:lumOff val="60000"/>
                      </a:schemeClr>
                    </a:gs>
                  </a:gsLst>
                  <a:lin ang="13260000" scaled="0"/>
                  <a:tileRect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26" name="Freeform 12">
                  <a:extLst>
                    <a:ext uri="{FF2B5EF4-FFF2-40B4-BE49-F238E27FC236}">
                      <a16:creationId xmlns:a16="http://schemas.microsoft.com/office/drawing/2014/main" xmlns="" id="{3CD4590C-253D-2345-BAF3-738624C85C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5062" y="407988"/>
                  <a:ext cx="2586038" cy="2505075"/>
                </a:xfrm>
                <a:custGeom>
                  <a:avLst/>
                  <a:gdLst/>
                  <a:ahLst/>
                  <a:cxnLst>
                    <a:cxn ang="0">
                      <a:pos x="372" y="914"/>
                    </a:cxn>
                    <a:cxn ang="0">
                      <a:pos x="605" y="734"/>
                    </a:cxn>
                    <a:cxn ang="0">
                      <a:pos x="857" y="586"/>
                    </a:cxn>
                    <a:cxn ang="0">
                      <a:pos x="1125" y="471"/>
                    </a:cxn>
                    <a:cxn ang="0">
                      <a:pos x="1407" y="389"/>
                    </a:cxn>
                    <a:cxn ang="0">
                      <a:pos x="1702" y="343"/>
                    </a:cxn>
                    <a:cxn ang="0">
                      <a:pos x="1943" y="331"/>
                    </a:cxn>
                    <a:cxn ang="0">
                      <a:pos x="2263" y="351"/>
                    </a:cxn>
                    <a:cxn ang="0">
                      <a:pos x="2573" y="410"/>
                    </a:cxn>
                    <a:cxn ang="0">
                      <a:pos x="2868" y="505"/>
                    </a:cxn>
                    <a:cxn ang="0">
                      <a:pos x="3149" y="634"/>
                    </a:cxn>
                    <a:cxn ang="0">
                      <a:pos x="3412" y="793"/>
                    </a:cxn>
                    <a:cxn ang="0">
                      <a:pos x="3653" y="982"/>
                    </a:cxn>
                    <a:cxn ang="0">
                      <a:pos x="3873" y="1197"/>
                    </a:cxn>
                    <a:cxn ang="0">
                      <a:pos x="4066" y="1436"/>
                    </a:cxn>
                    <a:cxn ang="0">
                      <a:pos x="4231" y="1695"/>
                    </a:cxn>
                    <a:cxn ang="0">
                      <a:pos x="4364" y="1974"/>
                    </a:cxn>
                    <a:cxn ang="0">
                      <a:pos x="4466" y="2270"/>
                    </a:cxn>
                    <a:cxn ang="0">
                      <a:pos x="4529" y="2578"/>
                    </a:cxn>
                    <a:cxn ang="0">
                      <a:pos x="4553" y="2835"/>
                    </a:cxn>
                    <a:cxn ang="0">
                      <a:pos x="4548" y="3125"/>
                    </a:cxn>
                    <a:cxn ang="0">
                      <a:pos x="4511" y="3408"/>
                    </a:cxn>
                    <a:cxn ang="0">
                      <a:pos x="4442" y="3683"/>
                    </a:cxn>
                    <a:cxn ang="0">
                      <a:pos x="4340" y="3944"/>
                    </a:cxn>
                    <a:cxn ang="0">
                      <a:pos x="4208" y="4191"/>
                    </a:cxn>
                    <a:cxn ang="0">
                      <a:pos x="4046" y="4423"/>
                    </a:cxn>
                    <a:cxn ang="0">
                      <a:pos x="4256" y="4688"/>
                    </a:cxn>
                    <a:cxn ang="0">
                      <a:pos x="4445" y="4436"/>
                    </a:cxn>
                    <a:cxn ang="0">
                      <a:pos x="4603" y="4162"/>
                    </a:cxn>
                    <a:cxn ang="0">
                      <a:pos x="4728" y="3867"/>
                    </a:cxn>
                    <a:cxn ang="0">
                      <a:pos x="4819" y="3556"/>
                    </a:cxn>
                    <a:cxn ang="0">
                      <a:pos x="4873" y="3229"/>
                    </a:cxn>
                    <a:cxn ang="0">
                      <a:pos x="4887" y="2889"/>
                    </a:cxn>
                    <a:cxn ang="0">
                      <a:pos x="4867" y="2603"/>
                    </a:cxn>
                    <a:cxn ang="0">
                      <a:pos x="4803" y="2251"/>
                    </a:cxn>
                    <a:cxn ang="0">
                      <a:pos x="4699" y="1915"/>
                    </a:cxn>
                    <a:cxn ang="0">
                      <a:pos x="4554" y="1598"/>
                    </a:cxn>
                    <a:cxn ang="0">
                      <a:pos x="4376" y="1300"/>
                    </a:cxn>
                    <a:cxn ang="0">
                      <a:pos x="4165" y="1026"/>
                    </a:cxn>
                    <a:cxn ang="0">
                      <a:pos x="3923" y="778"/>
                    </a:cxn>
                    <a:cxn ang="0">
                      <a:pos x="3655" y="560"/>
                    </a:cxn>
                    <a:cxn ang="0">
                      <a:pos x="3364" y="373"/>
                    </a:cxn>
                    <a:cxn ang="0">
                      <a:pos x="3052" y="221"/>
                    </a:cxn>
                    <a:cxn ang="0">
                      <a:pos x="2720" y="106"/>
                    </a:cxn>
                    <a:cxn ang="0">
                      <a:pos x="2375" y="32"/>
                    </a:cxn>
                    <a:cxn ang="0">
                      <a:pos x="2017" y="0"/>
                    </a:cxn>
                    <a:cxn ang="0">
                      <a:pos x="1730" y="7"/>
                    </a:cxn>
                    <a:cxn ang="0">
                      <a:pos x="1383" y="56"/>
                    </a:cxn>
                    <a:cxn ang="0">
                      <a:pos x="1054" y="144"/>
                    </a:cxn>
                    <a:cxn ang="0">
                      <a:pos x="745" y="272"/>
                    </a:cxn>
                    <a:cxn ang="0">
                      <a:pos x="456" y="435"/>
                    </a:cxn>
                    <a:cxn ang="0">
                      <a:pos x="192" y="631"/>
                    </a:cxn>
                    <a:cxn ang="0">
                      <a:pos x="244" y="1036"/>
                    </a:cxn>
                  </a:cxnLst>
                  <a:rect l="0" t="0" r="r" b="b"/>
                  <a:pathLst>
                    <a:path w="4887" h="4735">
                      <a:moveTo>
                        <a:pt x="244" y="1036"/>
                      </a:moveTo>
                      <a:lnTo>
                        <a:pt x="244" y="1036"/>
                      </a:lnTo>
                      <a:lnTo>
                        <a:pt x="285" y="993"/>
                      </a:lnTo>
                      <a:lnTo>
                        <a:pt x="329" y="954"/>
                      </a:lnTo>
                      <a:lnTo>
                        <a:pt x="372" y="914"/>
                      </a:lnTo>
                      <a:lnTo>
                        <a:pt x="417" y="875"/>
                      </a:lnTo>
                      <a:lnTo>
                        <a:pt x="463" y="837"/>
                      </a:lnTo>
                      <a:lnTo>
                        <a:pt x="509" y="802"/>
                      </a:lnTo>
                      <a:lnTo>
                        <a:pt x="556" y="768"/>
                      </a:lnTo>
                      <a:lnTo>
                        <a:pt x="605" y="734"/>
                      </a:lnTo>
                      <a:lnTo>
                        <a:pt x="653" y="701"/>
                      </a:lnTo>
                      <a:lnTo>
                        <a:pt x="703" y="670"/>
                      </a:lnTo>
                      <a:lnTo>
                        <a:pt x="754" y="641"/>
                      </a:lnTo>
                      <a:lnTo>
                        <a:pt x="805" y="613"/>
                      </a:lnTo>
                      <a:lnTo>
                        <a:pt x="857" y="586"/>
                      </a:lnTo>
                      <a:lnTo>
                        <a:pt x="908" y="560"/>
                      </a:lnTo>
                      <a:lnTo>
                        <a:pt x="961" y="536"/>
                      </a:lnTo>
                      <a:lnTo>
                        <a:pt x="1016" y="513"/>
                      </a:lnTo>
                      <a:lnTo>
                        <a:pt x="1071" y="491"/>
                      </a:lnTo>
                      <a:lnTo>
                        <a:pt x="1125" y="471"/>
                      </a:lnTo>
                      <a:lnTo>
                        <a:pt x="1180" y="452"/>
                      </a:lnTo>
                      <a:lnTo>
                        <a:pt x="1236" y="435"/>
                      </a:lnTo>
                      <a:lnTo>
                        <a:pt x="1293" y="418"/>
                      </a:lnTo>
                      <a:lnTo>
                        <a:pt x="1349" y="402"/>
                      </a:lnTo>
                      <a:lnTo>
                        <a:pt x="1407" y="389"/>
                      </a:lnTo>
                      <a:lnTo>
                        <a:pt x="1466" y="377"/>
                      </a:lnTo>
                      <a:lnTo>
                        <a:pt x="1523" y="367"/>
                      </a:lnTo>
                      <a:lnTo>
                        <a:pt x="1582" y="356"/>
                      </a:lnTo>
                      <a:lnTo>
                        <a:pt x="1643" y="349"/>
                      </a:lnTo>
                      <a:lnTo>
                        <a:pt x="1702" y="343"/>
                      </a:lnTo>
                      <a:lnTo>
                        <a:pt x="1762" y="337"/>
                      </a:lnTo>
                      <a:lnTo>
                        <a:pt x="1822" y="334"/>
                      </a:lnTo>
                      <a:lnTo>
                        <a:pt x="1883" y="331"/>
                      </a:lnTo>
                      <a:lnTo>
                        <a:pt x="1943" y="331"/>
                      </a:lnTo>
                      <a:lnTo>
                        <a:pt x="1943" y="331"/>
                      </a:lnTo>
                      <a:lnTo>
                        <a:pt x="2008" y="331"/>
                      </a:lnTo>
                      <a:lnTo>
                        <a:pt x="2073" y="334"/>
                      </a:lnTo>
                      <a:lnTo>
                        <a:pt x="2136" y="339"/>
                      </a:lnTo>
                      <a:lnTo>
                        <a:pt x="2200" y="345"/>
                      </a:lnTo>
                      <a:lnTo>
                        <a:pt x="2263" y="351"/>
                      </a:lnTo>
                      <a:lnTo>
                        <a:pt x="2327" y="359"/>
                      </a:lnTo>
                      <a:lnTo>
                        <a:pt x="2388" y="370"/>
                      </a:lnTo>
                      <a:lnTo>
                        <a:pt x="2450" y="382"/>
                      </a:lnTo>
                      <a:lnTo>
                        <a:pt x="2511" y="395"/>
                      </a:lnTo>
                      <a:lnTo>
                        <a:pt x="2573" y="410"/>
                      </a:lnTo>
                      <a:lnTo>
                        <a:pt x="2632" y="426"/>
                      </a:lnTo>
                      <a:lnTo>
                        <a:pt x="2692" y="443"/>
                      </a:lnTo>
                      <a:lnTo>
                        <a:pt x="2751" y="463"/>
                      </a:lnTo>
                      <a:lnTo>
                        <a:pt x="2810" y="483"/>
                      </a:lnTo>
                      <a:lnTo>
                        <a:pt x="2868" y="505"/>
                      </a:lnTo>
                      <a:lnTo>
                        <a:pt x="2925" y="527"/>
                      </a:lnTo>
                      <a:lnTo>
                        <a:pt x="2983" y="553"/>
                      </a:lnTo>
                      <a:lnTo>
                        <a:pt x="3039" y="578"/>
                      </a:lnTo>
                      <a:lnTo>
                        <a:pt x="3095" y="606"/>
                      </a:lnTo>
                      <a:lnTo>
                        <a:pt x="3149" y="634"/>
                      </a:lnTo>
                      <a:lnTo>
                        <a:pt x="3202" y="663"/>
                      </a:lnTo>
                      <a:lnTo>
                        <a:pt x="3257" y="694"/>
                      </a:lnTo>
                      <a:lnTo>
                        <a:pt x="3308" y="727"/>
                      </a:lnTo>
                      <a:lnTo>
                        <a:pt x="3360" y="759"/>
                      </a:lnTo>
                      <a:lnTo>
                        <a:pt x="3412" y="793"/>
                      </a:lnTo>
                      <a:lnTo>
                        <a:pt x="3462" y="828"/>
                      </a:lnTo>
                      <a:lnTo>
                        <a:pt x="3510" y="865"/>
                      </a:lnTo>
                      <a:lnTo>
                        <a:pt x="3559" y="903"/>
                      </a:lnTo>
                      <a:lnTo>
                        <a:pt x="3608" y="942"/>
                      </a:lnTo>
                      <a:lnTo>
                        <a:pt x="3653" y="982"/>
                      </a:lnTo>
                      <a:lnTo>
                        <a:pt x="3699" y="1023"/>
                      </a:lnTo>
                      <a:lnTo>
                        <a:pt x="3745" y="1066"/>
                      </a:lnTo>
                      <a:lnTo>
                        <a:pt x="3788" y="1108"/>
                      </a:lnTo>
                      <a:lnTo>
                        <a:pt x="3830" y="1153"/>
                      </a:lnTo>
                      <a:lnTo>
                        <a:pt x="3873" y="1197"/>
                      </a:lnTo>
                      <a:lnTo>
                        <a:pt x="3913" y="1243"/>
                      </a:lnTo>
                      <a:lnTo>
                        <a:pt x="3953" y="1290"/>
                      </a:lnTo>
                      <a:lnTo>
                        <a:pt x="3992" y="1337"/>
                      </a:lnTo>
                      <a:lnTo>
                        <a:pt x="4029" y="1386"/>
                      </a:lnTo>
                      <a:lnTo>
                        <a:pt x="4066" y="1436"/>
                      </a:lnTo>
                      <a:lnTo>
                        <a:pt x="4102" y="1486"/>
                      </a:lnTo>
                      <a:lnTo>
                        <a:pt x="4135" y="1537"/>
                      </a:lnTo>
                      <a:lnTo>
                        <a:pt x="4168" y="1589"/>
                      </a:lnTo>
                      <a:lnTo>
                        <a:pt x="4200" y="1642"/>
                      </a:lnTo>
                      <a:lnTo>
                        <a:pt x="4231" y="1695"/>
                      </a:lnTo>
                      <a:lnTo>
                        <a:pt x="4259" y="1750"/>
                      </a:lnTo>
                      <a:lnTo>
                        <a:pt x="4289" y="1806"/>
                      </a:lnTo>
                      <a:lnTo>
                        <a:pt x="4315" y="1860"/>
                      </a:lnTo>
                      <a:lnTo>
                        <a:pt x="4340" y="1918"/>
                      </a:lnTo>
                      <a:lnTo>
                        <a:pt x="4364" y="1974"/>
                      </a:lnTo>
                      <a:lnTo>
                        <a:pt x="4388" y="2033"/>
                      </a:lnTo>
                      <a:lnTo>
                        <a:pt x="4410" y="2090"/>
                      </a:lnTo>
                      <a:lnTo>
                        <a:pt x="4429" y="2149"/>
                      </a:lnTo>
                      <a:lnTo>
                        <a:pt x="4448" y="2210"/>
                      </a:lnTo>
                      <a:lnTo>
                        <a:pt x="4466" y="2270"/>
                      </a:lnTo>
                      <a:lnTo>
                        <a:pt x="4480" y="2331"/>
                      </a:lnTo>
                      <a:lnTo>
                        <a:pt x="4495" y="2391"/>
                      </a:lnTo>
                      <a:lnTo>
                        <a:pt x="4508" y="2453"/>
                      </a:lnTo>
                      <a:lnTo>
                        <a:pt x="4520" y="2516"/>
                      </a:lnTo>
                      <a:lnTo>
                        <a:pt x="4529" y="2578"/>
                      </a:lnTo>
                      <a:lnTo>
                        <a:pt x="4538" y="2642"/>
                      </a:lnTo>
                      <a:lnTo>
                        <a:pt x="4545" y="2705"/>
                      </a:lnTo>
                      <a:lnTo>
                        <a:pt x="4550" y="2770"/>
                      </a:lnTo>
                      <a:lnTo>
                        <a:pt x="4553" y="2835"/>
                      </a:lnTo>
                      <a:lnTo>
                        <a:pt x="4553" y="2835"/>
                      </a:lnTo>
                      <a:lnTo>
                        <a:pt x="4556" y="2892"/>
                      </a:lnTo>
                      <a:lnTo>
                        <a:pt x="4556" y="2951"/>
                      </a:lnTo>
                      <a:lnTo>
                        <a:pt x="4554" y="3010"/>
                      </a:lnTo>
                      <a:lnTo>
                        <a:pt x="4553" y="3068"/>
                      </a:lnTo>
                      <a:lnTo>
                        <a:pt x="4548" y="3125"/>
                      </a:lnTo>
                      <a:lnTo>
                        <a:pt x="4544" y="3183"/>
                      </a:lnTo>
                      <a:lnTo>
                        <a:pt x="4538" y="3240"/>
                      </a:lnTo>
                      <a:lnTo>
                        <a:pt x="4531" y="3296"/>
                      </a:lnTo>
                      <a:lnTo>
                        <a:pt x="4522" y="3352"/>
                      </a:lnTo>
                      <a:lnTo>
                        <a:pt x="4511" y="3408"/>
                      </a:lnTo>
                      <a:lnTo>
                        <a:pt x="4500" y="3464"/>
                      </a:lnTo>
                      <a:lnTo>
                        <a:pt x="4488" y="3519"/>
                      </a:lnTo>
                      <a:lnTo>
                        <a:pt x="4473" y="3574"/>
                      </a:lnTo>
                      <a:lnTo>
                        <a:pt x="4458" y="3628"/>
                      </a:lnTo>
                      <a:lnTo>
                        <a:pt x="4442" y="3683"/>
                      </a:lnTo>
                      <a:lnTo>
                        <a:pt x="4424" y="3736"/>
                      </a:lnTo>
                      <a:lnTo>
                        <a:pt x="4405" y="3789"/>
                      </a:lnTo>
                      <a:lnTo>
                        <a:pt x="4385" y="3840"/>
                      </a:lnTo>
                      <a:lnTo>
                        <a:pt x="4362" y="3894"/>
                      </a:lnTo>
                      <a:lnTo>
                        <a:pt x="4340" y="3944"/>
                      </a:lnTo>
                      <a:lnTo>
                        <a:pt x="4317" y="3995"/>
                      </a:lnTo>
                      <a:lnTo>
                        <a:pt x="4290" y="4045"/>
                      </a:lnTo>
                      <a:lnTo>
                        <a:pt x="4264" y="4094"/>
                      </a:lnTo>
                      <a:lnTo>
                        <a:pt x="4237" y="4143"/>
                      </a:lnTo>
                      <a:lnTo>
                        <a:pt x="4208" y="4191"/>
                      </a:lnTo>
                      <a:lnTo>
                        <a:pt x="4178" y="4239"/>
                      </a:lnTo>
                      <a:lnTo>
                        <a:pt x="4147" y="4286"/>
                      </a:lnTo>
                      <a:lnTo>
                        <a:pt x="4115" y="4333"/>
                      </a:lnTo>
                      <a:lnTo>
                        <a:pt x="4081" y="4377"/>
                      </a:lnTo>
                      <a:lnTo>
                        <a:pt x="4046" y="4423"/>
                      </a:lnTo>
                      <a:lnTo>
                        <a:pt x="4010" y="4467"/>
                      </a:lnTo>
                      <a:lnTo>
                        <a:pt x="3973" y="4510"/>
                      </a:lnTo>
                      <a:lnTo>
                        <a:pt x="4215" y="4735"/>
                      </a:lnTo>
                      <a:lnTo>
                        <a:pt x="4215" y="4735"/>
                      </a:lnTo>
                      <a:lnTo>
                        <a:pt x="4256" y="4688"/>
                      </a:lnTo>
                      <a:lnTo>
                        <a:pt x="4296" y="4640"/>
                      </a:lnTo>
                      <a:lnTo>
                        <a:pt x="4336" y="4589"/>
                      </a:lnTo>
                      <a:lnTo>
                        <a:pt x="4373" y="4539"/>
                      </a:lnTo>
                      <a:lnTo>
                        <a:pt x="4410" y="4488"/>
                      </a:lnTo>
                      <a:lnTo>
                        <a:pt x="4445" y="4436"/>
                      </a:lnTo>
                      <a:lnTo>
                        <a:pt x="4479" y="4383"/>
                      </a:lnTo>
                      <a:lnTo>
                        <a:pt x="4511" y="4328"/>
                      </a:lnTo>
                      <a:lnTo>
                        <a:pt x="4544" y="4274"/>
                      </a:lnTo>
                      <a:lnTo>
                        <a:pt x="4575" y="4218"/>
                      </a:lnTo>
                      <a:lnTo>
                        <a:pt x="4603" y="4162"/>
                      </a:lnTo>
                      <a:lnTo>
                        <a:pt x="4631" y="4104"/>
                      </a:lnTo>
                      <a:lnTo>
                        <a:pt x="4657" y="4045"/>
                      </a:lnTo>
                      <a:lnTo>
                        <a:pt x="4682" y="3986"/>
                      </a:lnTo>
                      <a:lnTo>
                        <a:pt x="4706" y="3927"/>
                      </a:lnTo>
                      <a:lnTo>
                        <a:pt x="4728" y="3867"/>
                      </a:lnTo>
                      <a:lnTo>
                        <a:pt x="4750" y="3807"/>
                      </a:lnTo>
                      <a:lnTo>
                        <a:pt x="4769" y="3745"/>
                      </a:lnTo>
                      <a:lnTo>
                        <a:pt x="4787" y="3681"/>
                      </a:lnTo>
                      <a:lnTo>
                        <a:pt x="4803" y="3619"/>
                      </a:lnTo>
                      <a:lnTo>
                        <a:pt x="4819" y="3556"/>
                      </a:lnTo>
                      <a:lnTo>
                        <a:pt x="4833" y="3491"/>
                      </a:lnTo>
                      <a:lnTo>
                        <a:pt x="4845" y="3426"/>
                      </a:lnTo>
                      <a:lnTo>
                        <a:pt x="4856" y="3361"/>
                      </a:lnTo>
                      <a:lnTo>
                        <a:pt x="4865" y="3295"/>
                      </a:lnTo>
                      <a:lnTo>
                        <a:pt x="4873" y="3229"/>
                      </a:lnTo>
                      <a:lnTo>
                        <a:pt x="4878" y="3162"/>
                      </a:lnTo>
                      <a:lnTo>
                        <a:pt x="4883" y="3094"/>
                      </a:lnTo>
                      <a:lnTo>
                        <a:pt x="4886" y="3027"/>
                      </a:lnTo>
                      <a:lnTo>
                        <a:pt x="4887" y="2959"/>
                      </a:lnTo>
                      <a:lnTo>
                        <a:pt x="4887" y="2889"/>
                      </a:lnTo>
                      <a:lnTo>
                        <a:pt x="4884" y="2820"/>
                      </a:lnTo>
                      <a:lnTo>
                        <a:pt x="4884" y="2820"/>
                      </a:lnTo>
                      <a:lnTo>
                        <a:pt x="4880" y="2748"/>
                      </a:lnTo>
                      <a:lnTo>
                        <a:pt x="4875" y="2676"/>
                      </a:lnTo>
                      <a:lnTo>
                        <a:pt x="4867" y="2603"/>
                      </a:lnTo>
                      <a:lnTo>
                        <a:pt x="4858" y="2531"/>
                      </a:lnTo>
                      <a:lnTo>
                        <a:pt x="4846" y="2460"/>
                      </a:lnTo>
                      <a:lnTo>
                        <a:pt x="4834" y="2391"/>
                      </a:lnTo>
                      <a:lnTo>
                        <a:pt x="4819" y="2320"/>
                      </a:lnTo>
                      <a:lnTo>
                        <a:pt x="4803" y="2251"/>
                      </a:lnTo>
                      <a:lnTo>
                        <a:pt x="4786" y="2183"/>
                      </a:lnTo>
                      <a:lnTo>
                        <a:pt x="4766" y="2115"/>
                      </a:lnTo>
                      <a:lnTo>
                        <a:pt x="4744" y="2048"/>
                      </a:lnTo>
                      <a:lnTo>
                        <a:pt x="4722" y="1981"/>
                      </a:lnTo>
                      <a:lnTo>
                        <a:pt x="4699" y="1915"/>
                      </a:lnTo>
                      <a:lnTo>
                        <a:pt x="4672" y="1850"/>
                      </a:lnTo>
                      <a:lnTo>
                        <a:pt x="4646" y="1785"/>
                      </a:lnTo>
                      <a:lnTo>
                        <a:pt x="4616" y="1722"/>
                      </a:lnTo>
                      <a:lnTo>
                        <a:pt x="4587" y="1660"/>
                      </a:lnTo>
                      <a:lnTo>
                        <a:pt x="4554" y="1598"/>
                      </a:lnTo>
                      <a:lnTo>
                        <a:pt x="4522" y="1536"/>
                      </a:lnTo>
                      <a:lnTo>
                        <a:pt x="4486" y="1476"/>
                      </a:lnTo>
                      <a:lnTo>
                        <a:pt x="4451" y="1417"/>
                      </a:lnTo>
                      <a:lnTo>
                        <a:pt x="4414" y="1358"/>
                      </a:lnTo>
                      <a:lnTo>
                        <a:pt x="4376" y="1300"/>
                      </a:lnTo>
                      <a:lnTo>
                        <a:pt x="4336" y="1243"/>
                      </a:lnTo>
                      <a:lnTo>
                        <a:pt x="4295" y="1187"/>
                      </a:lnTo>
                      <a:lnTo>
                        <a:pt x="4252" y="1132"/>
                      </a:lnTo>
                      <a:lnTo>
                        <a:pt x="4209" y="1079"/>
                      </a:lnTo>
                      <a:lnTo>
                        <a:pt x="4165" y="1026"/>
                      </a:lnTo>
                      <a:lnTo>
                        <a:pt x="4118" y="974"/>
                      </a:lnTo>
                      <a:lnTo>
                        <a:pt x="4071" y="924"/>
                      </a:lnTo>
                      <a:lnTo>
                        <a:pt x="4023" y="874"/>
                      </a:lnTo>
                      <a:lnTo>
                        <a:pt x="3973" y="825"/>
                      </a:lnTo>
                      <a:lnTo>
                        <a:pt x="3923" y="778"/>
                      </a:lnTo>
                      <a:lnTo>
                        <a:pt x="3872" y="732"/>
                      </a:lnTo>
                      <a:lnTo>
                        <a:pt x="3818" y="687"/>
                      </a:lnTo>
                      <a:lnTo>
                        <a:pt x="3765" y="644"/>
                      </a:lnTo>
                      <a:lnTo>
                        <a:pt x="3711" y="601"/>
                      </a:lnTo>
                      <a:lnTo>
                        <a:pt x="3655" y="560"/>
                      </a:lnTo>
                      <a:lnTo>
                        <a:pt x="3599" y="520"/>
                      </a:lnTo>
                      <a:lnTo>
                        <a:pt x="3541" y="482"/>
                      </a:lnTo>
                      <a:lnTo>
                        <a:pt x="3484" y="443"/>
                      </a:lnTo>
                      <a:lnTo>
                        <a:pt x="3423" y="408"/>
                      </a:lnTo>
                      <a:lnTo>
                        <a:pt x="3364" y="373"/>
                      </a:lnTo>
                      <a:lnTo>
                        <a:pt x="3303" y="340"/>
                      </a:lnTo>
                      <a:lnTo>
                        <a:pt x="3241" y="308"/>
                      </a:lnTo>
                      <a:lnTo>
                        <a:pt x="3179" y="277"/>
                      </a:lnTo>
                      <a:lnTo>
                        <a:pt x="3115" y="249"/>
                      </a:lnTo>
                      <a:lnTo>
                        <a:pt x="3052" y="221"/>
                      </a:lnTo>
                      <a:lnTo>
                        <a:pt x="2987" y="194"/>
                      </a:lnTo>
                      <a:lnTo>
                        <a:pt x="2921" y="171"/>
                      </a:lnTo>
                      <a:lnTo>
                        <a:pt x="2854" y="147"/>
                      </a:lnTo>
                      <a:lnTo>
                        <a:pt x="2788" y="126"/>
                      </a:lnTo>
                      <a:lnTo>
                        <a:pt x="2720" y="106"/>
                      </a:lnTo>
                      <a:lnTo>
                        <a:pt x="2652" y="88"/>
                      </a:lnTo>
                      <a:lnTo>
                        <a:pt x="2585" y="72"/>
                      </a:lnTo>
                      <a:lnTo>
                        <a:pt x="2515" y="57"/>
                      </a:lnTo>
                      <a:lnTo>
                        <a:pt x="2445" y="44"/>
                      </a:lnTo>
                      <a:lnTo>
                        <a:pt x="2375" y="32"/>
                      </a:lnTo>
                      <a:lnTo>
                        <a:pt x="2304" y="22"/>
                      </a:lnTo>
                      <a:lnTo>
                        <a:pt x="2234" y="14"/>
                      </a:lnTo>
                      <a:lnTo>
                        <a:pt x="2161" y="7"/>
                      </a:lnTo>
                      <a:lnTo>
                        <a:pt x="2089" y="3"/>
                      </a:lnTo>
                      <a:lnTo>
                        <a:pt x="2017" y="0"/>
                      </a:lnTo>
                      <a:lnTo>
                        <a:pt x="1943" y="0"/>
                      </a:lnTo>
                      <a:lnTo>
                        <a:pt x="1943" y="0"/>
                      </a:lnTo>
                      <a:lnTo>
                        <a:pt x="1873" y="0"/>
                      </a:lnTo>
                      <a:lnTo>
                        <a:pt x="1800" y="3"/>
                      </a:lnTo>
                      <a:lnTo>
                        <a:pt x="1730" y="7"/>
                      </a:lnTo>
                      <a:lnTo>
                        <a:pt x="1659" y="13"/>
                      </a:lnTo>
                      <a:lnTo>
                        <a:pt x="1589" y="22"/>
                      </a:lnTo>
                      <a:lnTo>
                        <a:pt x="1520" y="31"/>
                      </a:lnTo>
                      <a:lnTo>
                        <a:pt x="1452" y="42"/>
                      </a:lnTo>
                      <a:lnTo>
                        <a:pt x="1383" y="56"/>
                      </a:lnTo>
                      <a:lnTo>
                        <a:pt x="1317" y="70"/>
                      </a:lnTo>
                      <a:lnTo>
                        <a:pt x="1250" y="87"/>
                      </a:lnTo>
                      <a:lnTo>
                        <a:pt x="1184" y="104"/>
                      </a:lnTo>
                      <a:lnTo>
                        <a:pt x="1119" y="123"/>
                      </a:lnTo>
                      <a:lnTo>
                        <a:pt x="1054" y="144"/>
                      </a:lnTo>
                      <a:lnTo>
                        <a:pt x="991" y="168"/>
                      </a:lnTo>
                      <a:lnTo>
                        <a:pt x="928" y="191"/>
                      </a:lnTo>
                      <a:lnTo>
                        <a:pt x="866" y="216"/>
                      </a:lnTo>
                      <a:lnTo>
                        <a:pt x="805" y="243"/>
                      </a:lnTo>
                      <a:lnTo>
                        <a:pt x="745" y="272"/>
                      </a:lnTo>
                      <a:lnTo>
                        <a:pt x="684" y="302"/>
                      </a:lnTo>
                      <a:lnTo>
                        <a:pt x="627" y="333"/>
                      </a:lnTo>
                      <a:lnTo>
                        <a:pt x="569" y="365"/>
                      </a:lnTo>
                      <a:lnTo>
                        <a:pt x="512" y="399"/>
                      </a:lnTo>
                      <a:lnTo>
                        <a:pt x="456" y="435"/>
                      </a:lnTo>
                      <a:lnTo>
                        <a:pt x="401" y="471"/>
                      </a:lnTo>
                      <a:lnTo>
                        <a:pt x="348" y="510"/>
                      </a:lnTo>
                      <a:lnTo>
                        <a:pt x="295" y="548"/>
                      </a:lnTo>
                      <a:lnTo>
                        <a:pt x="244" y="589"/>
                      </a:lnTo>
                      <a:lnTo>
                        <a:pt x="192" y="631"/>
                      </a:lnTo>
                      <a:lnTo>
                        <a:pt x="143" y="673"/>
                      </a:lnTo>
                      <a:lnTo>
                        <a:pt x="95" y="718"/>
                      </a:lnTo>
                      <a:lnTo>
                        <a:pt x="46" y="763"/>
                      </a:lnTo>
                      <a:lnTo>
                        <a:pt x="0" y="809"/>
                      </a:lnTo>
                      <a:lnTo>
                        <a:pt x="244" y="1036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86000">
                      <a:srgbClr val="CFCFCF"/>
                    </a:gs>
                    <a:gs pos="0">
                      <a:srgbClr val="A6A6A6"/>
                    </a:gs>
                    <a:gs pos="35000">
                      <a:srgbClr val="262626"/>
                    </a:gs>
                    <a:gs pos="66000">
                      <a:srgbClr val="454545"/>
                    </a:gs>
                    <a:gs pos="46000">
                      <a:srgbClr val="616161"/>
                    </a:gs>
                    <a:gs pos="100000">
                      <a:srgbClr val="A6A6A6"/>
                    </a:gs>
                  </a:gsLst>
                  <a:lin ang="1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27" name="Freeform 13">
                  <a:extLst>
                    <a:ext uri="{FF2B5EF4-FFF2-40B4-BE49-F238E27FC236}">
                      <a16:creationId xmlns:a16="http://schemas.microsoft.com/office/drawing/2014/main" xmlns="" id="{1009282E-F34E-9E4B-B59F-E61F0477D7A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385175" y="374650"/>
                  <a:ext cx="2987675" cy="2986088"/>
                </a:xfrm>
                <a:custGeom>
                  <a:avLst/>
                  <a:gdLst/>
                  <a:ahLst/>
                  <a:cxnLst>
                    <a:cxn ang="0">
                      <a:pos x="3147" y="371"/>
                    </a:cxn>
                    <a:cxn ang="0">
                      <a:pos x="3686" y="529"/>
                    </a:cxn>
                    <a:cxn ang="0">
                      <a:pos x="4171" y="794"/>
                    </a:cxn>
                    <a:cxn ang="0">
                      <a:pos x="4591" y="1153"/>
                    </a:cxn>
                    <a:cxn ang="0">
                      <a:pos x="4927" y="1591"/>
                    </a:cxn>
                    <a:cxn ang="0">
                      <a:pos x="5169" y="2092"/>
                    </a:cxn>
                    <a:cxn ang="0">
                      <a:pos x="5297" y="2643"/>
                    </a:cxn>
                    <a:cxn ang="0">
                      <a:pos x="5307" y="3142"/>
                    </a:cxn>
                    <a:cxn ang="0">
                      <a:pos x="5204" y="3672"/>
                    </a:cxn>
                    <a:cxn ang="0">
                      <a:pos x="4987" y="4159"/>
                    </a:cxn>
                    <a:cxn ang="0">
                      <a:pos x="4663" y="4587"/>
                    </a:cxn>
                    <a:cxn ang="0">
                      <a:pos x="4299" y="4896"/>
                    </a:cxn>
                    <a:cxn ang="0">
                      <a:pos x="3829" y="5145"/>
                    </a:cxn>
                    <a:cxn ang="0">
                      <a:pos x="3310" y="5284"/>
                    </a:cxn>
                    <a:cxn ang="0">
                      <a:pos x="2814" y="5308"/>
                    </a:cxn>
                    <a:cxn ang="0">
                      <a:pos x="2256" y="5215"/>
                    </a:cxn>
                    <a:cxn ang="0">
                      <a:pos x="1738" y="5008"/>
                    </a:cxn>
                    <a:cxn ang="0">
                      <a:pos x="1280" y="4699"/>
                    </a:cxn>
                    <a:cxn ang="0">
                      <a:pos x="895" y="4303"/>
                    </a:cxn>
                    <a:cxn ang="0">
                      <a:pos x="599" y="3836"/>
                    </a:cxn>
                    <a:cxn ang="0">
                      <a:pos x="407" y="3311"/>
                    </a:cxn>
                    <a:cxn ang="0">
                      <a:pos x="335" y="2807"/>
                    </a:cxn>
                    <a:cxn ang="0">
                      <a:pos x="370" y="2260"/>
                    </a:cxn>
                    <a:cxn ang="0">
                      <a:pos x="525" y="1747"/>
                    </a:cxn>
                    <a:cxn ang="0">
                      <a:pos x="790" y="1285"/>
                    </a:cxn>
                    <a:cxn ang="0">
                      <a:pos x="1115" y="929"/>
                    </a:cxn>
                    <a:cxn ang="0">
                      <a:pos x="1549" y="620"/>
                    </a:cxn>
                    <a:cxn ang="0">
                      <a:pos x="2043" y="421"/>
                    </a:cxn>
                    <a:cxn ang="0">
                      <a:pos x="2580" y="334"/>
                    </a:cxn>
                    <a:cxn ang="0">
                      <a:pos x="2345" y="23"/>
                    </a:cxn>
                    <a:cxn ang="0">
                      <a:pos x="1741" y="171"/>
                    </a:cxn>
                    <a:cxn ang="0">
                      <a:pos x="1202" y="445"/>
                    </a:cxn>
                    <a:cxn ang="0">
                      <a:pos x="745" y="827"/>
                    </a:cxn>
                    <a:cxn ang="0">
                      <a:pos x="382" y="1300"/>
                    </a:cxn>
                    <a:cxn ang="0">
                      <a:pos x="133" y="1852"/>
                    </a:cxn>
                    <a:cxn ang="0">
                      <a:pos x="10" y="2462"/>
                    </a:cxn>
                    <a:cxn ang="0">
                      <a:pos x="21" y="3038"/>
                    </a:cxn>
                    <a:cxn ang="0">
                      <a:pos x="165" y="3659"/>
                    </a:cxn>
                    <a:cxn ang="0">
                      <a:pos x="436" y="4225"/>
                    </a:cxn>
                    <a:cxn ang="0">
                      <a:pos x="817" y="4718"/>
                    </a:cxn>
                    <a:cxn ang="0">
                      <a:pos x="1288" y="5122"/>
                    </a:cxn>
                    <a:cxn ang="0">
                      <a:pos x="1835" y="5420"/>
                    </a:cxn>
                    <a:cxn ang="0">
                      <a:pos x="2443" y="5598"/>
                    </a:cxn>
                    <a:cxn ang="0">
                      <a:pos x="3016" y="5641"/>
                    </a:cxn>
                    <a:cxn ang="0">
                      <a:pos x="3644" y="5554"/>
                    </a:cxn>
                    <a:cxn ang="0">
                      <a:pos x="4215" y="5333"/>
                    </a:cxn>
                    <a:cxn ang="0">
                      <a:pos x="4710" y="4998"/>
                    </a:cxn>
                    <a:cxn ang="0">
                      <a:pos x="5117" y="4563"/>
                    </a:cxn>
                    <a:cxn ang="0">
                      <a:pos x="5418" y="4044"/>
                    </a:cxn>
                    <a:cxn ang="0">
                      <a:pos x="5599" y="3459"/>
                    </a:cxn>
                    <a:cxn ang="0">
                      <a:pos x="5643" y="2820"/>
                    </a:cxn>
                    <a:cxn ang="0">
                      <a:pos x="5562" y="2253"/>
                    </a:cxn>
                    <a:cxn ang="0">
                      <a:pos x="5346" y="1660"/>
                    </a:cxn>
                    <a:cxn ang="0">
                      <a:pos x="5012" y="1134"/>
                    </a:cxn>
                    <a:cxn ang="0">
                      <a:pos x="4579" y="688"/>
                    </a:cxn>
                    <a:cxn ang="0">
                      <a:pos x="4061" y="340"/>
                    </a:cxn>
                    <a:cxn ang="0">
                      <a:pos x="3481" y="107"/>
                    </a:cxn>
                    <a:cxn ang="0">
                      <a:pos x="2848" y="4"/>
                    </a:cxn>
                  </a:cxnLst>
                  <a:rect l="0" t="0" r="r" b="b"/>
                  <a:pathLst>
                    <a:path w="5646" h="5642">
                      <a:moveTo>
                        <a:pt x="2704" y="331"/>
                      </a:moveTo>
                      <a:lnTo>
                        <a:pt x="2704" y="331"/>
                      </a:lnTo>
                      <a:lnTo>
                        <a:pt x="2767" y="333"/>
                      </a:lnTo>
                      <a:lnTo>
                        <a:pt x="2832" y="334"/>
                      </a:lnTo>
                      <a:lnTo>
                        <a:pt x="2895" y="339"/>
                      </a:lnTo>
                      <a:lnTo>
                        <a:pt x="2959" y="345"/>
                      </a:lnTo>
                      <a:lnTo>
                        <a:pt x="3022" y="352"/>
                      </a:lnTo>
                      <a:lnTo>
                        <a:pt x="3086" y="361"/>
                      </a:lnTo>
                      <a:lnTo>
                        <a:pt x="3147" y="371"/>
                      </a:lnTo>
                      <a:lnTo>
                        <a:pt x="3209" y="383"/>
                      </a:lnTo>
                      <a:lnTo>
                        <a:pt x="3270" y="396"/>
                      </a:lnTo>
                      <a:lnTo>
                        <a:pt x="3332" y="411"/>
                      </a:lnTo>
                      <a:lnTo>
                        <a:pt x="3392" y="427"/>
                      </a:lnTo>
                      <a:lnTo>
                        <a:pt x="3451" y="445"/>
                      </a:lnTo>
                      <a:lnTo>
                        <a:pt x="3510" y="464"/>
                      </a:lnTo>
                      <a:lnTo>
                        <a:pt x="3569" y="483"/>
                      </a:lnTo>
                      <a:lnTo>
                        <a:pt x="3628" y="505"/>
                      </a:lnTo>
                      <a:lnTo>
                        <a:pt x="3686" y="529"/>
                      </a:lnTo>
                      <a:lnTo>
                        <a:pt x="3742" y="553"/>
                      </a:lnTo>
                      <a:lnTo>
                        <a:pt x="3798" y="579"/>
                      </a:lnTo>
                      <a:lnTo>
                        <a:pt x="3854" y="606"/>
                      </a:lnTo>
                      <a:lnTo>
                        <a:pt x="3908" y="634"/>
                      </a:lnTo>
                      <a:lnTo>
                        <a:pt x="3963" y="663"/>
                      </a:lnTo>
                      <a:lnTo>
                        <a:pt x="4016" y="694"/>
                      </a:lnTo>
                      <a:lnTo>
                        <a:pt x="4067" y="727"/>
                      </a:lnTo>
                      <a:lnTo>
                        <a:pt x="4120" y="761"/>
                      </a:lnTo>
                      <a:lnTo>
                        <a:pt x="4171" y="794"/>
                      </a:lnTo>
                      <a:lnTo>
                        <a:pt x="4221" y="830"/>
                      </a:lnTo>
                      <a:lnTo>
                        <a:pt x="4271" y="867"/>
                      </a:lnTo>
                      <a:lnTo>
                        <a:pt x="4318" y="904"/>
                      </a:lnTo>
                      <a:lnTo>
                        <a:pt x="4367" y="943"/>
                      </a:lnTo>
                      <a:lnTo>
                        <a:pt x="4412" y="983"/>
                      </a:lnTo>
                      <a:lnTo>
                        <a:pt x="4458" y="1024"/>
                      </a:lnTo>
                      <a:lnTo>
                        <a:pt x="4504" y="1066"/>
                      </a:lnTo>
                      <a:lnTo>
                        <a:pt x="4546" y="1108"/>
                      </a:lnTo>
                      <a:lnTo>
                        <a:pt x="4591" y="1153"/>
                      </a:lnTo>
                      <a:lnTo>
                        <a:pt x="4632" y="1198"/>
                      </a:lnTo>
                      <a:lnTo>
                        <a:pt x="4673" y="1244"/>
                      </a:lnTo>
                      <a:lnTo>
                        <a:pt x="4712" y="1290"/>
                      </a:lnTo>
                      <a:lnTo>
                        <a:pt x="4751" y="1338"/>
                      </a:lnTo>
                      <a:lnTo>
                        <a:pt x="4788" y="1387"/>
                      </a:lnTo>
                      <a:lnTo>
                        <a:pt x="4825" y="1436"/>
                      </a:lnTo>
                      <a:lnTo>
                        <a:pt x="4861" y="1487"/>
                      </a:lnTo>
                      <a:lnTo>
                        <a:pt x="4894" y="1538"/>
                      </a:lnTo>
                      <a:lnTo>
                        <a:pt x="4927" y="1591"/>
                      </a:lnTo>
                      <a:lnTo>
                        <a:pt x="4959" y="1642"/>
                      </a:lnTo>
                      <a:lnTo>
                        <a:pt x="4990" y="1697"/>
                      </a:lnTo>
                      <a:lnTo>
                        <a:pt x="5020" y="1751"/>
                      </a:lnTo>
                      <a:lnTo>
                        <a:pt x="5048" y="1806"/>
                      </a:lnTo>
                      <a:lnTo>
                        <a:pt x="5074" y="1862"/>
                      </a:lnTo>
                      <a:lnTo>
                        <a:pt x="5099" y="1918"/>
                      </a:lnTo>
                      <a:lnTo>
                        <a:pt x="5124" y="1975"/>
                      </a:lnTo>
                      <a:lnTo>
                        <a:pt x="5146" y="2033"/>
                      </a:lnTo>
                      <a:lnTo>
                        <a:pt x="5169" y="2092"/>
                      </a:lnTo>
                      <a:lnTo>
                        <a:pt x="5188" y="2151"/>
                      </a:lnTo>
                      <a:lnTo>
                        <a:pt x="5207" y="2210"/>
                      </a:lnTo>
                      <a:lnTo>
                        <a:pt x="5225" y="2270"/>
                      </a:lnTo>
                      <a:lnTo>
                        <a:pt x="5241" y="2331"/>
                      </a:lnTo>
                      <a:lnTo>
                        <a:pt x="5254" y="2393"/>
                      </a:lnTo>
                      <a:lnTo>
                        <a:pt x="5267" y="2455"/>
                      </a:lnTo>
                      <a:lnTo>
                        <a:pt x="5279" y="2517"/>
                      </a:lnTo>
                      <a:lnTo>
                        <a:pt x="5288" y="2580"/>
                      </a:lnTo>
                      <a:lnTo>
                        <a:pt x="5297" y="2643"/>
                      </a:lnTo>
                      <a:lnTo>
                        <a:pt x="5304" y="2707"/>
                      </a:lnTo>
                      <a:lnTo>
                        <a:pt x="5309" y="2770"/>
                      </a:lnTo>
                      <a:lnTo>
                        <a:pt x="5313" y="2835"/>
                      </a:lnTo>
                      <a:lnTo>
                        <a:pt x="5313" y="2835"/>
                      </a:lnTo>
                      <a:lnTo>
                        <a:pt x="5315" y="2897"/>
                      </a:lnTo>
                      <a:lnTo>
                        <a:pt x="5315" y="2959"/>
                      </a:lnTo>
                      <a:lnTo>
                        <a:pt x="5313" y="3021"/>
                      </a:lnTo>
                      <a:lnTo>
                        <a:pt x="5312" y="3081"/>
                      </a:lnTo>
                      <a:lnTo>
                        <a:pt x="5307" y="3142"/>
                      </a:lnTo>
                      <a:lnTo>
                        <a:pt x="5301" y="3202"/>
                      </a:lnTo>
                      <a:lnTo>
                        <a:pt x="5294" y="3263"/>
                      </a:lnTo>
                      <a:lnTo>
                        <a:pt x="5285" y="3323"/>
                      </a:lnTo>
                      <a:lnTo>
                        <a:pt x="5276" y="3382"/>
                      </a:lnTo>
                      <a:lnTo>
                        <a:pt x="5264" y="3441"/>
                      </a:lnTo>
                      <a:lnTo>
                        <a:pt x="5251" y="3500"/>
                      </a:lnTo>
                      <a:lnTo>
                        <a:pt x="5238" y="3557"/>
                      </a:lnTo>
                      <a:lnTo>
                        <a:pt x="5222" y="3615"/>
                      </a:lnTo>
                      <a:lnTo>
                        <a:pt x="5204" y="3672"/>
                      </a:lnTo>
                      <a:lnTo>
                        <a:pt x="5186" y="3728"/>
                      </a:lnTo>
                      <a:lnTo>
                        <a:pt x="5166" y="3785"/>
                      </a:lnTo>
                      <a:lnTo>
                        <a:pt x="5145" y="3841"/>
                      </a:lnTo>
                      <a:lnTo>
                        <a:pt x="5121" y="3895"/>
                      </a:lnTo>
                      <a:lnTo>
                        <a:pt x="5098" y="3948"/>
                      </a:lnTo>
                      <a:lnTo>
                        <a:pt x="5073" y="4003"/>
                      </a:lnTo>
                      <a:lnTo>
                        <a:pt x="5045" y="4056"/>
                      </a:lnTo>
                      <a:lnTo>
                        <a:pt x="5017" y="4107"/>
                      </a:lnTo>
                      <a:lnTo>
                        <a:pt x="4987" y="4159"/>
                      </a:lnTo>
                      <a:lnTo>
                        <a:pt x="4956" y="4209"/>
                      </a:lnTo>
                      <a:lnTo>
                        <a:pt x="4924" y="4259"/>
                      </a:lnTo>
                      <a:lnTo>
                        <a:pt x="4891" y="4309"/>
                      </a:lnTo>
                      <a:lnTo>
                        <a:pt x="4856" y="4357"/>
                      </a:lnTo>
                      <a:lnTo>
                        <a:pt x="4819" y="4405"/>
                      </a:lnTo>
                      <a:lnTo>
                        <a:pt x="4782" y="4452"/>
                      </a:lnTo>
                      <a:lnTo>
                        <a:pt x="4744" y="4498"/>
                      </a:lnTo>
                      <a:lnTo>
                        <a:pt x="4704" y="4542"/>
                      </a:lnTo>
                      <a:lnTo>
                        <a:pt x="4663" y="4587"/>
                      </a:lnTo>
                      <a:lnTo>
                        <a:pt x="4663" y="4587"/>
                      </a:lnTo>
                      <a:lnTo>
                        <a:pt x="4620" y="4631"/>
                      </a:lnTo>
                      <a:lnTo>
                        <a:pt x="4576" y="4672"/>
                      </a:lnTo>
                      <a:lnTo>
                        <a:pt x="4532" y="4713"/>
                      </a:lnTo>
                      <a:lnTo>
                        <a:pt x="4488" y="4752"/>
                      </a:lnTo>
                      <a:lnTo>
                        <a:pt x="4442" y="4790"/>
                      </a:lnTo>
                      <a:lnTo>
                        <a:pt x="4395" y="4827"/>
                      </a:lnTo>
                      <a:lnTo>
                        <a:pt x="4346" y="4862"/>
                      </a:lnTo>
                      <a:lnTo>
                        <a:pt x="4299" y="4896"/>
                      </a:lnTo>
                      <a:lnTo>
                        <a:pt x="4249" y="4930"/>
                      </a:lnTo>
                      <a:lnTo>
                        <a:pt x="4199" y="4961"/>
                      </a:lnTo>
                      <a:lnTo>
                        <a:pt x="4148" y="4992"/>
                      </a:lnTo>
                      <a:lnTo>
                        <a:pt x="4097" y="5022"/>
                      </a:lnTo>
                      <a:lnTo>
                        <a:pt x="4044" y="5048"/>
                      </a:lnTo>
                      <a:lnTo>
                        <a:pt x="3991" y="5075"/>
                      </a:lnTo>
                      <a:lnTo>
                        <a:pt x="3938" y="5100"/>
                      </a:lnTo>
                      <a:lnTo>
                        <a:pt x="3883" y="5123"/>
                      </a:lnTo>
                      <a:lnTo>
                        <a:pt x="3829" y="5145"/>
                      </a:lnTo>
                      <a:lnTo>
                        <a:pt x="3773" y="5166"/>
                      </a:lnTo>
                      <a:lnTo>
                        <a:pt x="3717" y="5187"/>
                      </a:lnTo>
                      <a:lnTo>
                        <a:pt x="3660" y="5204"/>
                      </a:lnTo>
                      <a:lnTo>
                        <a:pt x="3603" y="5221"/>
                      </a:lnTo>
                      <a:lnTo>
                        <a:pt x="3546" y="5237"/>
                      </a:lnTo>
                      <a:lnTo>
                        <a:pt x="3487" y="5250"/>
                      </a:lnTo>
                      <a:lnTo>
                        <a:pt x="3428" y="5263"/>
                      </a:lnTo>
                      <a:lnTo>
                        <a:pt x="3369" y="5274"/>
                      </a:lnTo>
                      <a:lnTo>
                        <a:pt x="3310" y="5284"/>
                      </a:lnTo>
                      <a:lnTo>
                        <a:pt x="3249" y="5291"/>
                      </a:lnTo>
                      <a:lnTo>
                        <a:pt x="3189" y="5299"/>
                      </a:lnTo>
                      <a:lnTo>
                        <a:pt x="3128" y="5303"/>
                      </a:lnTo>
                      <a:lnTo>
                        <a:pt x="3066" y="5308"/>
                      </a:lnTo>
                      <a:lnTo>
                        <a:pt x="3004" y="5309"/>
                      </a:lnTo>
                      <a:lnTo>
                        <a:pt x="2943" y="5311"/>
                      </a:lnTo>
                      <a:lnTo>
                        <a:pt x="2943" y="5311"/>
                      </a:lnTo>
                      <a:lnTo>
                        <a:pt x="2879" y="5309"/>
                      </a:lnTo>
                      <a:lnTo>
                        <a:pt x="2814" y="5308"/>
                      </a:lnTo>
                      <a:lnTo>
                        <a:pt x="2751" y="5303"/>
                      </a:lnTo>
                      <a:lnTo>
                        <a:pt x="2688" y="5297"/>
                      </a:lnTo>
                      <a:lnTo>
                        <a:pt x="2624" y="5290"/>
                      </a:lnTo>
                      <a:lnTo>
                        <a:pt x="2561" y="5281"/>
                      </a:lnTo>
                      <a:lnTo>
                        <a:pt x="2499" y="5271"/>
                      </a:lnTo>
                      <a:lnTo>
                        <a:pt x="2437" y="5259"/>
                      </a:lnTo>
                      <a:lnTo>
                        <a:pt x="2376" y="5246"/>
                      </a:lnTo>
                      <a:lnTo>
                        <a:pt x="2315" y="5231"/>
                      </a:lnTo>
                      <a:lnTo>
                        <a:pt x="2256" y="5215"/>
                      </a:lnTo>
                      <a:lnTo>
                        <a:pt x="2195" y="5197"/>
                      </a:lnTo>
                      <a:lnTo>
                        <a:pt x="2136" y="5178"/>
                      </a:lnTo>
                      <a:lnTo>
                        <a:pt x="2077" y="5159"/>
                      </a:lnTo>
                      <a:lnTo>
                        <a:pt x="2020" y="5137"/>
                      </a:lnTo>
                      <a:lnTo>
                        <a:pt x="1962" y="5113"/>
                      </a:lnTo>
                      <a:lnTo>
                        <a:pt x="1905" y="5089"/>
                      </a:lnTo>
                      <a:lnTo>
                        <a:pt x="1849" y="5063"/>
                      </a:lnTo>
                      <a:lnTo>
                        <a:pt x="1793" y="5036"/>
                      </a:lnTo>
                      <a:lnTo>
                        <a:pt x="1738" y="5008"/>
                      </a:lnTo>
                      <a:lnTo>
                        <a:pt x="1685" y="4979"/>
                      </a:lnTo>
                      <a:lnTo>
                        <a:pt x="1631" y="4948"/>
                      </a:lnTo>
                      <a:lnTo>
                        <a:pt x="1579" y="4915"/>
                      </a:lnTo>
                      <a:lnTo>
                        <a:pt x="1527" y="4881"/>
                      </a:lnTo>
                      <a:lnTo>
                        <a:pt x="1476" y="4848"/>
                      </a:lnTo>
                      <a:lnTo>
                        <a:pt x="1426" y="4812"/>
                      </a:lnTo>
                      <a:lnTo>
                        <a:pt x="1377" y="4775"/>
                      </a:lnTo>
                      <a:lnTo>
                        <a:pt x="1328" y="4738"/>
                      </a:lnTo>
                      <a:lnTo>
                        <a:pt x="1280" y="4699"/>
                      </a:lnTo>
                      <a:lnTo>
                        <a:pt x="1234" y="4659"/>
                      </a:lnTo>
                      <a:lnTo>
                        <a:pt x="1188" y="4618"/>
                      </a:lnTo>
                      <a:lnTo>
                        <a:pt x="1143" y="4576"/>
                      </a:lnTo>
                      <a:lnTo>
                        <a:pt x="1100" y="4534"/>
                      </a:lnTo>
                      <a:lnTo>
                        <a:pt x="1057" y="4489"/>
                      </a:lnTo>
                      <a:lnTo>
                        <a:pt x="1014" y="4444"/>
                      </a:lnTo>
                      <a:lnTo>
                        <a:pt x="974" y="4398"/>
                      </a:lnTo>
                      <a:lnTo>
                        <a:pt x="935" y="4352"/>
                      </a:lnTo>
                      <a:lnTo>
                        <a:pt x="895" y="4303"/>
                      </a:lnTo>
                      <a:lnTo>
                        <a:pt x="858" y="4255"/>
                      </a:lnTo>
                      <a:lnTo>
                        <a:pt x="821" y="4206"/>
                      </a:lnTo>
                      <a:lnTo>
                        <a:pt x="786" y="4155"/>
                      </a:lnTo>
                      <a:lnTo>
                        <a:pt x="752" y="4104"/>
                      </a:lnTo>
                      <a:lnTo>
                        <a:pt x="719" y="4051"/>
                      </a:lnTo>
                      <a:lnTo>
                        <a:pt x="687" y="4000"/>
                      </a:lnTo>
                      <a:lnTo>
                        <a:pt x="656" y="3945"/>
                      </a:lnTo>
                      <a:lnTo>
                        <a:pt x="628" y="3891"/>
                      </a:lnTo>
                      <a:lnTo>
                        <a:pt x="599" y="3836"/>
                      </a:lnTo>
                      <a:lnTo>
                        <a:pt x="572" y="3780"/>
                      </a:lnTo>
                      <a:lnTo>
                        <a:pt x="547" y="3724"/>
                      </a:lnTo>
                      <a:lnTo>
                        <a:pt x="523" y="3667"/>
                      </a:lnTo>
                      <a:lnTo>
                        <a:pt x="500" y="3609"/>
                      </a:lnTo>
                      <a:lnTo>
                        <a:pt x="478" y="3550"/>
                      </a:lnTo>
                      <a:lnTo>
                        <a:pt x="459" y="3491"/>
                      </a:lnTo>
                      <a:lnTo>
                        <a:pt x="439" y="3432"/>
                      </a:lnTo>
                      <a:lnTo>
                        <a:pt x="422" y="3372"/>
                      </a:lnTo>
                      <a:lnTo>
                        <a:pt x="407" y="3311"/>
                      </a:lnTo>
                      <a:lnTo>
                        <a:pt x="392" y="3249"/>
                      </a:lnTo>
                      <a:lnTo>
                        <a:pt x="379" y="3187"/>
                      </a:lnTo>
                      <a:lnTo>
                        <a:pt x="367" y="3125"/>
                      </a:lnTo>
                      <a:lnTo>
                        <a:pt x="358" y="3062"/>
                      </a:lnTo>
                      <a:lnTo>
                        <a:pt x="349" y="2999"/>
                      </a:lnTo>
                      <a:lnTo>
                        <a:pt x="342" y="2935"/>
                      </a:lnTo>
                      <a:lnTo>
                        <a:pt x="338" y="2872"/>
                      </a:lnTo>
                      <a:lnTo>
                        <a:pt x="335" y="2807"/>
                      </a:lnTo>
                      <a:lnTo>
                        <a:pt x="335" y="2807"/>
                      </a:lnTo>
                      <a:lnTo>
                        <a:pt x="332" y="2745"/>
                      </a:lnTo>
                      <a:lnTo>
                        <a:pt x="332" y="2683"/>
                      </a:lnTo>
                      <a:lnTo>
                        <a:pt x="333" y="2621"/>
                      </a:lnTo>
                      <a:lnTo>
                        <a:pt x="336" y="2561"/>
                      </a:lnTo>
                      <a:lnTo>
                        <a:pt x="339" y="2500"/>
                      </a:lnTo>
                      <a:lnTo>
                        <a:pt x="345" y="2438"/>
                      </a:lnTo>
                      <a:lnTo>
                        <a:pt x="352" y="2379"/>
                      </a:lnTo>
                      <a:lnTo>
                        <a:pt x="361" y="2319"/>
                      </a:lnTo>
                      <a:lnTo>
                        <a:pt x="370" y="2260"/>
                      </a:lnTo>
                      <a:lnTo>
                        <a:pt x="382" y="2201"/>
                      </a:lnTo>
                      <a:lnTo>
                        <a:pt x="395" y="2142"/>
                      </a:lnTo>
                      <a:lnTo>
                        <a:pt x="410" y="2085"/>
                      </a:lnTo>
                      <a:lnTo>
                        <a:pt x="425" y="2027"/>
                      </a:lnTo>
                      <a:lnTo>
                        <a:pt x="442" y="1970"/>
                      </a:lnTo>
                      <a:lnTo>
                        <a:pt x="461" y="1913"/>
                      </a:lnTo>
                      <a:lnTo>
                        <a:pt x="481" y="1857"/>
                      </a:lnTo>
                      <a:lnTo>
                        <a:pt x="503" y="1801"/>
                      </a:lnTo>
                      <a:lnTo>
                        <a:pt x="525" y="1747"/>
                      </a:lnTo>
                      <a:lnTo>
                        <a:pt x="548" y="1694"/>
                      </a:lnTo>
                      <a:lnTo>
                        <a:pt x="575" y="1639"/>
                      </a:lnTo>
                      <a:lnTo>
                        <a:pt x="602" y="1586"/>
                      </a:lnTo>
                      <a:lnTo>
                        <a:pt x="630" y="1535"/>
                      </a:lnTo>
                      <a:lnTo>
                        <a:pt x="659" y="1483"/>
                      </a:lnTo>
                      <a:lnTo>
                        <a:pt x="690" y="1433"/>
                      </a:lnTo>
                      <a:lnTo>
                        <a:pt x="722" y="1383"/>
                      </a:lnTo>
                      <a:lnTo>
                        <a:pt x="756" y="1333"/>
                      </a:lnTo>
                      <a:lnTo>
                        <a:pt x="790" y="1285"/>
                      </a:lnTo>
                      <a:lnTo>
                        <a:pt x="827" y="1237"/>
                      </a:lnTo>
                      <a:lnTo>
                        <a:pt x="864" y="1190"/>
                      </a:lnTo>
                      <a:lnTo>
                        <a:pt x="902" y="1144"/>
                      </a:lnTo>
                      <a:lnTo>
                        <a:pt x="944" y="1100"/>
                      </a:lnTo>
                      <a:lnTo>
                        <a:pt x="985" y="1055"/>
                      </a:lnTo>
                      <a:lnTo>
                        <a:pt x="985" y="1055"/>
                      </a:lnTo>
                      <a:lnTo>
                        <a:pt x="1026" y="1011"/>
                      </a:lnTo>
                      <a:lnTo>
                        <a:pt x="1070" y="970"/>
                      </a:lnTo>
                      <a:lnTo>
                        <a:pt x="1115" y="929"/>
                      </a:lnTo>
                      <a:lnTo>
                        <a:pt x="1159" y="890"/>
                      </a:lnTo>
                      <a:lnTo>
                        <a:pt x="1206" y="852"/>
                      </a:lnTo>
                      <a:lnTo>
                        <a:pt x="1252" y="815"/>
                      </a:lnTo>
                      <a:lnTo>
                        <a:pt x="1300" y="780"/>
                      </a:lnTo>
                      <a:lnTo>
                        <a:pt x="1349" y="746"/>
                      </a:lnTo>
                      <a:lnTo>
                        <a:pt x="1398" y="712"/>
                      </a:lnTo>
                      <a:lnTo>
                        <a:pt x="1448" y="681"/>
                      </a:lnTo>
                      <a:lnTo>
                        <a:pt x="1498" y="650"/>
                      </a:lnTo>
                      <a:lnTo>
                        <a:pt x="1549" y="620"/>
                      </a:lnTo>
                      <a:lnTo>
                        <a:pt x="1602" y="594"/>
                      </a:lnTo>
                      <a:lnTo>
                        <a:pt x="1656" y="567"/>
                      </a:lnTo>
                      <a:lnTo>
                        <a:pt x="1709" y="542"/>
                      </a:lnTo>
                      <a:lnTo>
                        <a:pt x="1763" y="519"/>
                      </a:lnTo>
                      <a:lnTo>
                        <a:pt x="1818" y="497"/>
                      </a:lnTo>
                      <a:lnTo>
                        <a:pt x="1874" y="474"/>
                      </a:lnTo>
                      <a:lnTo>
                        <a:pt x="1930" y="455"/>
                      </a:lnTo>
                      <a:lnTo>
                        <a:pt x="1986" y="438"/>
                      </a:lnTo>
                      <a:lnTo>
                        <a:pt x="2043" y="421"/>
                      </a:lnTo>
                      <a:lnTo>
                        <a:pt x="2101" y="405"/>
                      </a:lnTo>
                      <a:lnTo>
                        <a:pt x="2160" y="392"/>
                      </a:lnTo>
                      <a:lnTo>
                        <a:pt x="2219" y="379"/>
                      </a:lnTo>
                      <a:lnTo>
                        <a:pt x="2278" y="368"/>
                      </a:lnTo>
                      <a:lnTo>
                        <a:pt x="2337" y="358"/>
                      </a:lnTo>
                      <a:lnTo>
                        <a:pt x="2397" y="351"/>
                      </a:lnTo>
                      <a:lnTo>
                        <a:pt x="2458" y="343"/>
                      </a:lnTo>
                      <a:lnTo>
                        <a:pt x="2518" y="339"/>
                      </a:lnTo>
                      <a:lnTo>
                        <a:pt x="2580" y="334"/>
                      </a:lnTo>
                      <a:lnTo>
                        <a:pt x="2642" y="333"/>
                      </a:lnTo>
                      <a:lnTo>
                        <a:pt x="2704" y="331"/>
                      </a:lnTo>
                      <a:close/>
                      <a:moveTo>
                        <a:pt x="2704" y="0"/>
                      </a:moveTo>
                      <a:lnTo>
                        <a:pt x="2704" y="0"/>
                      </a:lnTo>
                      <a:lnTo>
                        <a:pt x="2630" y="1"/>
                      </a:lnTo>
                      <a:lnTo>
                        <a:pt x="2558" y="4"/>
                      </a:lnTo>
                      <a:lnTo>
                        <a:pt x="2487" y="9"/>
                      </a:lnTo>
                      <a:lnTo>
                        <a:pt x="2415" y="14"/>
                      </a:lnTo>
                      <a:lnTo>
                        <a:pt x="2345" y="23"/>
                      </a:lnTo>
                      <a:lnTo>
                        <a:pt x="2275" y="32"/>
                      </a:lnTo>
                      <a:lnTo>
                        <a:pt x="2205" y="44"/>
                      </a:lnTo>
                      <a:lnTo>
                        <a:pt x="2138" y="57"/>
                      </a:lnTo>
                      <a:lnTo>
                        <a:pt x="2070" y="72"/>
                      </a:lnTo>
                      <a:lnTo>
                        <a:pt x="2002" y="88"/>
                      </a:lnTo>
                      <a:lnTo>
                        <a:pt x="1936" y="107"/>
                      </a:lnTo>
                      <a:lnTo>
                        <a:pt x="1869" y="127"/>
                      </a:lnTo>
                      <a:lnTo>
                        <a:pt x="1804" y="149"/>
                      </a:lnTo>
                      <a:lnTo>
                        <a:pt x="1741" y="171"/>
                      </a:lnTo>
                      <a:lnTo>
                        <a:pt x="1678" y="196"/>
                      </a:lnTo>
                      <a:lnTo>
                        <a:pt x="1614" y="222"/>
                      </a:lnTo>
                      <a:lnTo>
                        <a:pt x="1552" y="249"/>
                      </a:lnTo>
                      <a:lnTo>
                        <a:pt x="1492" y="278"/>
                      </a:lnTo>
                      <a:lnTo>
                        <a:pt x="1433" y="308"/>
                      </a:lnTo>
                      <a:lnTo>
                        <a:pt x="1373" y="340"/>
                      </a:lnTo>
                      <a:lnTo>
                        <a:pt x="1315" y="374"/>
                      </a:lnTo>
                      <a:lnTo>
                        <a:pt x="1258" y="408"/>
                      </a:lnTo>
                      <a:lnTo>
                        <a:pt x="1202" y="445"/>
                      </a:lnTo>
                      <a:lnTo>
                        <a:pt x="1147" y="482"/>
                      </a:lnTo>
                      <a:lnTo>
                        <a:pt x="1092" y="520"/>
                      </a:lnTo>
                      <a:lnTo>
                        <a:pt x="1039" y="560"/>
                      </a:lnTo>
                      <a:lnTo>
                        <a:pt x="988" y="601"/>
                      </a:lnTo>
                      <a:lnTo>
                        <a:pt x="936" y="644"/>
                      </a:lnTo>
                      <a:lnTo>
                        <a:pt x="886" y="688"/>
                      </a:lnTo>
                      <a:lnTo>
                        <a:pt x="837" y="732"/>
                      </a:lnTo>
                      <a:lnTo>
                        <a:pt x="790" y="778"/>
                      </a:lnTo>
                      <a:lnTo>
                        <a:pt x="745" y="827"/>
                      </a:lnTo>
                      <a:lnTo>
                        <a:pt x="699" y="874"/>
                      </a:lnTo>
                      <a:lnTo>
                        <a:pt x="655" y="924"/>
                      </a:lnTo>
                      <a:lnTo>
                        <a:pt x="612" y="974"/>
                      </a:lnTo>
                      <a:lnTo>
                        <a:pt x="571" y="1026"/>
                      </a:lnTo>
                      <a:lnTo>
                        <a:pt x="531" y="1079"/>
                      </a:lnTo>
                      <a:lnTo>
                        <a:pt x="491" y="1134"/>
                      </a:lnTo>
                      <a:lnTo>
                        <a:pt x="454" y="1188"/>
                      </a:lnTo>
                      <a:lnTo>
                        <a:pt x="417" y="1244"/>
                      </a:lnTo>
                      <a:lnTo>
                        <a:pt x="382" y="1300"/>
                      </a:lnTo>
                      <a:lnTo>
                        <a:pt x="349" y="1358"/>
                      </a:lnTo>
                      <a:lnTo>
                        <a:pt x="317" y="1417"/>
                      </a:lnTo>
                      <a:lnTo>
                        <a:pt x="286" y="1476"/>
                      </a:lnTo>
                      <a:lnTo>
                        <a:pt x="257" y="1536"/>
                      </a:lnTo>
                      <a:lnTo>
                        <a:pt x="229" y="1598"/>
                      </a:lnTo>
                      <a:lnTo>
                        <a:pt x="202" y="1660"/>
                      </a:lnTo>
                      <a:lnTo>
                        <a:pt x="177" y="1723"/>
                      </a:lnTo>
                      <a:lnTo>
                        <a:pt x="155" y="1787"/>
                      </a:lnTo>
                      <a:lnTo>
                        <a:pt x="133" y="1852"/>
                      </a:lnTo>
                      <a:lnTo>
                        <a:pt x="112" y="1916"/>
                      </a:lnTo>
                      <a:lnTo>
                        <a:pt x="94" y="1983"/>
                      </a:lnTo>
                      <a:lnTo>
                        <a:pt x="77" y="2049"/>
                      </a:lnTo>
                      <a:lnTo>
                        <a:pt x="62" y="2115"/>
                      </a:lnTo>
                      <a:lnTo>
                        <a:pt x="47" y="2183"/>
                      </a:lnTo>
                      <a:lnTo>
                        <a:pt x="35" y="2253"/>
                      </a:lnTo>
                      <a:lnTo>
                        <a:pt x="25" y="2322"/>
                      </a:lnTo>
                      <a:lnTo>
                        <a:pt x="16" y="2391"/>
                      </a:lnTo>
                      <a:lnTo>
                        <a:pt x="10" y="2462"/>
                      </a:lnTo>
                      <a:lnTo>
                        <a:pt x="4" y="2533"/>
                      </a:lnTo>
                      <a:lnTo>
                        <a:pt x="2" y="2604"/>
                      </a:lnTo>
                      <a:lnTo>
                        <a:pt x="0" y="2676"/>
                      </a:lnTo>
                      <a:lnTo>
                        <a:pt x="0" y="2748"/>
                      </a:lnTo>
                      <a:lnTo>
                        <a:pt x="3" y="2820"/>
                      </a:lnTo>
                      <a:lnTo>
                        <a:pt x="3" y="2820"/>
                      </a:lnTo>
                      <a:lnTo>
                        <a:pt x="7" y="2894"/>
                      </a:lnTo>
                      <a:lnTo>
                        <a:pt x="12" y="2966"/>
                      </a:lnTo>
                      <a:lnTo>
                        <a:pt x="21" y="3038"/>
                      </a:lnTo>
                      <a:lnTo>
                        <a:pt x="30" y="3109"/>
                      </a:lnTo>
                      <a:lnTo>
                        <a:pt x="41" y="3180"/>
                      </a:lnTo>
                      <a:lnTo>
                        <a:pt x="53" y="3251"/>
                      </a:lnTo>
                      <a:lnTo>
                        <a:pt x="68" y="3320"/>
                      </a:lnTo>
                      <a:lnTo>
                        <a:pt x="84" y="3389"/>
                      </a:lnTo>
                      <a:lnTo>
                        <a:pt x="102" y="3459"/>
                      </a:lnTo>
                      <a:lnTo>
                        <a:pt x="121" y="3526"/>
                      </a:lnTo>
                      <a:lnTo>
                        <a:pt x="143" y="3593"/>
                      </a:lnTo>
                      <a:lnTo>
                        <a:pt x="165" y="3659"/>
                      </a:lnTo>
                      <a:lnTo>
                        <a:pt x="189" y="3726"/>
                      </a:lnTo>
                      <a:lnTo>
                        <a:pt x="215" y="3790"/>
                      </a:lnTo>
                      <a:lnTo>
                        <a:pt x="242" y="3855"/>
                      </a:lnTo>
                      <a:lnTo>
                        <a:pt x="271" y="3919"/>
                      </a:lnTo>
                      <a:lnTo>
                        <a:pt x="301" y="3982"/>
                      </a:lnTo>
                      <a:lnTo>
                        <a:pt x="333" y="4044"/>
                      </a:lnTo>
                      <a:lnTo>
                        <a:pt x="366" y="4106"/>
                      </a:lnTo>
                      <a:lnTo>
                        <a:pt x="401" y="4165"/>
                      </a:lnTo>
                      <a:lnTo>
                        <a:pt x="436" y="4225"/>
                      </a:lnTo>
                      <a:lnTo>
                        <a:pt x="473" y="4284"/>
                      </a:lnTo>
                      <a:lnTo>
                        <a:pt x="512" y="4342"/>
                      </a:lnTo>
                      <a:lnTo>
                        <a:pt x="551" y="4398"/>
                      </a:lnTo>
                      <a:lnTo>
                        <a:pt x="593" y="4454"/>
                      </a:lnTo>
                      <a:lnTo>
                        <a:pt x="635" y="4508"/>
                      </a:lnTo>
                      <a:lnTo>
                        <a:pt x="678" y="4563"/>
                      </a:lnTo>
                      <a:lnTo>
                        <a:pt x="722" y="4616"/>
                      </a:lnTo>
                      <a:lnTo>
                        <a:pt x="770" y="4668"/>
                      </a:lnTo>
                      <a:lnTo>
                        <a:pt x="817" y="4718"/>
                      </a:lnTo>
                      <a:lnTo>
                        <a:pt x="864" y="4768"/>
                      </a:lnTo>
                      <a:lnTo>
                        <a:pt x="914" y="4815"/>
                      </a:lnTo>
                      <a:lnTo>
                        <a:pt x="964" y="4862"/>
                      </a:lnTo>
                      <a:lnTo>
                        <a:pt x="1016" y="4909"/>
                      </a:lnTo>
                      <a:lnTo>
                        <a:pt x="1069" y="4954"/>
                      </a:lnTo>
                      <a:lnTo>
                        <a:pt x="1122" y="4998"/>
                      </a:lnTo>
                      <a:lnTo>
                        <a:pt x="1176" y="5041"/>
                      </a:lnTo>
                      <a:lnTo>
                        <a:pt x="1232" y="5082"/>
                      </a:lnTo>
                      <a:lnTo>
                        <a:pt x="1288" y="5122"/>
                      </a:lnTo>
                      <a:lnTo>
                        <a:pt x="1346" y="5160"/>
                      </a:lnTo>
                      <a:lnTo>
                        <a:pt x="1403" y="5197"/>
                      </a:lnTo>
                      <a:lnTo>
                        <a:pt x="1464" y="5234"/>
                      </a:lnTo>
                      <a:lnTo>
                        <a:pt x="1523" y="5268"/>
                      </a:lnTo>
                      <a:lnTo>
                        <a:pt x="1585" y="5302"/>
                      </a:lnTo>
                      <a:lnTo>
                        <a:pt x="1647" y="5333"/>
                      </a:lnTo>
                      <a:lnTo>
                        <a:pt x="1709" y="5364"/>
                      </a:lnTo>
                      <a:lnTo>
                        <a:pt x="1772" y="5393"/>
                      </a:lnTo>
                      <a:lnTo>
                        <a:pt x="1835" y="5420"/>
                      </a:lnTo>
                      <a:lnTo>
                        <a:pt x="1900" y="5446"/>
                      </a:lnTo>
                      <a:lnTo>
                        <a:pt x="1967" y="5471"/>
                      </a:lnTo>
                      <a:lnTo>
                        <a:pt x="2033" y="5493"/>
                      </a:lnTo>
                      <a:lnTo>
                        <a:pt x="2099" y="5515"/>
                      </a:lnTo>
                      <a:lnTo>
                        <a:pt x="2167" y="5535"/>
                      </a:lnTo>
                      <a:lnTo>
                        <a:pt x="2235" y="5554"/>
                      </a:lnTo>
                      <a:lnTo>
                        <a:pt x="2303" y="5570"/>
                      </a:lnTo>
                      <a:lnTo>
                        <a:pt x="2372" y="5585"/>
                      </a:lnTo>
                      <a:lnTo>
                        <a:pt x="2443" y="5598"/>
                      </a:lnTo>
                      <a:lnTo>
                        <a:pt x="2512" y="5610"/>
                      </a:lnTo>
                      <a:lnTo>
                        <a:pt x="2583" y="5619"/>
                      </a:lnTo>
                      <a:lnTo>
                        <a:pt x="2654" y="5628"/>
                      </a:lnTo>
                      <a:lnTo>
                        <a:pt x="2726" y="5633"/>
                      </a:lnTo>
                      <a:lnTo>
                        <a:pt x="2798" y="5638"/>
                      </a:lnTo>
                      <a:lnTo>
                        <a:pt x="2870" y="5641"/>
                      </a:lnTo>
                      <a:lnTo>
                        <a:pt x="2943" y="5642"/>
                      </a:lnTo>
                      <a:lnTo>
                        <a:pt x="2943" y="5642"/>
                      </a:lnTo>
                      <a:lnTo>
                        <a:pt x="3016" y="5641"/>
                      </a:lnTo>
                      <a:lnTo>
                        <a:pt x="3088" y="5638"/>
                      </a:lnTo>
                      <a:lnTo>
                        <a:pt x="3159" y="5633"/>
                      </a:lnTo>
                      <a:lnTo>
                        <a:pt x="3231" y="5628"/>
                      </a:lnTo>
                      <a:lnTo>
                        <a:pt x="3302" y="5619"/>
                      </a:lnTo>
                      <a:lnTo>
                        <a:pt x="3372" y="5610"/>
                      </a:lnTo>
                      <a:lnTo>
                        <a:pt x="3441" y="5598"/>
                      </a:lnTo>
                      <a:lnTo>
                        <a:pt x="3509" y="5585"/>
                      </a:lnTo>
                      <a:lnTo>
                        <a:pt x="3578" y="5570"/>
                      </a:lnTo>
                      <a:lnTo>
                        <a:pt x="3644" y="5554"/>
                      </a:lnTo>
                      <a:lnTo>
                        <a:pt x="3711" y="5535"/>
                      </a:lnTo>
                      <a:lnTo>
                        <a:pt x="3777" y="5515"/>
                      </a:lnTo>
                      <a:lnTo>
                        <a:pt x="3842" y="5493"/>
                      </a:lnTo>
                      <a:lnTo>
                        <a:pt x="3905" y="5471"/>
                      </a:lnTo>
                      <a:lnTo>
                        <a:pt x="3969" y="5446"/>
                      </a:lnTo>
                      <a:lnTo>
                        <a:pt x="4032" y="5420"/>
                      </a:lnTo>
                      <a:lnTo>
                        <a:pt x="4094" y="5393"/>
                      </a:lnTo>
                      <a:lnTo>
                        <a:pt x="4154" y="5364"/>
                      </a:lnTo>
                      <a:lnTo>
                        <a:pt x="4215" y="5333"/>
                      </a:lnTo>
                      <a:lnTo>
                        <a:pt x="4274" y="5302"/>
                      </a:lnTo>
                      <a:lnTo>
                        <a:pt x="4331" y="5268"/>
                      </a:lnTo>
                      <a:lnTo>
                        <a:pt x="4389" y="5234"/>
                      </a:lnTo>
                      <a:lnTo>
                        <a:pt x="4445" y="5197"/>
                      </a:lnTo>
                      <a:lnTo>
                        <a:pt x="4499" y="5160"/>
                      </a:lnTo>
                      <a:lnTo>
                        <a:pt x="4554" y="5122"/>
                      </a:lnTo>
                      <a:lnTo>
                        <a:pt x="4607" y="5082"/>
                      </a:lnTo>
                      <a:lnTo>
                        <a:pt x="4659" y="5041"/>
                      </a:lnTo>
                      <a:lnTo>
                        <a:pt x="4710" y="4998"/>
                      </a:lnTo>
                      <a:lnTo>
                        <a:pt x="4760" y="4954"/>
                      </a:lnTo>
                      <a:lnTo>
                        <a:pt x="4809" y="4909"/>
                      </a:lnTo>
                      <a:lnTo>
                        <a:pt x="4856" y="4862"/>
                      </a:lnTo>
                      <a:lnTo>
                        <a:pt x="4903" y="4815"/>
                      </a:lnTo>
                      <a:lnTo>
                        <a:pt x="4947" y="4768"/>
                      </a:lnTo>
                      <a:lnTo>
                        <a:pt x="4992" y="4718"/>
                      </a:lnTo>
                      <a:lnTo>
                        <a:pt x="5034" y="4668"/>
                      </a:lnTo>
                      <a:lnTo>
                        <a:pt x="5076" y="4616"/>
                      </a:lnTo>
                      <a:lnTo>
                        <a:pt x="5117" y="4563"/>
                      </a:lnTo>
                      <a:lnTo>
                        <a:pt x="5155" y="4508"/>
                      </a:lnTo>
                      <a:lnTo>
                        <a:pt x="5194" y="4454"/>
                      </a:lnTo>
                      <a:lnTo>
                        <a:pt x="5229" y="4398"/>
                      </a:lnTo>
                      <a:lnTo>
                        <a:pt x="5264" y="4342"/>
                      </a:lnTo>
                      <a:lnTo>
                        <a:pt x="5298" y="4284"/>
                      </a:lnTo>
                      <a:lnTo>
                        <a:pt x="5329" y="4225"/>
                      </a:lnTo>
                      <a:lnTo>
                        <a:pt x="5360" y="4165"/>
                      </a:lnTo>
                      <a:lnTo>
                        <a:pt x="5390" y="4106"/>
                      </a:lnTo>
                      <a:lnTo>
                        <a:pt x="5418" y="4044"/>
                      </a:lnTo>
                      <a:lnTo>
                        <a:pt x="5444" y="3982"/>
                      </a:lnTo>
                      <a:lnTo>
                        <a:pt x="5469" y="3919"/>
                      </a:lnTo>
                      <a:lnTo>
                        <a:pt x="5493" y="3855"/>
                      </a:lnTo>
                      <a:lnTo>
                        <a:pt x="5514" y="3790"/>
                      </a:lnTo>
                      <a:lnTo>
                        <a:pt x="5534" y="3726"/>
                      </a:lnTo>
                      <a:lnTo>
                        <a:pt x="5553" y="3659"/>
                      </a:lnTo>
                      <a:lnTo>
                        <a:pt x="5570" y="3593"/>
                      </a:lnTo>
                      <a:lnTo>
                        <a:pt x="5584" y="3526"/>
                      </a:lnTo>
                      <a:lnTo>
                        <a:pt x="5599" y="3459"/>
                      </a:lnTo>
                      <a:lnTo>
                        <a:pt x="5611" y="3389"/>
                      </a:lnTo>
                      <a:lnTo>
                        <a:pt x="5621" y="3320"/>
                      </a:lnTo>
                      <a:lnTo>
                        <a:pt x="5630" y="3251"/>
                      </a:lnTo>
                      <a:lnTo>
                        <a:pt x="5636" y="3180"/>
                      </a:lnTo>
                      <a:lnTo>
                        <a:pt x="5642" y="3109"/>
                      </a:lnTo>
                      <a:lnTo>
                        <a:pt x="5645" y="3038"/>
                      </a:lnTo>
                      <a:lnTo>
                        <a:pt x="5646" y="2966"/>
                      </a:lnTo>
                      <a:lnTo>
                        <a:pt x="5646" y="2894"/>
                      </a:lnTo>
                      <a:lnTo>
                        <a:pt x="5643" y="2820"/>
                      </a:lnTo>
                      <a:lnTo>
                        <a:pt x="5643" y="2820"/>
                      </a:lnTo>
                      <a:lnTo>
                        <a:pt x="5640" y="2748"/>
                      </a:lnTo>
                      <a:lnTo>
                        <a:pt x="5634" y="2676"/>
                      </a:lnTo>
                      <a:lnTo>
                        <a:pt x="5627" y="2604"/>
                      </a:lnTo>
                      <a:lnTo>
                        <a:pt x="5617" y="2533"/>
                      </a:lnTo>
                      <a:lnTo>
                        <a:pt x="5606" y="2462"/>
                      </a:lnTo>
                      <a:lnTo>
                        <a:pt x="5593" y="2391"/>
                      </a:lnTo>
                      <a:lnTo>
                        <a:pt x="5578" y="2322"/>
                      </a:lnTo>
                      <a:lnTo>
                        <a:pt x="5562" y="2253"/>
                      </a:lnTo>
                      <a:lnTo>
                        <a:pt x="5545" y="2183"/>
                      </a:lnTo>
                      <a:lnTo>
                        <a:pt x="5525" y="2115"/>
                      </a:lnTo>
                      <a:lnTo>
                        <a:pt x="5505" y="2049"/>
                      </a:lnTo>
                      <a:lnTo>
                        <a:pt x="5481" y="1983"/>
                      </a:lnTo>
                      <a:lnTo>
                        <a:pt x="5458" y="1916"/>
                      </a:lnTo>
                      <a:lnTo>
                        <a:pt x="5431" y="1852"/>
                      </a:lnTo>
                      <a:lnTo>
                        <a:pt x="5404" y="1787"/>
                      </a:lnTo>
                      <a:lnTo>
                        <a:pt x="5375" y="1723"/>
                      </a:lnTo>
                      <a:lnTo>
                        <a:pt x="5346" y="1660"/>
                      </a:lnTo>
                      <a:lnTo>
                        <a:pt x="5313" y="1598"/>
                      </a:lnTo>
                      <a:lnTo>
                        <a:pt x="5281" y="1536"/>
                      </a:lnTo>
                      <a:lnTo>
                        <a:pt x="5247" y="1476"/>
                      </a:lnTo>
                      <a:lnTo>
                        <a:pt x="5210" y="1417"/>
                      </a:lnTo>
                      <a:lnTo>
                        <a:pt x="5173" y="1358"/>
                      </a:lnTo>
                      <a:lnTo>
                        <a:pt x="5135" y="1300"/>
                      </a:lnTo>
                      <a:lnTo>
                        <a:pt x="5095" y="1244"/>
                      </a:lnTo>
                      <a:lnTo>
                        <a:pt x="5054" y="1188"/>
                      </a:lnTo>
                      <a:lnTo>
                        <a:pt x="5012" y="1134"/>
                      </a:lnTo>
                      <a:lnTo>
                        <a:pt x="4968" y="1079"/>
                      </a:lnTo>
                      <a:lnTo>
                        <a:pt x="4924" y="1026"/>
                      </a:lnTo>
                      <a:lnTo>
                        <a:pt x="4878" y="974"/>
                      </a:lnTo>
                      <a:lnTo>
                        <a:pt x="4831" y="924"/>
                      </a:lnTo>
                      <a:lnTo>
                        <a:pt x="4782" y="874"/>
                      </a:lnTo>
                      <a:lnTo>
                        <a:pt x="4732" y="827"/>
                      </a:lnTo>
                      <a:lnTo>
                        <a:pt x="4682" y="778"/>
                      </a:lnTo>
                      <a:lnTo>
                        <a:pt x="4631" y="732"/>
                      </a:lnTo>
                      <a:lnTo>
                        <a:pt x="4579" y="688"/>
                      </a:lnTo>
                      <a:lnTo>
                        <a:pt x="4524" y="644"/>
                      </a:lnTo>
                      <a:lnTo>
                        <a:pt x="4470" y="601"/>
                      </a:lnTo>
                      <a:lnTo>
                        <a:pt x="4415" y="560"/>
                      </a:lnTo>
                      <a:lnTo>
                        <a:pt x="4358" y="520"/>
                      </a:lnTo>
                      <a:lnTo>
                        <a:pt x="4300" y="482"/>
                      </a:lnTo>
                      <a:lnTo>
                        <a:pt x="4243" y="445"/>
                      </a:lnTo>
                      <a:lnTo>
                        <a:pt x="4184" y="408"/>
                      </a:lnTo>
                      <a:lnTo>
                        <a:pt x="4123" y="374"/>
                      </a:lnTo>
                      <a:lnTo>
                        <a:pt x="4061" y="340"/>
                      </a:lnTo>
                      <a:lnTo>
                        <a:pt x="4001" y="308"/>
                      </a:lnTo>
                      <a:lnTo>
                        <a:pt x="3938" y="278"/>
                      </a:lnTo>
                      <a:lnTo>
                        <a:pt x="3874" y="249"/>
                      </a:lnTo>
                      <a:lnTo>
                        <a:pt x="3811" y="222"/>
                      </a:lnTo>
                      <a:lnTo>
                        <a:pt x="3746" y="196"/>
                      </a:lnTo>
                      <a:lnTo>
                        <a:pt x="3680" y="171"/>
                      </a:lnTo>
                      <a:lnTo>
                        <a:pt x="3615" y="149"/>
                      </a:lnTo>
                      <a:lnTo>
                        <a:pt x="3547" y="127"/>
                      </a:lnTo>
                      <a:lnTo>
                        <a:pt x="3481" y="107"/>
                      </a:lnTo>
                      <a:lnTo>
                        <a:pt x="3411" y="88"/>
                      </a:lnTo>
                      <a:lnTo>
                        <a:pt x="3344" y="72"/>
                      </a:lnTo>
                      <a:lnTo>
                        <a:pt x="3274" y="57"/>
                      </a:lnTo>
                      <a:lnTo>
                        <a:pt x="3205" y="44"/>
                      </a:lnTo>
                      <a:lnTo>
                        <a:pt x="3134" y="32"/>
                      </a:lnTo>
                      <a:lnTo>
                        <a:pt x="3063" y="23"/>
                      </a:lnTo>
                      <a:lnTo>
                        <a:pt x="2993" y="14"/>
                      </a:lnTo>
                      <a:lnTo>
                        <a:pt x="2920" y="9"/>
                      </a:lnTo>
                      <a:lnTo>
                        <a:pt x="2848" y="4"/>
                      </a:lnTo>
                      <a:lnTo>
                        <a:pt x="2776" y="1"/>
                      </a:lnTo>
                      <a:lnTo>
                        <a:pt x="2704" y="0"/>
                      </a:lnTo>
                      <a:lnTo>
                        <a:pt x="270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28" name="Freeform 16">
                  <a:extLst>
                    <a:ext uri="{FF2B5EF4-FFF2-40B4-BE49-F238E27FC236}">
                      <a16:creationId xmlns:a16="http://schemas.microsoft.com/office/drawing/2014/main" xmlns="" id="{CB5F9A0A-0292-8C4E-B6E2-1C4BEB361C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13750" y="404813"/>
                  <a:ext cx="2928938" cy="2925763"/>
                </a:xfrm>
                <a:custGeom>
                  <a:avLst/>
                  <a:gdLst/>
                  <a:ahLst/>
                  <a:cxnLst>
                    <a:cxn ang="0">
                      <a:pos x="3124" y="135"/>
                    </a:cxn>
                    <a:cxn ang="0">
                      <a:pos x="3699" y="303"/>
                    </a:cxn>
                    <a:cxn ang="0">
                      <a:pos x="4218" y="588"/>
                    </a:cxn>
                    <a:cxn ang="0">
                      <a:pos x="4666" y="971"/>
                    </a:cxn>
                    <a:cxn ang="0">
                      <a:pos x="5027" y="1439"/>
                    </a:cxn>
                    <a:cxn ang="0">
                      <a:pos x="5285" y="1974"/>
                    </a:cxn>
                    <a:cxn ang="0">
                      <a:pos x="5422" y="2564"/>
                    </a:cxn>
                    <a:cxn ang="0">
                      <a:pos x="5433" y="3100"/>
                    </a:cxn>
                    <a:cxn ang="0">
                      <a:pos x="5322" y="3670"/>
                    </a:cxn>
                    <a:cxn ang="0">
                      <a:pos x="5088" y="4194"/>
                    </a:cxn>
                    <a:cxn ang="0">
                      <a:pos x="4737" y="4656"/>
                    </a:cxn>
                    <a:cxn ang="0">
                      <a:pos x="4345" y="4991"/>
                    </a:cxn>
                    <a:cxn ang="0">
                      <a:pos x="3839" y="5259"/>
                    </a:cxn>
                    <a:cxn ang="0">
                      <a:pos x="3279" y="5408"/>
                    </a:cxn>
                    <a:cxn ang="0">
                      <a:pos x="2748" y="5433"/>
                    </a:cxn>
                    <a:cxn ang="0">
                      <a:pos x="2149" y="5336"/>
                    </a:cxn>
                    <a:cxn ang="0">
                      <a:pos x="1597" y="5113"/>
                    </a:cxn>
                    <a:cxn ang="0">
                      <a:pos x="1107" y="4784"/>
                    </a:cxn>
                    <a:cxn ang="0">
                      <a:pos x="696" y="4361"/>
                    </a:cxn>
                    <a:cxn ang="0">
                      <a:pos x="379" y="3861"/>
                    </a:cxn>
                    <a:cxn ang="0">
                      <a:pos x="173" y="3299"/>
                    </a:cxn>
                    <a:cxn ang="0">
                      <a:pos x="96" y="2761"/>
                    </a:cxn>
                    <a:cxn ang="0">
                      <a:pos x="136" y="2172"/>
                    </a:cxn>
                    <a:cxn ang="0">
                      <a:pos x="302" y="1620"/>
                    </a:cxn>
                    <a:cxn ang="0">
                      <a:pos x="588" y="1122"/>
                    </a:cxn>
                    <a:cxn ang="0">
                      <a:pos x="938" y="738"/>
                    </a:cxn>
                    <a:cxn ang="0">
                      <a:pos x="1408" y="405"/>
                    </a:cxn>
                    <a:cxn ang="0">
                      <a:pos x="1939" y="190"/>
                    </a:cxn>
                    <a:cxn ang="0">
                      <a:pos x="2517" y="96"/>
                    </a:cxn>
                    <a:cxn ang="0">
                      <a:pos x="2298" y="22"/>
                    </a:cxn>
                    <a:cxn ang="0">
                      <a:pos x="1706" y="168"/>
                    </a:cxn>
                    <a:cxn ang="0">
                      <a:pos x="1178" y="436"/>
                    </a:cxn>
                    <a:cxn ang="0">
                      <a:pos x="730" y="811"/>
                    </a:cxn>
                    <a:cxn ang="0">
                      <a:pos x="374" y="1275"/>
                    </a:cxn>
                    <a:cxn ang="0">
                      <a:pos x="130" y="1815"/>
                    </a:cxn>
                    <a:cxn ang="0">
                      <a:pos x="10" y="2413"/>
                    </a:cxn>
                    <a:cxn ang="0">
                      <a:pos x="21" y="2978"/>
                    </a:cxn>
                    <a:cxn ang="0">
                      <a:pos x="162" y="3587"/>
                    </a:cxn>
                    <a:cxn ang="0">
                      <a:pos x="428" y="4141"/>
                    </a:cxn>
                    <a:cxn ang="0">
                      <a:pos x="801" y="4623"/>
                    </a:cxn>
                    <a:cxn ang="0">
                      <a:pos x="1263" y="5020"/>
                    </a:cxn>
                    <a:cxn ang="0">
                      <a:pos x="1800" y="5312"/>
                    </a:cxn>
                    <a:cxn ang="0">
                      <a:pos x="2394" y="5486"/>
                    </a:cxn>
                    <a:cxn ang="0">
                      <a:pos x="2956" y="5529"/>
                    </a:cxn>
                    <a:cxn ang="0">
                      <a:pos x="3572" y="5443"/>
                    </a:cxn>
                    <a:cxn ang="0">
                      <a:pos x="4131" y="5228"/>
                    </a:cxn>
                    <a:cxn ang="0">
                      <a:pos x="4616" y="4898"/>
                    </a:cxn>
                    <a:cxn ang="0">
                      <a:pos x="5015" y="4472"/>
                    </a:cxn>
                    <a:cxn ang="0">
                      <a:pos x="5310" y="3963"/>
                    </a:cxn>
                    <a:cxn ang="0">
                      <a:pos x="5487" y="3389"/>
                    </a:cxn>
                    <a:cxn ang="0">
                      <a:pos x="5531" y="2764"/>
                    </a:cxn>
                    <a:cxn ang="0">
                      <a:pos x="5452" y="2208"/>
                    </a:cxn>
                    <a:cxn ang="0">
                      <a:pos x="5239" y="1627"/>
                    </a:cxn>
                    <a:cxn ang="0">
                      <a:pos x="4912" y="1111"/>
                    </a:cxn>
                    <a:cxn ang="0">
                      <a:pos x="4488" y="675"/>
                    </a:cxn>
                    <a:cxn ang="0">
                      <a:pos x="3982" y="334"/>
                    </a:cxn>
                    <a:cxn ang="0">
                      <a:pos x="3411" y="104"/>
                    </a:cxn>
                    <a:cxn ang="0">
                      <a:pos x="2792" y="4"/>
                    </a:cxn>
                  </a:cxnLst>
                  <a:rect l="0" t="0" r="r" b="b"/>
                  <a:pathLst>
                    <a:path w="5534" h="5530">
                      <a:moveTo>
                        <a:pt x="2649" y="93"/>
                      </a:moveTo>
                      <a:lnTo>
                        <a:pt x="2649" y="93"/>
                      </a:lnTo>
                      <a:lnTo>
                        <a:pt x="2718" y="94"/>
                      </a:lnTo>
                      <a:lnTo>
                        <a:pt x="2788" y="97"/>
                      </a:lnTo>
                      <a:lnTo>
                        <a:pt x="2856" y="101"/>
                      </a:lnTo>
                      <a:lnTo>
                        <a:pt x="2923" y="107"/>
                      </a:lnTo>
                      <a:lnTo>
                        <a:pt x="2991" y="115"/>
                      </a:lnTo>
                      <a:lnTo>
                        <a:pt x="3058" y="124"/>
                      </a:lnTo>
                      <a:lnTo>
                        <a:pt x="3124" y="135"/>
                      </a:lnTo>
                      <a:lnTo>
                        <a:pt x="3190" y="147"/>
                      </a:lnTo>
                      <a:lnTo>
                        <a:pt x="3257" y="162"/>
                      </a:lnTo>
                      <a:lnTo>
                        <a:pt x="3321" y="178"/>
                      </a:lnTo>
                      <a:lnTo>
                        <a:pt x="3385" y="194"/>
                      </a:lnTo>
                      <a:lnTo>
                        <a:pt x="3450" y="214"/>
                      </a:lnTo>
                      <a:lnTo>
                        <a:pt x="3513" y="234"/>
                      </a:lnTo>
                      <a:lnTo>
                        <a:pt x="3575" y="256"/>
                      </a:lnTo>
                      <a:lnTo>
                        <a:pt x="3637" y="278"/>
                      </a:lnTo>
                      <a:lnTo>
                        <a:pt x="3699" y="303"/>
                      </a:lnTo>
                      <a:lnTo>
                        <a:pt x="3759" y="330"/>
                      </a:lnTo>
                      <a:lnTo>
                        <a:pt x="3820" y="358"/>
                      </a:lnTo>
                      <a:lnTo>
                        <a:pt x="3879" y="386"/>
                      </a:lnTo>
                      <a:lnTo>
                        <a:pt x="3938" y="417"/>
                      </a:lnTo>
                      <a:lnTo>
                        <a:pt x="3995" y="448"/>
                      </a:lnTo>
                      <a:lnTo>
                        <a:pt x="4053" y="480"/>
                      </a:lnTo>
                      <a:lnTo>
                        <a:pt x="4109" y="516"/>
                      </a:lnTo>
                      <a:lnTo>
                        <a:pt x="4163" y="551"/>
                      </a:lnTo>
                      <a:lnTo>
                        <a:pt x="4218" y="588"/>
                      </a:lnTo>
                      <a:lnTo>
                        <a:pt x="4272" y="625"/>
                      </a:lnTo>
                      <a:lnTo>
                        <a:pt x="4325" y="665"/>
                      </a:lnTo>
                      <a:lnTo>
                        <a:pt x="4377" y="705"/>
                      </a:lnTo>
                      <a:lnTo>
                        <a:pt x="4427" y="746"/>
                      </a:lnTo>
                      <a:lnTo>
                        <a:pt x="4477" y="789"/>
                      </a:lnTo>
                      <a:lnTo>
                        <a:pt x="4526" y="833"/>
                      </a:lnTo>
                      <a:lnTo>
                        <a:pt x="4575" y="877"/>
                      </a:lnTo>
                      <a:lnTo>
                        <a:pt x="4620" y="924"/>
                      </a:lnTo>
                      <a:lnTo>
                        <a:pt x="4666" y="971"/>
                      </a:lnTo>
                      <a:lnTo>
                        <a:pt x="4712" y="1019"/>
                      </a:lnTo>
                      <a:lnTo>
                        <a:pt x="4754" y="1067"/>
                      </a:lnTo>
                      <a:lnTo>
                        <a:pt x="4797" y="1117"/>
                      </a:lnTo>
                      <a:lnTo>
                        <a:pt x="4838" y="1169"/>
                      </a:lnTo>
                      <a:lnTo>
                        <a:pt x="4878" y="1221"/>
                      </a:lnTo>
                      <a:lnTo>
                        <a:pt x="4918" y="1274"/>
                      </a:lnTo>
                      <a:lnTo>
                        <a:pt x="4955" y="1328"/>
                      </a:lnTo>
                      <a:lnTo>
                        <a:pt x="4992" y="1383"/>
                      </a:lnTo>
                      <a:lnTo>
                        <a:pt x="5027" y="1439"/>
                      </a:lnTo>
                      <a:lnTo>
                        <a:pt x="5061" y="1495"/>
                      </a:lnTo>
                      <a:lnTo>
                        <a:pt x="5093" y="1552"/>
                      </a:lnTo>
                      <a:lnTo>
                        <a:pt x="5126" y="1610"/>
                      </a:lnTo>
                      <a:lnTo>
                        <a:pt x="5155" y="1669"/>
                      </a:lnTo>
                      <a:lnTo>
                        <a:pt x="5183" y="1728"/>
                      </a:lnTo>
                      <a:lnTo>
                        <a:pt x="5211" y="1788"/>
                      </a:lnTo>
                      <a:lnTo>
                        <a:pt x="5236" y="1850"/>
                      </a:lnTo>
                      <a:lnTo>
                        <a:pt x="5262" y="1912"/>
                      </a:lnTo>
                      <a:lnTo>
                        <a:pt x="5285" y="1974"/>
                      </a:lnTo>
                      <a:lnTo>
                        <a:pt x="5306" y="2037"/>
                      </a:lnTo>
                      <a:lnTo>
                        <a:pt x="5326" y="2101"/>
                      </a:lnTo>
                      <a:lnTo>
                        <a:pt x="5344" y="2166"/>
                      </a:lnTo>
                      <a:lnTo>
                        <a:pt x="5362" y="2231"/>
                      </a:lnTo>
                      <a:lnTo>
                        <a:pt x="5376" y="2295"/>
                      </a:lnTo>
                      <a:lnTo>
                        <a:pt x="5391" y="2362"/>
                      </a:lnTo>
                      <a:lnTo>
                        <a:pt x="5403" y="2428"/>
                      </a:lnTo>
                      <a:lnTo>
                        <a:pt x="5413" y="2496"/>
                      </a:lnTo>
                      <a:lnTo>
                        <a:pt x="5422" y="2564"/>
                      </a:lnTo>
                      <a:lnTo>
                        <a:pt x="5430" y="2632"/>
                      </a:lnTo>
                      <a:lnTo>
                        <a:pt x="5435" y="2699"/>
                      </a:lnTo>
                      <a:lnTo>
                        <a:pt x="5438" y="2769"/>
                      </a:lnTo>
                      <a:lnTo>
                        <a:pt x="5438" y="2769"/>
                      </a:lnTo>
                      <a:lnTo>
                        <a:pt x="5441" y="2835"/>
                      </a:lnTo>
                      <a:lnTo>
                        <a:pt x="5441" y="2903"/>
                      </a:lnTo>
                      <a:lnTo>
                        <a:pt x="5440" y="2968"/>
                      </a:lnTo>
                      <a:lnTo>
                        <a:pt x="5437" y="3034"/>
                      </a:lnTo>
                      <a:lnTo>
                        <a:pt x="5433" y="3100"/>
                      </a:lnTo>
                      <a:lnTo>
                        <a:pt x="5427" y="3165"/>
                      </a:lnTo>
                      <a:lnTo>
                        <a:pt x="5419" y="3230"/>
                      </a:lnTo>
                      <a:lnTo>
                        <a:pt x="5410" y="3294"/>
                      </a:lnTo>
                      <a:lnTo>
                        <a:pt x="5399" y="3358"/>
                      </a:lnTo>
                      <a:lnTo>
                        <a:pt x="5387" y="3422"/>
                      </a:lnTo>
                      <a:lnTo>
                        <a:pt x="5374" y="3484"/>
                      </a:lnTo>
                      <a:lnTo>
                        <a:pt x="5357" y="3547"/>
                      </a:lnTo>
                      <a:lnTo>
                        <a:pt x="5341" y="3609"/>
                      </a:lnTo>
                      <a:lnTo>
                        <a:pt x="5322" y="3670"/>
                      </a:lnTo>
                      <a:lnTo>
                        <a:pt x="5303" y="3731"/>
                      </a:lnTo>
                      <a:lnTo>
                        <a:pt x="5281" y="3792"/>
                      </a:lnTo>
                      <a:lnTo>
                        <a:pt x="5257" y="3851"/>
                      </a:lnTo>
                      <a:lnTo>
                        <a:pt x="5233" y="3910"/>
                      </a:lnTo>
                      <a:lnTo>
                        <a:pt x="5207" y="3969"/>
                      </a:lnTo>
                      <a:lnTo>
                        <a:pt x="5179" y="4026"/>
                      </a:lnTo>
                      <a:lnTo>
                        <a:pt x="5151" y="4082"/>
                      </a:lnTo>
                      <a:lnTo>
                        <a:pt x="5120" y="4140"/>
                      </a:lnTo>
                      <a:lnTo>
                        <a:pt x="5088" y="4194"/>
                      </a:lnTo>
                      <a:lnTo>
                        <a:pt x="5055" y="4249"/>
                      </a:lnTo>
                      <a:lnTo>
                        <a:pt x="5020" y="4304"/>
                      </a:lnTo>
                      <a:lnTo>
                        <a:pt x="4984" y="4357"/>
                      </a:lnTo>
                      <a:lnTo>
                        <a:pt x="4946" y="4408"/>
                      </a:lnTo>
                      <a:lnTo>
                        <a:pt x="4908" y="4460"/>
                      </a:lnTo>
                      <a:lnTo>
                        <a:pt x="4866" y="4510"/>
                      </a:lnTo>
                      <a:lnTo>
                        <a:pt x="4825" y="4560"/>
                      </a:lnTo>
                      <a:lnTo>
                        <a:pt x="4782" y="4609"/>
                      </a:lnTo>
                      <a:lnTo>
                        <a:pt x="4737" y="4656"/>
                      </a:lnTo>
                      <a:lnTo>
                        <a:pt x="4737" y="4656"/>
                      </a:lnTo>
                      <a:lnTo>
                        <a:pt x="4691" y="4703"/>
                      </a:lnTo>
                      <a:lnTo>
                        <a:pt x="4645" y="4749"/>
                      </a:lnTo>
                      <a:lnTo>
                        <a:pt x="4597" y="4792"/>
                      </a:lnTo>
                      <a:lnTo>
                        <a:pt x="4548" y="4834"/>
                      </a:lnTo>
                      <a:lnTo>
                        <a:pt x="4499" y="4876"/>
                      </a:lnTo>
                      <a:lnTo>
                        <a:pt x="4448" y="4915"/>
                      </a:lnTo>
                      <a:lnTo>
                        <a:pt x="4398" y="4954"/>
                      </a:lnTo>
                      <a:lnTo>
                        <a:pt x="4345" y="4991"/>
                      </a:lnTo>
                      <a:lnTo>
                        <a:pt x="4291" y="5026"/>
                      </a:lnTo>
                      <a:lnTo>
                        <a:pt x="4237" y="5060"/>
                      </a:lnTo>
                      <a:lnTo>
                        <a:pt x="4182" y="5094"/>
                      </a:lnTo>
                      <a:lnTo>
                        <a:pt x="4128" y="5125"/>
                      </a:lnTo>
                      <a:lnTo>
                        <a:pt x="4070" y="5154"/>
                      </a:lnTo>
                      <a:lnTo>
                        <a:pt x="4014" y="5182"/>
                      </a:lnTo>
                      <a:lnTo>
                        <a:pt x="3955" y="5210"/>
                      </a:lnTo>
                      <a:lnTo>
                        <a:pt x="3898" y="5235"/>
                      </a:lnTo>
                      <a:lnTo>
                        <a:pt x="3839" y="5259"/>
                      </a:lnTo>
                      <a:lnTo>
                        <a:pt x="3778" y="5283"/>
                      </a:lnTo>
                      <a:lnTo>
                        <a:pt x="3718" y="5303"/>
                      </a:lnTo>
                      <a:lnTo>
                        <a:pt x="3658" y="5322"/>
                      </a:lnTo>
                      <a:lnTo>
                        <a:pt x="3596" y="5340"/>
                      </a:lnTo>
                      <a:lnTo>
                        <a:pt x="3534" y="5358"/>
                      </a:lnTo>
                      <a:lnTo>
                        <a:pt x="3470" y="5372"/>
                      </a:lnTo>
                      <a:lnTo>
                        <a:pt x="3407" y="5386"/>
                      </a:lnTo>
                      <a:lnTo>
                        <a:pt x="3344" y="5398"/>
                      </a:lnTo>
                      <a:lnTo>
                        <a:pt x="3279" y="5408"/>
                      </a:lnTo>
                      <a:lnTo>
                        <a:pt x="3214" y="5417"/>
                      </a:lnTo>
                      <a:lnTo>
                        <a:pt x="3149" y="5424"/>
                      </a:lnTo>
                      <a:lnTo>
                        <a:pt x="3084" y="5430"/>
                      </a:lnTo>
                      <a:lnTo>
                        <a:pt x="3018" y="5433"/>
                      </a:lnTo>
                      <a:lnTo>
                        <a:pt x="2951" y="5436"/>
                      </a:lnTo>
                      <a:lnTo>
                        <a:pt x="2885" y="5437"/>
                      </a:lnTo>
                      <a:lnTo>
                        <a:pt x="2885" y="5437"/>
                      </a:lnTo>
                      <a:lnTo>
                        <a:pt x="2816" y="5436"/>
                      </a:lnTo>
                      <a:lnTo>
                        <a:pt x="2748" y="5433"/>
                      </a:lnTo>
                      <a:lnTo>
                        <a:pt x="2679" y="5428"/>
                      </a:lnTo>
                      <a:lnTo>
                        <a:pt x="2611" y="5423"/>
                      </a:lnTo>
                      <a:lnTo>
                        <a:pt x="2543" y="5415"/>
                      </a:lnTo>
                      <a:lnTo>
                        <a:pt x="2477" y="5406"/>
                      </a:lnTo>
                      <a:lnTo>
                        <a:pt x="2410" y="5395"/>
                      </a:lnTo>
                      <a:lnTo>
                        <a:pt x="2344" y="5383"/>
                      </a:lnTo>
                      <a:lnTo>
                        <a:pt x="2279" y="5368"/>
                      </a:lnTo>
                      <a:lnTo>
                        <a:pt x="2213" y="5352"/>
                      </a:lnTo>
                      <a:lnTo>
                        <a:pt x="2149" y="5336"/>
                      </a:lnTo>
                      <a:lnTo>
                        <a:pt x="2085" y="5316"/>
                      </a:lnTo>
                      <a:lnTo>
                        <a:pt x="2021" y="5296"/>
                      </a:lnTo>
                      <a:lnTo>
                        <a:pt x="1959" y="5274"/>
                      </a:lnTo>
                      <a:lnTo>
                        <a:pt x="1897" y="5252"/>
                      </a:lnTo>
                      <a:lnTo>
                        <a:pt x="1835" y="5226"/>
                      </a:lnTo>
                      <a:lnTo>
                        <a:pt x="1775" y="5200"/>
                      </a:lnTo>
                      <a:lnTo>
                        <a:pt x="1715" y="5172"/>
                      </a:lnTo>
                      <a:lnTo>
                        <a:pt x="1656" y="5144"/>
                      </a:lnTo>
                      <a:lnTo>
                        <a:pt x="1597" y="5113"/>
                      </a:lnTo>
                      <a:lnTo>
                        <a:pt x="1539" y="5082"/>
                      </a:lnTo>
                      <a:lnTo>
                        <a:pt x="1482" y="5050"/>
                      </a:lnTo>
                      <a:lnTo>
                        <a:pt x="1426" y="5014"/>
                      </a:lnTo>
                      <a:lnTo>
                        <a:pt x="1371" y="4979"/>
                      </a:lnTo>
                      <a:lnTo>
                        <a:pt x="1317" y="4942"/>
                      </a:lnTo>
                      <a:lnTo>
                        <a:pt x="1262" y="4905"/>
                      </a:lnTo>
                      <a:lnTo>
                        <a:pt x="1210" y="4865"/>
                      </a:lnTo>
                      <a:lnTo>
                        <a:pt x="1159" y="4825"/>
                      </a:lnTo>
                      <a:lnTo>
                        <a:pt x="1107" y="4784"/>
                      </a:lnTo>
                      <a:lnTo>
                        <a:pt x="1057" y="4741"/>
                      </a:lnTo>
                      <a:lnTo>
                        <a:pt x="1008" y="4697"/>
                      </a:lnTo>
                      <a:lnTo>
                        <a:pt x="961" y="4651"/>
                      </a:lnTo>
                      <a:lnTo>
                        <a:pt x="914" y="4606"/>
                      </a:lnTo>
                      <a:lnTo>
                        <a:pt x="868" y="4559"/>
                      </a:lnTo>
                      <a:lnTo>
                        <a:pt x="823" y="4511"/>
                      </a:lnTo>
                      <a:lnTo>
                        <a:pt x="780" y="4463"/>
                      </a:lnTo>
                      <a:lnTo>
                        <a:pt x="737" y="4413"/>
                      </a:lnTo>
                      <a:lnTo>
                        <a:pt x="696" y="4361"/>
                      </a:lnTo>
                      <a:lnTo>
                        <a:pt x="656" y="4309"/>
                      </a:lnTo>
                      <a:lnTo>
                        <a:pt x="616" y="4256"/>
                      </a:lnTo>
                      <a:lnTo>
                        <a:pt x="579" y="4202"/>
                      </a:lnTo>
                      <a:lnTo>
                        <a:pt x="543" y="4147"/>
                      </a:lnTo>
                      <a:lnTo>
                        <a:pt x="507" y="4091"/>
                      </a:lnTo>
                      <a:lnTo>
                        <a:pt x="473" y="4035"/>
                      </a:lnTo>
                      <a:lnTo>
                        <a:pt x="441" y="3978"/>
                      </a:lnTo>
                      <a:lnTo>
                        <a:pt x="410" y="3920"/>
                      </a:lnTo>
                      <a:lnTo>
                        <a:pt x="379" y="3861"/>
                      </a:lnTo>
                      <a:lnTo>
                        <a:pt x="351" y="3802"/>
                      </a:lnTo>
                      <a:lnTo>
                        <a:pt x="323" y="3742"/>
                      </a:lnTo>
                      <a:lnTo>
                        <a:pt x="298" y="3680"/>
                      </a:lnTo>
                      <a:lnTo>
                        <a:pt x="273" y="3618"/>
                      </a:lnTo>
                      <a:lnTo>
                        <a:pt x="251" y="3556"/>
                      </a:lnTo>
                      <a:lnTo>
                        <a:pt x="229" y="3493"/>
                      </a:lnTo>
                      <a:lnTo>
                        <a:pt x="208" y="3429"/>
                      </a:lnTo>
                      <a:lnTo>
                        <a:pt x="190" y="3364"/>
                      </a:lnTo>
                      <a:lnTo>
                        <a:pt x="173" y="3299"/>
                      </a:lnTo>
                      <a:lnTo>
                        <a:pt x="158" y="3235"/>
                      </a:lnTo>
                      <a:lnTo>
                        <a:pt x="145" y="3168"/>
                      </a:lnTo>
                      <a:lnTo>
                        <a:pt x="131" y="3102"/>
                      </a:lnTo>
                      <a:lnTo>
                        <a:pt x="121" y="3034"/>
                      </a:lnTo>
                      <a:lnTo>
                        <a:pt x="112" y="2966"/>
                      </a:lnTo>
                      <a:lnTo>
                        <a:pt x="105" y="2898"/>
                      </a:lnTo>
                      <a:lnTo>
                        <a:pt x="99" y="2831"/>
                      </a:lnTo>
                      <a:lnTo>
                        <a:pt x="96" y="2761"/>
                      </a:lnTo>
                      <a:lnTo>
                        <a:pt x="96" y="2761"/>
                      </a:lnTo>
                      <a:lnTo>
                        <a:pt x="93" y="2695"/>
                      </a:lnTo>
                      <a:lnTo>
                        <a:pt x="93" y="2627"/>
                      </a:lnTo>
                      <a:lnTo>
                        <a:pt x="94" y="2562"/>
                      </a:lnTo>
                      <a:lnTo>
                        <a:pt x="97" y="2496"/>
                      </a:lnTo>
                      <a:lnTo>
                        <a:pt x="102" y="2430"/>
                      </a:lnTo>
                      <a:lnTo>
                        <a:pt x="108" y="2365"/>
                      </a:lnTo>
                      <a:lnTo>
                        <a:pt x="115" y="2300"/>
                      </a:lnTo>
                      <a:lnTo>
                        <a:pt x="124" y="2236"/>
                      </a:lnTo>
                      <a:lnTo>
                        <a:pt x="136" y="2172"/>
                      </a:lnTo>
                      <a:lnTo>
                        <a:pt x="147" y="2108"/>
                      </a:lnTo>
                      <a:lnTo>
                        <a:pt x="162" y="2046"/>
                      </a:lnTo>
                      <a:lnTo>
                        <a:pt x="177" y="1983"/>
                      </a:lnTo>
                      <a:lnTo>
                        <a:pt x="195" y="1921"/>
                      </a:lnTo>
                      <a:lnTo>
                        <a:pt x="212" y="1859"/>
                      </a:lnTo>
                      <a:lnTo>
                        <a:pt x="233" y="1799"/>
                      </a:lnTo>
                      <a:lnTo>
                        <a:pt x="254" y="1738"/>
                      </a:lnTo>
                      <a:lnTo>
                        <a:pt x="277" y="1679"/>
                      </a:lnTo>
                      <a:lnTo>
                        <a:pt x="302" y="1620"/>
                      </a:lnTo>
                      <a:lnTo>
                        <a:pt x="327" y="1561"/>
                      </a:lnTo>
                      <a:lnTo>
                        <a:pt x="355" y="1504"/>
                      </a:lnTo>
                      <a:lnTo>
                        <a:pt x="383" y="1448"/>
                      </a:lnTo>
                      <a:lnTo>
                        <a:pt x="414" y="1390"/>
                      </a:lnTo>
                      <a:lnTo>
                        <a:pt x="447" y="1336"/>
                      </a:lnTo>
                      <a:lnTo>
                        <a:pt x="479" y="1281"/>
                      </a:lnTo>
                      <a:lnTo>
                        <a:pt x="515" y="1226"/>
                      </a:lnTo>
                      <a:lnTo>
                        <a:pt x="550" y="1173"/>
                      </a:lnTo>
                      <a:lnTo>
                        <a:pt x="588" y="1122"/>
                      </a:lnTo>
                      <a:lnTo>
                        <a:pt x="627" y="1070"/>
                      </a:lnTo>
                      <a:lnTo>
                        <a:pt x="668" y="1020"/>
                      </a:lnTo>
                      <a:lnTo>
                        <a:pt x="709" y="970"/>
                      </a:lnTo>
                      <a:lnTo>
                        <a:pt x="753" y="921"/>
                      </a:lnTo>
                      <a:lnTo>
                        <a:pt x="798" y="874"/>
                      </a:lnTo>
                      <a:lnTo>
                        <a:pt x="798" y="874"/>
                      </a:lnTo>
                      <a:lnTo>
                        <a:pt x="843" y="827"/>
                      </a:lnTo>
                      <a:lnTo>
                        <a:pt x="889" y="781"/>
                      </a:lnTo>
                      <a:lnTo>
                        <a:pt x="938" y="738"/>
                      </a:lnTo>
                      <a:lnTo>
                        <a:pt x="986" y="696"/>
                      </a:lnTo>
                      <a:lnTo>
                        <a:pt x="1035" y="654"/>
                      </a:lnTo>
                      <a:lnTo>
                        <a:pt x="1087" y="615"/>
                      </a:lnTo>
                      <a:lnTo>
                        <a:pt x="1138" y="576"/>
                      </a:lnTo>
                      <a:lnTo>
                        <a:pt x="1190" y="539"/>
                      </a:lnTo>
                      <a:lnTo>
                        <a:pt x="1243" y="504"/>
                      </a:lnTo>
                      <a:lnTo>
                        <a:pt x="1297" y="470"/>
                      </a:lnTo>
                      <a:lnTo>
                        <a:pt x="1352" y="436"/>
                      </a:lnTo>
                      <a:lnTo>
                        <a:pt x="1408" y="405"/>
                      </a:lnTo>
                      <a:lnTo>
                        <a:pt x="1464" y="376"/>
                      </a:lnTo>
                      <a:lnTo>
                        <a:pt x="1521" y="348"/>
                      </a:lnTo>
                      <a:lnTo>
                        <a:pt x="1579" y="320"/>
                      </a:lnTo>
                      <a:lnTo>
                        <a:pt x="1636" y="295"/>
                      </a:lnTo>
                      <a:lnTo>
                        <a:pt x="1697" y="271"/>
                      </a:lnTo>
                      <a:lnTo>
                        <a:pt x="1756" y="247"/>
                      </a:lnTo>
                      <a:lnTo>
                        <a:pt x="1816" y="227"/>
                      </a:lnTo>
                      <a:lnTo>
                        <a:pt x="1878" y="208"/>
                      </a:lnTo>
                      <a:lnTo>
                        <a:pt x="1939" y="190"/>
                      </a:lnTo>
                      <a:lnTo>
                        <a:pt x="2002" y="172"/>
                      </a:lnTo>
                      <a:lnTo>
                        <a:pt x="2064" y="158"/>
                      </a:lnTo>
                      <a:lnTo>
                        <a:pt x="2127" y="144"/>
                      </a:lnTo>
                      <a:lnTo>
                        <a:pt x="2191" y="132"/>
                      </a:lnTo>
                      <a:lnTo>
                        <a:pt x="2256" y="122"/>
                      </a:lnTo>
                      <a:lnTo>
                        <a:pt x="2320" y="113"/>
                      </a:lnTo>
                      <a:lnTo>
                        <a:pt x="2385" y="106"/>
                      </a:lnTo>
                      <a:lnTo>
                        <a:pt x="2450" y="100"/>
                      </a:lnTo>
                      <a:lnTo>
                        <a:pt x="2517" y="96"/>
                      </a:lnTo>
                      <a:lnTo>
                        <a:pt x="2583" y="94"/>
                      </a:lnTo>
                      <a:lnTo>
                        <a:pt x="2649" y="93"/>
                      </a:lnTo>
                      <a:close/>
                      <a:moveTo>
                        <a:pt x="2649" y="0"/>
                      </a:moveTo>
                      <a:lnTo>
                        <a:pt x="2649" y="0"/>
                      </a:lnTo>
                      <a:lnTo>
                        <a:pt x="2578" y="1"/>
                      </a:lnTo>
                      <a:lnTo>
                        <a:pt x="2508" y="4"/>
                      </a:lnTo>
                      <a:lnTo>
                        <a:pt x="2437" y="9"/>
                      </a:lnTo>
                      <a:lnTo>
                        <a:pt x="2368" y="14"/>
                      </a:lnTo>
                      <a:lnTo>
                        <a:pt x="2298" y="22"/>
                      </a:lnTo>
                      <a:lnTo>
                        <a:pt x="2231" y="32"/>
                      </a:lnTo>
                      <a:lnTo>
                        <a:pt x="2163" y="44"/>
                      </a:lnTo>
                      <a:lnTo>
                        <a:pt x="2095" y="56"/>
                      </a:lnTo>
                      <a:lnTo>
                        <a:pt x="2029" y="71"/>
                      </a:lnTo>
                      <a:lnTo>
                        <a:pt x="1962" y="87"/>
                      </a:lnTo>
                      <a:lnTo>
                        <a:pt x="1897" y="104"/>
                      </a:lnTo>
                      <a:lnTo>
                        <a:pt x="1832" y="125"/>
                      </a:lnTo>
                      <a:lnTo>
                        <a:pt x="1769" y="146"/>
                      </a:lnTo>
                      <a:lnTo>
                        <a:pt x="1706" y="168"/>
                      </a:lnTo>
                      <a:lnTo>
                        <a:pt x="1644" y="191"/>
                      </a:lnTo>
                      <a:lnTo>
                        <a:pt x="1583" y="218"/>
                      </a:lnTo>
                      <a:lnTo>
                        <a:pt x="1523" y="244"/>
                      </a:lnTo>
                      <a:lnTo>
                        <a:pt x="1462" y="273"/>
                      </a:lnTo>
                      <a:lnTo>
                        <a:pt x="1403" y="302"/>
                      </a:lnTo>
                      <a:lnTo>
                        <a:pt x="1346" y="334"/>
                      </a:lnTo>
                      <a:lnTo>
                        <a:pt x="1289" y="367"/>
                      </a:lnTo>
                      <a:lnTo>
                        <a:pt x="1232" y="401"/>
                      </a:lnTo>
                      <a:lnTo>
                        <a:pt x="1178" y="436"/>
                      </a:lnTo>
                      <a:lnTo>
                        <a:pt x="1123" y="473"/>
                      </a:lnTo>
                      <a:lnTo>
                        <a:pt x="1070" y="510"/>
                      </a:lnTo>
                      <a:lnTo>
                        <a:pt x="1019" y="550"/>
                      </a:lnTo>
                      <a:lnTo>
                        <a:pt x="969" y="590"/>
                      </a:lnTo>
                      <a:lnTo>
                        <a:pt x="918" y="631"/>
                      </a:lnTo>
                      <a:lnTo>
                        <a:pt x="870" y="675"/>
                      </a:lnTo>
                      <a:lnTo>
                        <a:pt x="821" y="718"/>
                      </a:lnTo>
                      <a:lnTo>
                        <a:pt x="775" y="763"/>
                      </a:lnTo>
                      <a:lnTo>
                        <a:pt x="730" y="811"/>
                      </a:lnTo>
                      <a:lnTo>
                        <a:pt x="686" y="858"/>
                      </a:lnTo>
                      <a:lnTo>
                        <a:pt x="641" y="906"/>
                      </a:lnTo>
                      <a:lnTo>
                        <a:pt x="600" y="955"/>
                      </a:lnTo>
                      <a:lnTo>
                        <a:pt x="559" y="1007"/>
                      </a:lnTo>
                      <a:lnTo>
                        <a:pt x="520" y="1058"/>
                      </a:lnTo>
                      <a:lnTo>
                        <a:pt x="482" y="1111"/>
                      </a:lnTo>
                      <a:lnTo>
                        <a:pt x="445" y="1165"/>
                      </a:lnTo>
                      <a:lnTo>
                        <a:pt x="410" y="1219"/>
                      </a:lnTo>
                      <a:lnTo>
                        <a:pt x="374" y="1275"/>
                      </a:lnTo>
                      <a:lnTo>
                        <a:pt x="342" y="1331"/>
                      </a:lnTo>
                      <a:lnTo>
                        <a:pt x="311" y="1389"/>
                      </a:lnTo>
                      <a:lnTo>
                        <a:pt x="280" y="1448"/>
                      </a:lnTo>
                      <a:lnTo>
                        <a:pt x="252" y="1507"/>
                      </a:lnTo>
                      <a:lnTo>
                        <a:pt x="224" y="1567"/>
                      </a:lnTo>
                      <a:lnTo>
                        <a:pt x="199" y="1627"/>
                      </a:lnTo>
                      <a:lnTo>
                        <a:pt x="174" y="1689"/>
                      </a:lnTo>
                      <a:lnTo>
                        <a:pt x="152" y="1751"/>
                      </a:lnTo>
                      <a:lnTo>
                        <a:pt x="130" y="1815"/>
                      </a:lnTo>
                      <a:lnTo>
                        <a:pt x="111" y="1878"/>
                      </a:lnTo>
                      <a:lnTo>
                        <a:pt x="91" y="1943"/>
                      </a:lnTo>
                      <a:lnTo>
                        <a:pt x="75" y="2008"/>
                      </a:lnTo>
                      <a:lnTo>
                        <a:pt x="60" y="2074"/>
                      </a:lnTo>
                      <a:lnTo>
                        <a:pt x="47" y="2141"/>
                      </a:lnTo>
                      <a:lnTo>
                        <a:pt x="35" y="2208"/>
                      </a:lnTo>
                      <a:lnTo>
                        <a:pt x="25" y="2276"/>
                      </a:lnTo>
                      <a:lnTo>
                        <a:pt x="16" y="2344"/>
                      </a:lnTo>
                      <a:lnTo>
                        <a:pt x="10" y="2413"/>
                      </a:lnTo>
                      <a:lnTo>
                        <a:pt x="4" y="2483"/>
                      </a:lnTo>
                      <a:lnTo>
                        <a:pt x="2" y="2552"/>
                      </a:lnTo>
                      <a:lnTo>
                        <a:pt x="0" y="2623"/>
                      </a:lnTo>
                      <a:lnTo>
                        <a:pt x="0" y="2693"/>
                      </a:lnTo>
                      <a:lnTo>
                        <a:pt x="3" y="2764"/>
                      </a:lnTo>
                      <a:lnTo>
                        <a:pt x="3" y="2764"/>
                      </a:lnTo>
                      <a:lnTo>
                        <a:pt x="7" y="2836"/>
                      </a:lnTo>
                      <a:lnTo>
                        <a:pt x="12" y="2907"/>
                      </a:lnTo>
                      <a:lnTo>
                        <a:pt x="21" y="2978"/>
                      </a:lnTo>
                      <a:lnTo>
                        <a:pt x="30" y="3047"/>
                      </a:lnTo>
                      <a:lnTo>
                        <a:pt x="40" y="3117"/>
                      </a:lnTo>
                      <a:lnTo>
                        <a:pt x="53" y="3186"/>
                      </a:lnTo>
                      <a:lnTo>
                        <a:pt x="66" y="3254"/>
                      </a:lnTo>
                      <a:lnTo>
                        <a:pt x="83" y="3322"/>
                      </a:lnTo>
                      <a:lnTo>
                        <a:pt x="100" y="3389"/>
                      </a:lnTo>
                      <a:lnTo>
                        <a:pt x="119" y="3456"/>
                      </a:lnTo>
                      <a:lnTo>
                        <a:pt x="140" y="3522"/>
                      </a:lnTo>
                      <a:lnTo>
                        <a:pt x="162" y="3587"/>
                      </a:lnTo>
                      <a:lnTo>
                        <a:pt x="186" y="3652"/>
                      </a:lnTo>
                      <a:lnTo>
                        <a:pt x="211" y="3715"/>
                      </a:lnTo>
                      <a:lnTo>
                        <a:pt x="237" y="3779"/>
                      </a:lnTo>
                      <a:lnTo>
                        <a:pt x="265" y="3841"/>
                      </a:lnTo>
                      <a:lnTo>
                        <a:pt x="295" y="3902"/>
                      </a:lnTo>
                      <a:lnTo>
                        <a:pt x="326" y="3963"/>
                      </a:lnTo>
                      <a:lnTo>
                        <a:pt x="358" y="4023"/>
                      </a:lnTo>
                      <a:lnTo>
                        <a:pt x="392" y="4082"/>
                      </a:lnTo>
                      <a:lnTo>
                        <a:pt x="428" y="4141"/>
                      </a:lnTo>
                      <a:lnTo>
                        <a:pt x="464" y="4199"/>
                      </a:lnTo>
                      <a:lnTo>
                        <a:pt x="501" y="4255"/>
                      </a:lnTo>
                      <a:lnTo>
                        <a:pt x="541" y="4311"/>
                      </a:lnTo>
                      <a:lnTo>
                        <a:pt x="581" y="4365"/>
                      </a:lnTo>
                      <a:lnTo>
                        <a:pt x="622" y="4419"/>
                      </a:lnTo>
                      <a:lnTo>
                        <a:pt x="665" y="4472"/>
                      </a:lnTo>
                      <a:lnTo>
                        <a:pt x="709" y="4523"/>
                      </a:lnTo>
                      <a:lnTo>
                        <a:pt x="753" y="4575"/>
                      </a:lnTo>
                      <a:lnTo>
                        <a:pt x="801" y="4623"/>
                      </a:lnTo>
                      <a:lnTo>
                        <a:pt x="848" y="4672"/>
                      </a:lnTo>
                      <a:lnTo>
                        <a:pt x="896" y="4719"/>
                      </a:lnTo>
                      <a:lnTo>
                        <a:pt x="945" y="4766"/>
                      </a:lnTo>
                      <a:lnTo>
                        <a:pt x="995" y="4812"/>
                      </a:lnTo>
                      <a:lnTo>
                        <a:pt x="1047" y="4855"/>
                      </a:lnTo>
                      <a:lnTo>
                        <a:pt x="1100" y="4898"/>
                      </a:lnTo>
                      <a:lnTo>
                        <a:pt x="1153" y="4940"/>
                      </a:lnTo>
                      <a:lnTo>
                        <a:pt x="1207" y="4980"/>
                      </a:lnTo>
                      <a:lnTo>
                        <a:pt x="1263" y="5020"/>
                      </a:lnTo>
                      <a:lnTo>
                        <a:pt x="1319" y="5057"/>
                      </a:lnTo>
                      <a:lnTo>
                        <a:pt x="1377" y="5094"/>
                      </a:lnTo>
                      <a:lnTo>
                        <a:pt x="1434" y="5129"/>
                      </a:lnTo>
                      <a:lnTo>
                        <a:pt x="1493" y="5163"/>
                      </a:lnTo>
                      <a:lnTo>
                        <a:pt x="1552" y="5196"/>
                      </a:lnTo>
                      <a:lnTo>
                        <a:pt x="1613" y="5228"/>
                      </a:lnTo>
                      <a:lnTo>
                        <a:pt x="1675" y="5257"/>
                      </a:lnTo>
                      <a:lnTo>
                        <a:pt x="1737" y="5285"/>
                      </a:lnTo>
                      <a:lnTo>
                        <a:pt x="1800" y="5312"/>
                      </a:lnTo>
                      <a:lnTo>
                        <a:pt x="1863" y="5339"/>
                      </a:lnTo>
                      <a:lnTo>
                        <a:pt x="1927" y="5362"/>
                      </a:lnTo>
                      <a:lnTo>
                        <a:pt x="1992" y="5384"/>
                      </a:lnTo>
                      <a:lnTo>
                        <a:pt x="2058" y="5405"/>
                      </a:lnTo>
                      <a:lnTo>
                        <a:pt x="2123" y="5426"/>
                      </a:lnTo>
                      <a:lnTo>
                        <a:pt x="2191" y="5443"/>
                      </a:lnTo>
                      <a:lnTo>
                        <a:pt x="2257" y="5459"/>
                      </a:lnTo>
                      <a:lnTo>
                        <a:pt x="2325" y="5474"/>
                      </a:lnTo>
                      <a:lnTo>
                        <a:pt x="2394" y="5486"/>
                      </a:lnTo>
                      <a:lnTo>
                        <a:pt x="2462" y="5498"/>
                      </a:lnTo>
                      <a:lnTo>
                        <a:pt x="2531" y="5508"/>
                      </a:lnTo>
                      <a:lnTo>
                        <a:pt x="2602" y="5515"/>
                      </a:lnTo>
                      <a:lnTo>
                        <a:pt x="2671" y="5521"/>
                      </a:lnTo>
                      <a:lnTo>
                        <a:pt x="2742" y="5526"/>
                      </a:lnTo>
                      <a:lnTo>
                        <a:pt x="2813" y="5529"/>
                      </a:lnTo>
                      <a:lnTo>
                        <a:pt x="2885" y="5530"/>
                      </a:lnTo>
                      <a:lnTo>
                        <a:pt x="2885" y="5530"/>
                      </a:lnTo>
                      <a:lnTo>
                        <a:pt x="2956" y="5529"/>
                      </a:lnTo>
                      <a:lnTo>
                        <a:pt x="3027" y="5526"/>
                      </a:lnTo>
                      <a:lnTo>
                        <a:pt x="3097" y="5521"/>
                      </a:lnTo>
                      <a:lnTo>
                        <a:pt x="3167" y="5515"/>
                      </a:lnTo>
                      <a:lnTo>
                        <a:pt x="3236" y="5508"/>
                      </a:lnTo>
                      <a:lnTo>
                        <a:pt x="3305" y="5498"/>
                      </a:lnTo>
                      <a:lnTo>
                        <a:pt x="3373" y="5486"/>
                      </a:lnTo>
                      <a:lnTo>
                        <a:pt x="3439" y="5474"/>
                      </a:lnTo>
                      <a:lnTo>
                        <a:pt x="3506" y="5459"/>
                      </a:lnTo>
                      <a:lnTo>
                        <a:pt x="3572" y="5443"/>
                      </a:lnTo>
                      <a:lnTo>
                        <a:pt x="3637" y="5426"/>
                      </a:lnTo>
                      <a:lnTo>
                        <a:pt x="3702" y="5405"/>
                      </a:lnTo>
                      <a:lnTo>
                        <a:pt x="3765" y="5384"/>
                      </a:lnTo>
                      <a:lnTo>
                        <a:pt x="3829" y="5362"/>
                      </a:lnTo>
                      <a:lnTo>
                        <a:pt x="3890" y="5339"/>
                      </a:lnTo>
                      <a:lnTo>
                        <a:pt x="3952" y="5312"/>
                      </a:lnTo>
                      <a:lnTo>
                        <a:pt x="4013" y="5285"/>
                      </a:lnTo>
                      <a:lnTo>
                        <a:pt x="4072" y="5257"/>
                      </a:lnTo>
                      <a:lnTo>
                        <a:pt x="4131" y="5228"/>
                      </a:lnTo>
                      <a:lnTo>
                        <a:pt x="4188" y="5196"/>
                      </a:lnTo>
                      <a:lnTo>
                        <a:pt x="4246" y="5163"/>
                      </a:lnTo>
                      <a:lnTo>
                        <a:pt x="4302" y="5129"/>
                      </a:lnTo>
                      <a:lnTo>
                        <a:pt x="4356" y="5094"/>
                      </a:lnTo>
                      <a:lnTo>
                        <a:pt x="4411" y="5057"/>
                      </a:lnTo>
                      <a:lnTo>
                        <a:pt x="4464" y="5020"/>
                      </a:lnTo>
                      <a:lnTo>
                        <a:pt x="4516" y="4980"/>
                      </a:lnTo>
                      <a:lnTo>
                        <a:pt x="4567" y="4940"/>
                      </a:lnTo>
                      <a:lnTo>
                        <a:pt x="4616" y="4898"/>
                      </a:lnTo>
                      <a:lnTo>
                        <a:pt x="4666" y="4855"/>
                      </a:lnTo>
                      <a:lnTo>
                        <a:pt x="4713" y="4812"/>
                      </a:lnTo>
                      <a:lnTo>
                        <a:pt x="4760" y="4766"/>
                      </a:lnTo>
                      <a:lnTo>
                        <a:pt x="4805" y="4719"/>
                      </a:lnTo>
                      <a:lnTo>
                        <a:pt x="4850" y="4672"/>
                      </a:lnTo>
                      <a:lnTo>
                        <a:pt x="4893" y="4623"/>
                      </a:lnTo>
                      <a:lnTo>
                        <a:pt x="4934" y="4575"/>
                      </a:lnTo>
                      <a:lnTo>
                        <a:pt x="4976" y="4523"/>
                      </a:lnTo>
                      <a:lnTo>
                        <a:pt x="5015" y="4472"/>
                      </a:lnTo>
                      <a:lnTo>
                        <a:pt x="5052" y="4419"/>
                      </a:lnTo>
                      <a:lnTo>
                        <a:pt x="5089" y="4365"/>
                      </a:lnTo>
                      <a:lnTo>
                        <a:pt x="5126" y="4311"/>
                      </a:lnTo>
                      <a:lnTo>
                        <a:pt x="5160" y="4255"/>
                      </a:lnTo>
                      <a:lnTo>
                        <a:pt x="5192" y="4199"/>
                      </a:lnTo>
                      <a:lnTo>
                        <a:pt x="5225" y="4141"/>
                      </a:lnTo>
                      <a:lnTo>
                        <a:pt x="5254" y="4082"/>
                      </a:lnTo>
                      <a:lnTo>
                        <a:pt x="5282" y="4023"/>
                      </a:lnTo>
                      <a:lnTo>
                        <a:pt x="5310" y="3963"/>
                      </a:lnTo>
                      <a:lnTo>
                        <a:pt x="5335" y="3902"/>
                      </a:lnTo>
                      <a:lnTo>
                        <a:pt x="5360" y="3841"/>
                      </a:lnTo>
                      <a:lnTo>
                        <a:pt x="5382" y="3779"/>
                      </a:lnTo>
                      <a:lnTo>
                        <a:pt x="5405" y="3715"/>
                      </a:lnTo>
                      <a:lnTo>
                        <a:pt x="5424" y="3652"/>
                      </a:lnTo>
                      <a:lnTo>
                        <a:pt x="5443" y="3587"/>
                      </a:lnTo>
                      <a:lnTo>
                        <a:pt x="5459" y="3522"/>
                      </a:lnTo>
                      <a:lnTo>
                        <a:pt x="5474" y="3456"/>
                      </a:lnTo>
                      <a:lnTo>
                        <a:pt x="5487" y="3389"/>
                      </a:lnTo>
                      <a:lnTo>
                        <a:pt x="5499" y="3322"/>
                      </a:lnTo>
                      <a:lnTo>
                        <a:pt x="5509" y="3254"/>
                      </a:lnTo>
                      <a:lnTo>
                        <a:pt x="5518" y="3186"/>
                      </a:lnTo>
                      <a:lnTo>
                        <a:pt x="5524" y="3117"/>
                      </a:lnTo>
                      <a:lnTo>
                        <a:pt x="5530" y="3047"/>
                      </a:lnTo>
                      <a:lnTo>
                        <a:pt x="5533" y="2978"/>
                      </a:lnTo>
                      <a:lnTo>
                        <a:pt x="5534" y="2907"/>
                      </a:lnTo>
                      <a:lnTo>
                        <a:pt x="5534" y="2836"/>
                      </a:lnTo>
                      <a:lnTo>
                        <a:pt x="5531" y="2764"/>
                      </a:lnTo>
                      <a:lnTo>
                        <a:pt x="5531" y="2764"/>
                      </a:lnTo>
                      <a:lnTo>
                        <a:pt x="5528" y="2693"/>
                      </a:lnTo>
                      <a:lnTo>
                        <a:pt x="5522" y="2623"/>
                      </a:lnTo>
                      <a:lnTo>
                        <a:pt x="5515" y="2552"/>
                      </a:lnTo>
                      <a:lnTo>
                        <a:pt x="5505" y="2483"/>
                      </a:lnTo>
                      <a:lnTo>
                        <a:pt x="5494" y="2413"/>
                      </a:lnTo>
                      <a:lnTo>
                        <a:pt x="5483" y="2344"/>
                      </a:lnTo>
                      <a:lnTo>
                        <a:pt x="5468" y="2276"/>
                      </a:lnTo>
                      <a:lnTo>
                        <a:pt x="5452" y="2208"/>
                      </a:lnTo>
                      <a:lnTo>
                        <a:pt x="5434" y="2141"/>
                      </a:lnTo>
                      <a:lnTo>
                        <a:pt x="5415" y="2074"/>
                      </a:lnTo>
                      <a:lnTo>
                        <a:pt x="5394" y="2008"/>
                      </a:lnTo>
                      <a:lnTo>
                        <a:pt x="5372" y="1943"/>
                      </a:lnTo>
                      <a:lnTo>
                        <a:pt x="5348" y="1878"/>
                      </a:lnTo>
                      <a:lnTo>
                        <a:pt x="5323" y="1815"/>
                      </a:lnTo>
                      <a:lnTo>
                        <a:pt x="5297" y="1751"/>
                      </a:lnTo>
                      <a:lnTo>
                        <a:pt x="5269" y="1689"/>
                      </a:lnTo>
                      <a:lnTo>
                        <a:pt x="5239" y="1627"/>
                      </a:lnTo>
                      <a:lnTo>
                        <a:pt x="5208" y="1567"/>
                      </a:lnTo>
                      <a:lnTo>
                        <a:pt x="5176" y="1507"/>
                      </a:lnTo>
                      <a:lnTo>
                        <a:pt x="5142" y="1448"/>
                      </a:lnTo>
                      <a:lnTo>
                        <a:pt x="5107" y="1389"/>
                      </a:lnTo>
                      <a:lnTo>
                        <a:pt x="5070" y="1331"/>
                      </a:lnTo>
                      <a:lnTo>
                        <a:pt x="5033" y="1275"/>
                      </a:lnTo>
                      <a:lnTo>
                        <a:pt x="4993" y="1219"/>
                      </a:lnTo>
                      <a:lnTo>
                        <a:pt x="4953" y="1165"/>
                      </a:lnTo>
                      <a:lnTo>
                        <a:pt x="4912" y="1111"/>
                      </a:lnTo>
                      <a:lnTo>
                        <a:pt x="4869" y="1058"/>
                      </a:lnTo>
                      <a:lnTo>
                        <a:pt x="4825" y="1007"/>
                      </a:lnTo>
                      <a:lnTo>
                        <a:pt x="4781" y="955"/>
                      </a:lnTo>
                      <a:lnTo>
                        <a:pt x="4734" y="906"/>
                      </a:lnTo>
                      <a:lnTo>
                        <a:pt x="4687" y="858"/>
                      </a:lnTo>
                      <a:lnTo>
                        <a:pt x="4639" y="811"/>
                      </a:lnTo>
                      <a:lnTo>
                        <a:pt x="4589" y="763"/>
                      </a:lnTo>
                      <a:lnTo>
                        <a:pt x="4539" y="718"/>
                      </a:lnTo>
                      <a:lnTo>
                        <a:pt x="4488" y="675"/>
                      </a:lnTo>
                      <a:lnTo>
                        <a:pt x="4434" y="631"/>
                      </a:lnTo>
                      <a:lnTo>
                        <a:pt x="4381" y="590"/>
                      </a:lnTo>
                      <a:lnTo>
                        <a:pt x="4327" y="550"/>
                      </a:lnTo>
                      <a:lnTo>
                        <a:pt x="4272" y="510"/>
                      </a:lnTo>
                      <a:lnTo>
                        <a:pt x="4215" y="473"/>
                      </a:lnTo>
                      <a:lnTo>
                        <a:pt x="4159" y="436"/>
                      </a:lnTo>
                      <a:lnTo>
                        <a:pt x="4100" y="401"/>
                      </a:lnTo>
                      <a:lnTo>
                        <a:pt x="4041" y="367"/>
                      </a:lnTo>
                      <a:lnTo>
                        <a:pt x="3982" y="334"/>
                      </a:lnTo>
                      <a:lnTo>
                        <a:pt x="3921" y="302"/>
                      </a:lnTo>
                      <a:lnTo>
                        <a:pt x="3860" y="273"/>
                      </a:lnTo>
                      <a:lnTo>
                        <a:pt x="3798" y="244"/>
                      </a:lnTo>
                      <a:lnTo>
                        <a:pt x="3734" y="218"/>
                      </a:lnTo>
                      <a:lnTo>
                        <a:pt x="3671" y="191"/>
                      </a:lnTo>
                      <a:lnTo>
                        <a:pt x="3607" y="168"/>
                      </a:lnTo>
                      <a:lnTo>
                        <a:pt x="3543" y="146"/>
                      </a:lnTo>
                      <a:lnTo>
                        <a:pt x="3478" y="125"/>
                      </a:lnTo>
                      <a:lnTo>
                        <a:pt x="3411" y="104"/>
                      </a:lnTo>
                      <a:lnTo>
                        <a:pt x="3344" y="87"/>
                      </a:lnTo>
                      <a:lnTo>
                        <a:pt x="3277" y="71"/>
                      </a:lnTo>
                      <a:lnTo>
                        <a:pt x="3209" y="56"/>
                      </a:lnTo>
                      <a:lnTo>
                        <a:pt x="3140" y="44"/>
                      </a:lnTo>
                      <a:lnTo>
                        <a:pt x="3072" y="32"/>
                      </a:lnTo>
                      <a:lnTo>
                        <a:pt x="3003" y="22"/>
                      </a:lnTo>
                      <a:lnTo>
                        <a:pt x="2932" y="14"/>
                      </a:lnTo>
                      <a:lnTo>
                        <a:pt x="2863" y="9"/>
                      </a:lnTo>
                      <a:lnTo>
                        <a:pt x="2792" y="4"/>
                      </a:lnTo>
                      <a:lnTo>
                        <a:pt x="2721" y="1"/>
                      </a:lnTo>
                      <a:lnTo>
                        <a:pt x="2649" y="0"/>
                      </a:lnTo>
                      <a:lnTo>
                        <a:pt x="26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29" name="Freeform 19">
                  <a:extLst>
                    <a:ext uri="{FF2B5EF4-FFF2-40B4-BE49-F238E27FC236}">
                      <a16:creationId xmlns:a16="http://schemas.microsoft.com/office/drawing/2014/main" xmlns="" id="{9219D90E-4349-BF46-9B95-91DAA72CA2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96300" y="485775"/>
                  <a:ext cx="2763838" cy="2762250"/>
                </a:xfrm>
                <a:custGeom>
                  <a:avLst/>
                  <a:gdLst/>
                  <a:ahLst/>
                  <a:cxnLst>
                    <a:cxn ang="0">
                      <a:pos x="2956" y="87"/>
                    </a:cxn>
                    <a:cxn ang="0">
                      <a:pos x="3507" y="249"/>
                    </a:cxn>
                    <a:cxn ang="0">
                      <a:pos x="4005" y="520"/>
                    </a:cxn>
                    <a:cxn ang="0">
                      <a:pos x="4434" y="887"/>
                    </a:cxn>
                    <a:cxn ang="0">
                      <a:pos x="4781" y="1335"/>
                    </a:cxn>
                    <a:cxn ang="0">
                      <a:pos x="5027" y="1850"/>
                    </a:cxn>
                    <a:cxn ang="0">
                      <a:pos x="5160" y="2415"/>
                    </a:cxn>
                    <a:cxn ang="0">
                      <a:pos x="5170" y="2929"/>
                    </a:cxn>
                    <a:cxn ang="0">
                      <a:pos x="5064" y="3478"/>
                    </a:cxn>
                    <a:cxn ang="0">
                      <a:pos x="4838" y="3980"/>
                    </a:cxn>
                    <a:cxn ang="0">
                      <a:pos x="4502" y="4424"/>
                    </a:cxn>
                    <a:cxn ang="0">
                      <a:pos x="4125" y="4746"/>
                    </a:cxn>
                    <a:cxn ang="0">
                      <a:pos x="3638" y="5004"/>
                    </a:cxn>
                    <a:cxn ang="0">
                      <a:pos x="3102" y="5145"/>
                    </a:cxn>
                    <a:cxn ang="0">
                      <a:pos x="2592" y="5170"/>
                    </a:cxn>
                    <a:cxn ang="0">
                      <a:pos x="2018" y="5076"/>
                    </a:cxn>
                    <a:cxn ang="0">
                      <a:pos x="1489" y="4864"/>
                    </a:cxn>
                    <a:cxn ang="0">
                      <a:pos x="1019" y="4547"/>
                    </a:cxn>
                    <a:cxn ang="0">
                      <a:pos x="625" y="4143"/>
                    </a:cxn>
                    <a:cxn ang="0">
                      <a:pos x="321" y="3663"/>
                    </a:cxn>
                    <a:cxn ang="0">
                      <a:pos x="124" y="3124"/>
                    </a:cxn>
                    <a:cxn ang="0">
                      <a:pos x="48" y="2608"/>
                    </a:cxn>
                    <a:cxn ang="0">
                      <a:pos x="87" y="2043"/>
                    </a:cxn>
                    <a:cxn ang="0">
                      <a:pos x="248" y="1512"/>
                    </a:cxn>
                    <a:cxn ang="0">
                      <a:pos x="522" y="1033"/>
                    </a:cxn>
                    <a:cxn ang="0">
                      <a:pos x="858" y="666"/>
                    </a:cxn>
                    <a:cxn ang="0">
                      <a:pos x="1309" y="346"/>
                    </a:cxn>
                    <a:cxn ang="0">
                      <a:pos x="1819" y="138"/>
                    </a:cxn>
                    <a:cxn ang="0">
                      <a:pos x="2373" y="50"/>
                    </a:cxn>
                    <a:cxn ang="0">
                      <a:pos x="2170" y="20"/>
                    </a:cxn>
                    <a:cxn ang="0">
                      <a:pos x="1610" y="157"/>
                    </a:cxn>
                    <a:cxn ang="0">
                      <a:pos x="1111" y="411"/>
                    </a:cxn>
                    <a:cxn ang="0">
                      <a:pos x="688" y="763"/>
                    </a:cxn>
                    <a:cxn ang="0">
                      <a:pos x="354" y="1203"/>
                    </a:cxn>
                    <a:cxn ang="0">
                      <a:pos x="122" y="1713"/>
                    </a:cxn>
                    <a:cxn ang="0">
                      <a:pos x="9" y="2278"/>
                    </a:cxn>
                    <a:cxn ang="0">
                      <a:pos x="18" y="2811"/>
                    </a:cxn>
                    <a:cxn ang="0">
                      <a:pos x="152" y="3386"/>
                    </a:cxn>
                    <a:cxn ang="0">
                      <a:pos x="402" y="3910"/>
                    </a:cxn>
                    <a:cxn ang="0">
                      <a:pos x="755" y="4365"/>
                    </a:cxn>
                    <a:cxn ang="0">
                      <a:pos x="1191" y="4740"/>
                    </a:cxn>
                    <a:cxn ang="0">
                      <a:pos x="1698" y="5015"/>
                    </a:cxn>
                    <a:cxn ang="0">
                      <a:pos x="2260" y="5181"/>
                    </a:cxn>
                    <a:cxn ang="0">
                      <a:pos x="2791" y="5220"/>
                    </a:cxn>
                    <a:cxn ang="0">
                      <a:pos x="3373" y="5139"/>
                    </a:cxn>
                    <a:cxn ang="0">
                      <a:pos x="3899" y="4936"/>
                    </a:cxn>
                    <a:cxn ang="0">
                      <a:pos x="4359" y="4625"/>
                    </a:cxn>
                    <a:cxn ang="0">
                      <a:pos x="4735" y="4222"/>
                    </a:cxn>
                    <a:cxn ang="0">
                      <a:pos x="5014" y="3742"/>
                    </a:cxn>
                    <a:cxn ang="0">
                      <a:pos x="5182" y="3199"/>
                    </a:cxn>
                    <a:cxn ang="0">
                      <a:pos x="5223" y="2609"/>
                    </a:cxn>
                    <a:cxn ang="0">
                      <a:pos x="5148" y="2084"/>
                    </a:cxn>
                    <a:cxn ang="0">
                      <a:pos x="4946" y="1536"/>
                    </a:cxn>
                    <a:cxn ang="0">
                      <a:pos x="4638" y="1048"/>
                    </a:cxn>
                    <a:cxn ang="0">
                      <a:pos x="4237" y="635"/>
                    </a:cxn>
                    <a:cxn ang="0">
                      <a:pos x="3759" y="314"/>
                    </a:cxn>
                    <a:cxn ang="0">
                      <a:pos x="3220" y="98"/>
                    </a:cxn>
                    <a:cxn ang="0">
                      <a:pos x="2636" y="3"/>
                    </a:cxn>
                  </a:cxnLst>
                  <a:rect l="0" t="0" r="r" b="b"/>
                  <a:pathLst>
                    <a:path w="5224" h="5220">
                      <a:moveTo>
                        <a:pt x="2502" y="47"/>
                      </a:moveTo>
                      <a:lnTo>
                        <a:pt x="2502" y="47"/>
                      </a:lnTo>
                      <a:lnTo>
                        <a:pt x="2568" y="47"/>
                      </a:lnTo>
                      <a:lnTo>
                        <a:pt x="2633" y="50"/>
                      </a:lnTo>
                      <a:lnTo>
                        <a:pt x="2699" y="54"/>
                      </a:lnTo>
                      <a:lnTo>
                        <a:pt x="2764" y="60"/>
                      </a:lnTo>
                      <a:lnTo>
                        <a:pt x="2829" y="67"/>
                      </a:lnTo>
                      <a:lnTo>
                        <a:pt x="2892" y="76"/>
                      </a:lnTo>
                      <a:lnTo>
                        <a:pt x="2956" y="87"/>
                      </a:lnTo>
                      <a:lnTo>
                        <a:pt x="3019" y="98"/>
                      </a:lnTo>
                      <a:lnTo>
                        <a:pt x="3082" y="112"/>
                      </a:lnTo>
                      <a:lnTo>
                        <a:pt x="3144" y="128"/>
                      </a:lnTo>
                      <a:lnTo>
                        <a:pt x="3206" y="144"/>
                      </a:lnTo>
                      <a:lnTo>
                        <a:pt x="3268" y="162"/>
                      </a:lnTo>
                      <a:lnTo>
                        <a:pt x="3329" y="181"/>
                      </a:lnTo>
                      <a:lnTo>
                        <a:pt x="3389" y="203"/>
                      </a:lnTo>
                      <a:lnTo>
                        <a:pt x="3448" y="225"/>
                      </a:lnTo>
                      <a:lnTo>
                        <a:pt x="3507" y="249"/>
                      </a:lnTo>
                      <a:lnTo>
                        <a:pt x="3566" y="274"/>
                      </a:lnTo>
                      <a:lnTo>
                        <a:pt x="3623" y="300"/>
                      </a:lnTo>
                      <a:lnTo>
                        <a:pt x="3679" y="327"/>
                      </a:lnTo>
                      <a:lnTo>
                        <a:pt x="3735" y="356"/>
                      </a:lnTo>
                      <a:lnTo>
                        <a:pt x="3792" y="387"/>
                      </a:lnTo>
                      <a:lnTo>
                        <a:pt x="3846" y="418"/>
                      </a:lnTo>
                      <a:lnTo>
                        <a:pt x="3901" y="451"/>
                      </a:lnTo>
                      <a:lnTo>
                        <a:pt x="3954" y="485"/>
                      </a:lnTo>
                      <a:lnTo>
                        <a:pt x="4005" y="520"/>
                      </a:lnTo>
                      <a:lnTo>
                        <a:pt x="4057" y="557"/>
                      </a:lnTo>
                      <a:lnTo>
                        <a:pt x="4107" y="594"/>
                      </a:lnTo>
                      <a:lnTo>
                        <a:pt x="4157" y="634"/>
                      </a:lnTo>
                      <a:lnTo>
                        <a:pt x="4206" y="673"/>
                      </a:lnTo>
                      <a:lnTo>
                        <a:pt x="4253" y="713"/>
                      </a:lnTo>
                      <a:lnTo>
                        <a:pt x="4300" y="756"/>
                      </a:lnTo>
                      <a:lnTo>
                        <a:pt x="4346" y="799"/>
                      </a:lnTo>
                      <a:lnTo>
                        <a:pt x="4392" y="843"/>
                      </a:lnTo>
                      <a:lnTo>
                        <a:pt x="4434" y="887"/>
                      </a:lnTo>
                      <a:lnTo>
                        <a:pt x="4478" y="934"/>
                      </a:lnTo>
                      <a:lnTo>
                        <a:pt x="4520" y="982"/>
                      </a:lnTo>
                      <a:lnTo>
                        <a:pt x="4561" y="1029"/>
                      </a:lnTo>
                      <a:lnTo>
                        <a:pt x="4599" y="1077"/>
                      </a:lnTo>
                      <a:lnTo>
                        <a:pt x="4639" y="1127"/>
                      </a:lnTo>
                      <a:lnTo>
                        <a:pt x="4676" y="1179"/>
                      </a:lnTo>
                      <a:lnTo>
                        <a:pt x="4711" y="1231"/>
                      </a:lnTo>
                      <a:lnTo>
                        <a:pt x="4747" y="1282"/>
                      </a:lnTo>
                      <a:lnTo>
                        <a:pt x="4781" y="1335"/>
                      </a:lnTo>
                      <a:lnTo>
                        <a:pt x="4813" y="1390"/>
                      </a:lnTo>
                      <a:lnTo>
                        <a:pt x="4844" y="1444"/>
                      </a:lnTo>
                      <a:lnTo>
                        <a:pt x="4875" y="1500"/>
                      </a:lnTo>
                      <a:lnTo>
                        <a:pt x="4903" y="1557"/>
                      </a:lnTo>
                      <a:lnTo>
                        <a:pt x="4931" y="1614"/>
                      </a:lnTo>
                      <a:lnTo>
                        <a:pt x="4958" y="1672"/>
                      </a:lnTo>
                      <a:lnTo>
                        <a:pt x="4983" y="1731"/>
                      </a:lnTo>
                      <a:lnTo>
                        <a:pt x="5005" y="1789"/>
                      </a:lnTo>
                      <a:lnTo>
                        <a:pt x="5027" y="1850"/>
                      </a:lnTo>
                      <a:lnTo>
                        <a:pt x="5048" y="1910"/>
                      </a:lnTo>
                      <a:lnTo>
                        <a:pt x="5067" y="1971"/>
                      </a:lnTo>
                      <a:lnTo>
                        <a:pt x="5084" y="2033"/>
                      </a:lnTo>
                      <a:lnTo>
                        <a:pt x="5101" y="2096"/>
                      </a:lnTo>
                      <a:lnTo>
                        <a:pt x="5115" y="2158"/>
                      </a:lnTo>
                      <a:lnTo>
                        <a:pt x="5129" y="2221"/>
                      </a:lnTo>
                      <a:lnTo>
                        <a:pt x="5140" y="2286"/>
                      </a:lnTo>
                      <a:lnTo>
                        <a:pt x="5151" y="2350"/>
                      </a:lnTo>
                      <a:lnTo>
                        <a:pt x="5160" y="2415"/>
                      </a:lnTo>
                      <a:lnTo>
                        <a:pt x="5167" y="2479"/>
                      </a:lnTo>
                      <a:lnTo>
                        <a:pt x="5171" y="2546"/>
                      </a:lnTo>
                      <a:lnTo>
                        <a:pt x="5176" y="2612"/>
                      </a:lnTo>
                      <a:lnTo>
                        <a:pt x="5176" y="2612"/>
                      </a:lnTo>
                      <a:lnTo>
                        <a:pt x="5177" y="2676"/>
                      </a:lnTo>
                      <a:lnTo>
                        <a:pt x="5177" y="2740"/>
                      </a:lnTo>
                      <a:lnTo>
                        <a:pt x="5177" y="2804"/>
                      </a:lnTo>
                      <a:lnTo>
                        <a:pt x="5174" y="2867"/>
                      </a:lnTo>
                      <a:lnTo>
                        <a:pt x="5170" y="2929"/>
                      </a:lnTo>
                      <a:lnTo>
                        <a:pt x="5164" y="2993"/>
                      </a:lnTo>
                      <a:lnTo>
                        <a:pt x="5157" y="3055"/>
                      </a:lnTo>
                      <a:lnTo>
                        <a:pt x="5148" y="3116"/>
                      </a:lnTo>
                      <a:lnTo>
                        <a:pt x="5137" y="3177"/>
                      </a:lnTo>
                      <a:lnTo>
                        <a:pt x="5126" y="3239"/>
                      </a:lnTo>
                      <a:lnTo>
                        <a:pt x="5112" y="3299"/>
                      </a:lnTo>
                      <a:lnTo>
                        <a:pt x="5098" y="3358"/>
                      </a:lnTo>
                      <a:lnTo>
                        <a:pt x="5081" y="3419"/>
                      </a:lnTo>
                      <a:lnTo>
                        <a:pt x="5064" y="3478"/>
                      </a:lnTo>
                      <a:lnTo>
                        <a:pt x="5045" y="3535"/>
                      </a:lnTo>
                      <a:lnTo>
                        <a:pt x="5024" y="3594"/>
                      </a:lnTo>
                      <a:lnTo>
                        <a:pt x="5002" y="3650"/>
                      </a:lnTo>
                      <a:lnTo>
                        <a:pt x="4978" y="3708"/>
                      </a:lnTo>
                      <a:lnTo>
                        <a:pt x="4953" y="3764"/>
                      </a:lnTo>
                      <a:lnTo>
                        <a:pt x="4927" y="3818"/>
                      </a:lnTo>
                      <a:lnTo>
                        <a:pt x="4899" y="3873"/>
                      </a:lnTo>
                      <a:lnTo>
                        <a:pt x="4869" y="3927"/>
                      </a:lnTo>
                      <a:lnTo>
                        <a:pt x="4838" y="3980"/>
                      </a:lnTo>
                      <a:lnTo>
                        <a:pt x="4807" y="4034"/>
                      </a:lnTo>
                      <a:lnTo>
                        <a:pt x="4773" y="4085"/>
                      </a:lnTo>
                      <a:lnTo>
                        <a:pt x="4738" y="4135"/>
                      </a:lnTo>
                      <a:lnTo>
                        <a:pt x="4703" y="4187"/>
                      </a:lnTo>
                      <a:lnTo>
                        <a:pt x="4666" y="4236"/>
                      </a:lnTo>
                      <a:lnTo>
                        <a:pt x="4626" y="4284"/>
                      </a:lnTo>
                      <a:lnTo>
                        <a:pt x="4586" y="4331"/>
                      </a:lnTo>
                      <a:lnTo>
                        <a:pt x="4545" y="4379"/>
                      </a:lnTo>
                      <a:lnTo>
                        <a:pt x="4502" y="4424"/>
                      </a:lnTo>
                      <a:lnTo>
                        <a:pt x="4502" y="4424"/>
                      </a:lnTo>
                      <a:lnTo>
                        <a:pt x="4458" y="4468"/>
                      </a:lnTo>
                      <a:lnTo>
                        <a:pt x="4414" y="4513"/>
                      </a:lnTo>
                      <a:lnTo>
                        <a:pt x="4368" y="4554"/>
                      </a:lnTo>
                      <a:lnTo>
                        <a:pt x="4321" y="4595"/>
                      </a:lnTo>
                      <a:lnTo>
                        <a:pt x="4272" y="4635"/>
                      </a:lnTo>
                      <a:lnTo>
                        <a:pt x="4225" y="4673"/>
                      </a:lnTo>
                      <a:lnTo>
                        <a:pt x="4175" y="4710"/>
                      </a:lnTo>
                      <a:lnTo>
                        <a:pt x="4125" y="4746"/>
                      </a:lnTo>
                      <a:lnTo>
                        <a:pt x="4073" y="4780"/>
                      </a:lnTo>
                      <a:lnTo>
                        <a:pt x="4021" y="4812"/>
                      </a:lnTo>
                      <a:lnTo>
                        <a:pt x="3970" y="4843"/>
                      </a:lnTo>
                      <a:lnTo>
                        <a:pt x="3915" y="4874"/>
                      </a:lnTo>
                      <a:lnTo>
                        <a:pt x="3862" y="4902"/>
                      </a:lnTo>
                      <a:lnTo>
                        <a:pt x="3808" y="4930"/>
                      </a:lnTo>
                      <a:lnTo>
                        <a:pt x="3752" y="4955"/>
                      </a:lnTo>
                      <a:lnTo>
                        <a:pt x="3696" y="4980"/>
                      </a:lnTo>
                      <a:lnTo>
                        <a:pt x="3638" y="5004"/>
                      </a:lnTo>
                      <a:lnTo>
                        <a:pt x="3581" y="5024"/>
                      </a:lnTo>
                      <a:lnTo>
                        <a:pt x="3523" y="5045"/>
                      </a:lnTo>
                      <a:lnTo>
                        <a:pt x="3464" y="5064"/>
                      </a:lnTo>
                      <a:lnTo>
                        <a:pt x="3405" y="5082"/>
                      </a:lnTo>
                      <a:lnTo>
                        <a:pt x="3346" y="5097"/>
                      </a:lnTo>
                      <a:lnTo>
                        <a:pt x="3286" y="5111"/>
                      </a:lnTo>
                      <a:lnTo>
                        <a:pt x="3224" y="5125"/>
                      </a:lnTo>
                      <a:lnTo>
                        <a:pt x="3163" y="5136"/>
                      </a:lnTo>
                      <a:lnTo>
                        <a:pt x="3102" y="5145"/>
                      </a:lnTo>
                      <a:lnTo>
                        <a:pt x="3040" y="5154"/>
                      </a:lnTo>
                      <a:lnTo>
                        <a:pt x="2978" y="5161"/>
                      </a:lnTo>
                      <a:lnTo>
                        <a:pt x="2914" y="5166"/>
                      </a:lnTo>
                      <a:lnTo>
                        <a:pt x="2851" y="5170"/>
                      </a:lnTo>
                      <a:lnTo>
                        <a:pt x="2788" y="5173"/>
                      </a:lnTo>
                      <a:lnTo>
                        <a:pt x="2723" y="5173"/>
                      </a:lnTo>
                      <a:lnTo>
                        <a:pt x="2723" y="5173"/>
                      </a:lnTo>
                      <a:lnTo>
                        <a:pt x="2658" y="5173"/>
                      </a:lnTo>
                      <a:lnTo>
                        <a:pt x="2592" y="5170"/>
                      </a:lnTo>
                      <a:lnTo>
                        <a:pt x="2527" y="5166"/>
                      </a:lnTo>
                      <a:lnTo>
                        <a:pt x="2460" y="5160"/>
                      </a:lnTo>
                      <a:lnTo>
                        <a:pt x="2397" y="5153"/>
                      </a:lnTo>
                      <a:lnTo>
                        <a:pt x="2332" y="5144"/>
                      </a:lnTo>
                      <a:lnTo>
                        <a:pt x="2269" y="5133"/>
                      </a:lnTo>
                      <a:lnTo>
                        <a:pt x="2205" y="5122"/>
                      </a:lnTo>
                      <a:lnTo>
                        <a:pt x="2142" y="5108"/>
                      </a:lnTo>
                      <a:lnTo>
                        <a:pt x="2080" y="5092"/>
                      </a:lnTo>
                      <a:lnTo>
                        <a:pt x="2018" y="5076"/>
                      </a:lnTo>
                      <a:lnTo>
                        <a:pt x="1956" y="5058"/>
                      </a:lnTo>
                      <a:lnTo>
                        <a:pt x="1896" y="5039"/>
                      </a:lnTo>
                      <a:lnTo>
                        <a:pt x="1835" y="5017"/>
                      </a:lnTo>
                      <a:lnTo>
                        <a:pt x="1776" y="4995"/>
                      </a:lnTo>
                      <a:lnTo>
                        <a:pt x="1717" y="4971"/>
                      </a:lnTo>
                      <a:lnTo>
                        <a:pt x="1658" y="4946"/>
                      </a:lnTo>
                      <a:lnTo>
                        <a:pt x="1601" y="4920"/>
                      </a:lnTo>
                      <a:lnTo>
                        <a:pt x="1545" y="4893"/>
                      </a:lnTo>
                      <a:lnTo>
                        <a:pt x="1489" y="4864"/>
                      </a:lnTo>
                      <a:lnTo>
                        <a:pt x="1433" y="4833"/>
                      </a:lnTo>
                      <a:lnTo>
                        <a:pt x="1378" y="4802"/>
                      </a:lnTo>
                      <a:lnTo>
                        <a:pt x="1325" y="4769"/>
                      </a:lnTo>
                      <a:lnTo>
                        <a:pt x="1272" y="4735"/>
                      </a:lnTo>
                      <a:lnTo>
                        <a:pt x="1219" y="4700"/>
                      </a:lnTo>
                      <a:lnTo>
                        <a:pt x="1167" y="4663"/>
                      </a:lnTo>
                      <a:lnTo>
                        <a:pt x="1117" y="4626"/>
                      </a:lnTo>
                      <a:lnTo>
                        <a:pt x="1067" y="4586"/>
                      </a:lnTo>
                      <a:lnTo>
                        <a:pt x="1019" y="4547"/>
                      </a:lnTo>
                      <a:lnTo>
                        <a:pt x="971" y="4507"/>
                      </a:lnTo>
                      <a:lnTo>
                        <a:pt x="924" y="4464"/>
                      </a:lnTo>
                      <a:lnTo>
                        <a:pt x="878" y="4421"/>
                      </a:lnTo>
                      <a:lnTo>
                        <a:pt x="833" y="4377"/>
                      </a:lnTo>
                      <a:lnTo>
                        <a:pt x="790" y="4331"/>
                      </a:lnTo>
                      <a:lnTo>
                        <a:pt x="747" y="4286"/>
                      </a:lnTo>
                      <a:lnTo>
                        <a:pt x="705" y="4238"/>
                      </a:lnTo>
                      <a:lnTo>
                        <a:pt x="665" y="4191"/>
                      </a:lnTo>
                      <a:lnTo>
                        <a:pt x="625" y="4143"/>
                      </a:lnTo>
                      <a:lnTo>
                        <a:pt x="587" y="4092"/>
                      </a:lnTo>
                      <a:lnTo>
                        <a:pt x="548" y="4041"/>
                      </a:lnTo>
                      <a:lnTo>
                        <a:pt x="513" y="3989"/>
                      </a:lnTo>
                      <a:lnTo>
                        <a:pt x="477" y="3938"/>
                      </a:lnTo>
                      <a:lnTo>
                        <a:pt x="444" y="3885"/>
                      </a:lnTo>
                      <a:lnTo>
                        <a:pt x="411" y="3830"/>
                      </a:lnTo>
                      <a:lnTo>
                        <a:pt x="380" y="3775"/>
                      </a:lnTo>
                      <a:lnTo>
                        <a:pt x="349" y="3719"/>
                      </a:lnTo>
                      <a:lnTo>
                        <a:pt x="321" y="3663"/>
                      </a:lnTo>
                      <a:lnTo>
                        <a:pt x="293" y="3606"/>
                      </a:lnTo>
                      <a:lnTo>
                        <a:pt x="267" y="3548"/>
                      </a:lnTo>
                      <a:lnTo>
                        <a:pt x="243" y="3489"/>
                      </a:lnTo>
                      <a:lnTo>
                        <a:pt x="219" y="3430"/>
                      </a:lnTo>
                      <a:lnTo>
                        <a:pt x="197" y="3370"/>
                      </a:lnTo>
                      <a:lnTo>
                        <a:pt x="177" y="3310"/>
                      </a:lnTo>
                      <a:lnTo>
                        <a:pt x="158" y="3248"/>
                      </a:lnTo>
                      <a:lnTo>
                        <a:pt x="140" y="3187"/>
                      </a:lnTo>
                      <a:lnTo>
                        <a:pt x="124" y="3124"/>
                      </a:lnTo>
                      <a:lnTo>
                        <a:pt x="109" y="3062"/>
                      </a:lnTo>
                      <a:lnTo>
                        <a:pt x="96" y="2998"/>
                      </a:lnTo>
                      <a:lnTo>
                        <a:pt x="84" y="2934"/>
                      </a:lnTo>
                      <a:lnTo>
                        <a:pt x="74" y="2870"/>
                      </a:lnTo>
                      <a:lnTo>
                        <a:pt x="65" y="2805"/>
                      </a:lnTo>
                      <a:lnTo>
                        <a:pt x="57" y="2740"/>
                      </a:lnTo>
                      <a:lnTo>
                        <a:pt x="53" y="2674"/>
                      </a:lnTo>
                      <a:lnTo>
                        <a:pt x="48" y="2608"/>
                      </a:lnTo>
                      <a:lnTo>
                        <a:pt x="48" y="2608"/>
                      </a:lnTo>
                      <a:lnTo>
                        <a:pt x="47" y="2544"/>
                      </a:lnTo>
                      <a:lnTo>
                        <a:pt x="47" y="2479"/>
                      </a:lnTo>
                      <a:lnTo>
                        <a:pt x="48" y="2416"/>
                      </a:lnTo>
                      <a:lnTo>
                        <a:pt x="50" y="2353"/>
                      </a:lnTo>
                      <a:lnTo>
                        <a:pt x="54" y="2291"/>
                      </a:lnTo>
                      <a:lnTo>
                        <a:pt x="60" y="2227"/>
                      </a:lnTo>
                      <a:lnTo>
                        <a:pt x="68" y="2165"/>
                      </a:lnTo>
                      <a:lnTo>
                        <a:pt x="76" y="2104"/>
                      </a:lnTo>
                      <a:lnTo>
                        <a:pt x="87" y="2043"/>
                      </a:lnTo>
                      <a:lnTo>
                        <a:pt x="99" y="1981"/>
                      </a:lnTo>
                      <a:lnTo>
                        <a:pt x="112" y="1921"/>
                      </a:lnTo>
                      <a:lnTo>
                        <a:pt x="127" y="1862"/>
                      </a:lnTo>
                      <a:lnTo>
                        <a:pt x="143" y="1801"/>
                      </a:lnTo>
                      <a:lnTo>
                        <a:pt x="161" y="1742"/>
                      </a:lnTo>
                      <a:lnTo>
                        <a:pt x="181" y="1685"/>
                      </a:lnTo>
                      <a:lnTo>
                        <a:pt x="202" y="1626"/>
                      </a:lnTo>
                      <a:lnTo>
                        <a:pt x="224" y="1570"/>
                      </a:lnTo>
                      <a:lnTo>
                        <a:pt x="248" y="1512"/>
                      </a:lnTo>
                      <a:lnTo>
                        <a:pt x="271" y="1456"/>
                      </a:lnTo>
                      <a:lnTo>
                        <a:pt x="298" y="1402"/>
                      </a:lnTo>
                      <a:lnTo>
                        <a:pt x="326" y="1347"/>
                      </a:lnTo>
                      <a:lnTo>
                        <a:pt x="355" y="1293"/>
                      </a:lnTo>
                      <a:lnTo>
                        <a:pt x="386" y="1240"/>
                      </a:lnTo>
                      <a:lnTo>
                        <a:pt x="419" y="1186"/>
                      </a:lnTo>
                      <a:lnTo>
                        <a:pt x="451" y="1135"/>
                      </a:lnTo>
                      <a:lnTo>
                        <a:pt x="486" y="1083"/>
                      </a:lnTo>
                      <a:lnTo>
                        <a:pt x="522" y="1033"/>
                      </a:lnTo>
                      <a:lnTo>
                        <a:pt x="560" y="984"/>
                      </a:lnTo>
                      <a:lnTo>
                        <a:pt x="598" y="936"/>
                      </a:lnTo>
                      <a:lnTo>
                        <a:pt x="638" y="889"/>
                      </a:lnTo>
                      <a:lnTo>
                        <a:pt x="679" y="841"/>
                      </a:lnTo>
                      <a:lnTo>
                        <a:pt x="722" y="796"/>
                      </a:lnTo>
                      <a:lnTo>
                        <a:pt x="722" y="796"/>
                      </a:lnTo>
                      <a:lnTo>
                        <a:pt x="766" y="751"/>
                      </a:lnTo>
                      <a:lnTo>
                        <a:pt x="812" y="707"/>
                      </a:lnTo>
                      <a:lnTo>
                        <a:pt x="858" y="666"/>
                      </a:lnTo>
                      <a:lnTo>
                        <a:pt x="904" y="625"/>
                      </a:lnTo>
                      <a:lnTo>
                        <a:pt x="952" y="585"/>
                      </a:lnTo>
                      <a:lnTo>
                        <a:pt x="1001" y="547"/>
                      </a:lnTo>
                      <a:lnTo>
                        <a:pt x="1049" y="510"/>
                      </a:lnTo>
                      <a:lnTo>
                        <a:pt x="1100" y="474"/>
                      </a:lnTo>
                      <a:lnTo>
                        <a:pt x="1151" y="440"/>
                      </a:lnTo>
                      <a:lnTo>
                        <a:pt x="1203" y="408"/>
                      </a:lnTo>
                      <a:lnTo>
                        <a:pt x="1256" y="377"/>
                      </a:lnTo>
                      <a:lnTo>
                        <a:pt x="1309" y="346"/>
                      </a:lnTo>
                      <a:lnTo>
                        <a:pt x="1362" y="318"/>
                      </a:lnTo>
                      <a:lnTo>
                        <a:pt x="1418" y="290"/>
                      </a:lnTo>
                      <a:lnTo>
                        <a:pt x="1473" y="265"/>
                      </a:lnTo>
                      <a:lnTo>
                        <a:pt x="1529" y="240"/>
                      </a:lnTo>
                      <a:lnTo>
                        <a:pt x="1586" y="216"/>
                      </a:lnTo>
                      <a:lnTo>
                        <a:pt x="1644" y="196"/>
                      </a:lnTo>
                      <a:lnTo>
                        <a:pt x="1701" y="175"/>
                      </a:lnTo>
                      <a:lnTo>
                        <a:pt x="1760" y="156"/>
                      </a:lnTo>
                      <a:lnTo>
                        <a:pt x="1819" y="138"/>
                      </a:lnTo>
                      <a:lnTo>
                        <a:pt x="1879" y="123"/>
                      </a:lnTo>
                      <a:lnTo>
                        <a:pt x="1940" y="109"/>
                      </a:lnTo>
                      <a:lnTo>
                        <a:pt x="2000" y="95"/>
                      </a:lnTo>
                      <a:lnTo>
                        <a:pt x="2061" y="84"/>
                      </a:lnTo>
                      <a:lnTo>
                        <a:pt x="2123" y="75"/>
                      </a:lnTo>
                      <a:lnTo>
                        <a:pt x="2185" y="66"/>
                      </a:lnTo>
                      <a:lnTo>
                        <a:pt x="2248" y="59"/>
                      </a:lnTo>
                      <a:lnTo>
                        <a:pt x="2310" y="54"/>
                      </a:lnTo>
                      <a:lnTo>
                        <a:pt x="2373" y="50"/>
                      </a:lnTo>
                      <a:lnTo>
                        <a:pt x="2437" y="47"/>
                      </a:lnTo>
                      <a:lnTo>
                        <a:pt x="2502" y="47"/>
                      </a:lnTo>
                      <a:close/>
                      <a:moveTo>
                        <a:pt x="2502" y="0"/>
                      </a:moveTo>
                      <a:lnTo>
                        <a:pt x="2502" y="0"/>
                      </a:lnTo>
                      <a:lnTo>
                        <a:pt x="2434" y="0"/>
                      </a:lnTo>
                      <a:lnTo>
                        <a:pt x="2367" y="3"/>
                      </a:lnTo>
                      <a:lnTo>
                        <a:pt x="2301" y="7"/>
                      </a:lnTo>
                      <a:lnTo>
                        <a:pt x="2235" y="13"/>
                      </a:lnTo>
                      <a:lnTo>
                        <a:pt x="2170" y="20"/>
                      </a:lnTo>
                      <a:lnTo>
                        <a:pt x="2105" y="29"/>
                      </a:lnTo>
                      <a:lnTo>
                        <a:pt x="2040" y="39"/>
                      </a:lnTo>
                      <a:lnTo>
                        <a:pt x="1977" y="53"/>
                      </a:lnTo>
                      <a:lnTo>
                        <a:pt x="1915" y="66"/>
                      </a:lnTo>
                      <a:lnTo>
                        <a:pt x="1853" y="81"/>
                      </a:lnTo>
                      <a:lnTo>
                        <a:pt x="1791" y="98"/>
                      </a:lnTo>
                      <a:lnTo>
                        <a:pt x="1731" y="116"/>
                      </a:lnTo>
                      <a:lnTo>
                        <a:pt x="1670" y="137"/>
                      </a:lnTo>
                      <a:lnTo>
                        <a:pt x="1610" y="157"/>
                      </a:lnTo>
                      <a:lnTo>
                        <a:pt x="1552" y="179"/>
                      </a:lnTo>
                      <a:lnTo>
                        <a:pt x="1493" y="204"/>
                      </a:lnTo>
                      <a:lnTo>
                        <a:pt x="1437" y="230"/>
                      </a:lnTo>
                      <a:lnTo>
                        <a:pt x="1380" y="256"/>
                      </a:lnTo>
                      <a:lnTo>
                        <a:pt x="1325" y="284"/>
                      </a:lnTo>
                      <a:lnTo>
                        <a:pt x="1271" y="314"/>
                      </a:lnTo>
                      <a:lnTo>
                        <a:pt x="1216" y="345"/>
                      </a:lnTo>
                      <a:lnTo>
                        <a:pt x="1163" y="377"/>
                      </a:lnTo>
                      <a:lnTo>
                        <a:pt x="1111" y="411"/>
                      </a:lnTo>
                      <a:lnTo>
                        <a:pt x="1061" y="445"/>
                      </a:lnTo>
                      <a:lnTo>
                        <a:pt x="1011" y="480"/>
                      </a:lnTo>
                      <a:lnTo>
                        <a:pt x="961" y="517"/>
                      </a:lnTo>
                      <a:lnTo>
                        <a:pt x="914" y="555"/>
                      </a:lnTo>
                      <a:lnTo>
                        <a:pt x="867" y="595"/>
                      </a:lnTo>
                      <a:lnTo>
                        <a:pt x="820" y="635"/>
                      </a:lnTo>
                      <a:lnTo>
                        <a:pt x="775" y="678"/>
                      </a:lnTo>
                      <a:lnTo>
                        <a:pt x="731" y="721"/>
                      </a:lnTo>
                      <a:lnTo>
                        <a:pt x="688" y="763"/>
                      </a:lnTo>
                      <a:lnTo>
                        <a:pt x="646" y="809"/>
                      </a:lnTo>
                      <a:lnTo>
                        <a:pt x="606" y="855"/>
                      </a:lnTo>
                      <a:lnTo>
                        <a:pt x="566" y="902"/>
                      </a:lnTo>
                      <a:lnTo>
                        <a:pt x="528" y="949"/>
                      </a:lnTo>
                      <a:lnTo>
                        <a:pt x="489" y="998"/>
                      </a:lnTo>
                      <a:lnTo>
                        <a:pt x="454" y="1048"/>
                      </a:lnTo>
                      <a:lnTo>
                        <a:pt x="419" y="1098"/>
                      </a:lnTo>
                      <a:lnTo>
                        <a:pt x="386" y="1150"/>
                      </a:lnTo>
                      <a:lnTo>
                        <a:pt x="354" y="1203"/>
                      </a:lnTo>
                      <a:lnTo>
                        <a:pt x="323" y="1256"/>
                      </a:lnTo>
                      <a:lnTo>
                        <a:pt x="292" y="1310"/>
                      </a:lnTo>
                      <a:lnTo>
                        <a:pt x="264" y="1365"/>
                      </a:lnTo>
                      <a:lnTo>
                        <a:pt x="237" y="1421"/>
                      </a:lnTo>
                      <a:lnTo>
                        <a:pt x="211" y="1478"/>
                      </a:lnTo>
                      <a:lnTo>
                        <a:pt x="187" y="1536"/>
                      </a:lnTo>
                      <a:lnTo>
                        <a:pt x="163" y="1593"/>
                      </a:lnTo>
                      <a:lnTo>
                        <a:pt x="141" y="1652"/>
                      </a:lnTo>
                      <a:lnTo>
                        <a:pt x="122" y="1713"/>
                      </a:lnTo>
                      <a:lnTo>
                        <a:pt x="103" y="1773"/>
                      </a:lnTo>
                      <a:lnTo>
                        <a:pt x="85" y="1834"/>
                      </a:lnTo>
                      <a:lnTo>
                        <a:pt x="71" y="1896"/>
                      </a:lnTo>
                      <a:lnTo>
                        <a:pt x="56" y="1958"/>
                      </a:lnTo>
                      <a:lnTo>
                        <a:pt x="44" y="2021"/>
                      </a:lnTo>
                      <a:lnTo>
                        <a:pt x="32" y="2084"/>
                      </a:lnTo>
                      <a:lnTo>
                        <a:pt x="23" y="2148"/>
                      </a:lnTo>
                      <a:lnTo>
                        <a:pt x="15" y="2213"/>
                      </a:lnTo>
                      <a:lnTo>
                        <a:pt x="9" y="2278"/>
                      </a:lnTo>
                      <a:lnTo>
                        <a:pt x="4" y="2342"/>
                      </a:lnTo>
                      <a:lnTo>
                        <a:pt x="1" y="2409"/>
                      </a:lnTo>
                      <a:lnTo>
                        <a:pt x="0" y="2475"/>
                      </a:lnTo>
                      <a:lnTo>
                        <a:pt x="0" y="2543"/>
                      </a:lnTo>
                      <a:lnTo>
                        <a:pt x="1" y="2609"/>
                      </a:lnTo>
                      <a:lnTo>
                        <a:pt x="1" y="2609"/>
                      </a:lnTo>
                      <a:lnTo>
                        <a:pt x="6" y="2677"/>
                      </a:lnTo>
                      <a:lnTo>
                        <a:pt x="10" y="2745"/>
                      </a:lnTo>
                      <a:lnTo>
                        <a:pt x="18" y="2811"/>
                      </a:lnTo>
                      <a:lnTo>
                        <a:pt x="26" y="2878"/>
                      </a:lnTo>
                      <a:lnTo>
                        <a:pt x="37" y="2942"/>
                      </a:lnTo>
                      <a:lnTo>
                        <a:pt x="48" y="3007"/>
                      </a:lnTo>
                      <a:lnTo>
                        <a:pt x="62" y="3072"/>
                      </a:lnTo>
                      <a:lnTo>
                        <a:pt x="76" y="3136"/>
                      </a:lnTo>
                      <a:lnTo>
                        <a:pt x="94" y="3199"/>
                      </a:lnTo>
                      <a:lnTo>
                        <a:pt x="112" y="3262"/>
                      </a:lnTo>
                      <a:lnTo>
                        <a:pt x="131" y="3324"/>
                      </a:lnTo>
                      <a:lnTo>
                        <a:pt x="152" y="3386"/>
                      </a:lnTo>
                      <a:lnTo>
                        <a:pt x="174" y="3447"/>
                      </a:lnTo>
                      <a:lnTo>
                        <a:pt x="199" y="3507"/>
                      </a:lnTo>
                      <a:lnTo>
                        <a:pt x="224" y="3568"/>
                      </a:lnTo>
                      <a:lnTo>
                        <a:pt x="250" y="3627"/>
                      </a:lnTo>
                      <a:lnTo>
                        <a:pt x="278" y="3684"/>
                      </a:lnTo>
                      <a:lnTo>
                        <a:pt x="308" y="3742"/>
                      </a:lnTo>
                      <a:lnTo>
                        <a:pt x="337" y="3799"/>
                      </a:lnTo>
                      <a:lnTo>
                        <a:pt x="370" y="3855"/>
                      </a:lnTo>
                      <a:lnTo>
                        <a:pt x="402" y="3910"/>
                      </a:lnTo>
                      <a:lnTo>
                        <a:pt x="438" y="3964"/>
                      </a:lnTo>
                      <a:lnTo>
                        <a:pt x="473" y="4017"/>
                      </a:lnTo>
                      <a:lnTo>
                        <a:pt x="510" y="4070"/>
                      </a:lnTo>
                      <a:lnTo>
                        <a:pt x="548" y="4122"/>
                      </a:lnTo>
                      <a:lnTo>
                        <a:pt x="587" y="4172"/>
                      </a:lnTo>
                      <a:lnTo>
                        <a:pt x="626" y="4222"/>
                      </a:lnTo>
                      <a:lnTo>
                        <a:pt x="669" y="4271"/>
                      </a:lnTo>
                      <a:lnTo>
                        <a:pt x="710" y="4318"/>
                      </a:lnTo>
                      <a:lnTo>
                        <a:pt x="755" y="4365"/>
                      </a:lnTo>
                      <a:lnTo>
                        <a:pt x="799" y="4411"/>
                      </a:lnTo>
                      <a:lnTo>
                        <a:pt x="845" y="4457"/>
                      </a:lnTo>
                      <a:lnTo>
                        <a:pt x="892" y="4499"/>
                      </a:lnTo>
                      <a:lnTo>
                        <a:pt x="939" y="4542"/>
                      </a:lnTo>
                      <a:lnTo>
                        <a:pt x="988" y="4583"/>
                      </a:lnTo>
                      <a:lnTo>
                        <a:pt x="1038" y="4625"/>
                      </a:lnTo>
                      <a:lnTo>
                        <a:pt x="1088" y="4665"/>
                      </a:lnTo>
                      <a:lnTo>
                        <a:pt x="1139" y="4701"/>
                      </a:lnTo>
                      <a:lnTo>
                        <a:pt x="1191" y="4740"/>
                      </a:lnTo>
                      <a:lnTo>
                        <a:pt x="1244" y="4775"/>
                      </a:lnTo>
                      <a:lnTo>
                        <a:pt x="1299" y="4809"/>
                      </a:lnTo>
                      <a:lnTo>
                        <a:pt x="1353" y="4843"/>
                      </a:lnTo>
                      <a:lnTo>
                        <a:pt x="1409" y="4875"/>
                      </a:lnTo>
                      <a:lnTo>
                        <a:pt x="1465" y="4906"/>
                      </a:lnTo>
                      <a:lnTo>
                        <a:pt x="1523" y="4936"/>
                      </a:lnTo>
                      <a:lnTo>
                        <a:pt x="1580" y="4964"/>
                      </a:lnTo>
                      <a:lnTo>
                        <a:pt x="1639" y="4990"/>
                      </a:lnTo>
                      <a:lnTo>
                        <a:pt x="1698" y="5015"/>
                      </a:lnTo>
                      <a:lnTo>
                        <a:pt x="1759" y="5039"/>
                      </a:lnTo>
                      <a:lnTo>
                        <a:pt x="1819" y="5063"/>
                      </a:lnTo>
                      <a:lnTo>
                        <a:pt x="1881" y="5083"/>
                      </a:lnTo>
                      <a:lnTo>
                        <a:pt x="1941" y="5104"/>
                      </a:lnTo>
                      <a:lnTo>
                        <a:pt x="2005" y="5122"/>
                      </a:lnTo>
                      <a:lnTo>
                        <a:pt x="2068" y="5139"/>
                      </a:lnTo>
                      <a:lnTo>
                        <a:pt x="2132" y="5154"/>
                      </a:lnTo>
                      <a:lnTo>
                        <a:pt x="2195" y="5167"/>
                      </a:lnTo>
                      <a:lnTo>
                        <a:pt x="2260" y="5181"/>
                      </a:lnTo>
                      <a:lnTo>
                        <a:pt x="2325" y="5191"/>
                      </a:lnTo>
                      <a:lnTo>
                        <a:pt x="2390" y="5200"/>
                      </a:lnTo>
                      <a:lnTo>
                        <a:pt x="2456" y="5207"/>
                      </a:lnTo>
                      <a:lnTo>
                        <a:pt x="2522" y="5213"/>
                      </a:lnTo>
                      <a:lnTo>
                        <a:pt x="2589" y="5217"/>
                      </a:lnTo>
                      <a:lnTo>
                        <a:pt x="2656" y="5220"/>
                      </a:lnTo>
                      <a:lnTo>
                        <a:pt x="2723" y="5220"/>
                      </a:lnTo>
                      <a:lnTo>
                        <a:pt x="2723" y="5220"/>
                      </a:lnTo>
                      <a:lnTo>
                        <a:pt x="2791" y="5220"/>
                      </a:lnTo>
                      <a:lnTo>
                        <a:pt x="2857" y="5217"/>
                      </a:lnTo>
                      <a:lnTo>
                        <a:pt x="2923" y="5213"/>
                      </a:lnTo>
                      <a:lnTo>
                        <a:pt x="2990" y="5207"/>
                      </a:lnTo>
                      <a:lnTo>
                        <a:pt x="3054" y="5200"/>
                      </a:lnTo>
                      <a:lnTo>
                        <a:pt x="3119" y="5191"/>
                      </a:lnTo>
                      <a:lnTo>
                        <a:pt x="3184" y="5181"/>
                      </a:lnTo>
                      <a:lnTo>
                        <a:pt x="3248" y="5167"/>
                      </a:lnTo>
                      <a:lnTo>
                        <a:pt x="3309" y="5154"/>
                      </a:lnTo>
                      <a:lnTo>
                        <a:pt x="3373" y="5139"/>
                      </a:lnTo>
                      <a:lnTo>
                        <a:pt x="3433" y="5122"/>
                      </a:lnTo>
                      <a:lnTo>
                        <a:pt x="3495" y="5104"/>
                      </a:lnTo>
                      <a:lnTo>
                        <a:pt x="3554" y="5083"/>
                      </a:lnTo>
                      <a:lnTo>
                        <a:pt x="3615" y="5063"/>
                      </a:lnTo>
                      <a:lnTo>
                        <a:pt x="3674" y="5039"/>
                      </a:lnTo>
                      <a:lnTo>
                        <a:pt x="3731" y="5015"/>
                      </a:lnTo>
                      <a:lnTo>
                        <a:pt x="3789" y="4990"/>
                      </a:lnTo>
                      <a:lnTo>
                        <a:pt x="3845" y="4964"/>
                      </a:lnTo>
                      <a:lnTo>
                        <a:pt x="3899" y="4936"/>
                      </a:lnTo>
                      <a:lnTo>
                        <a:pt x="3954" y="4906"/>
                      </a:lnTo>
                      <a:lnTo>
                        <a:pt x="4008" y="4875"/>
                      </a:lnTo>
                      <a:lnTo>
                        <a:pt x="4061" y="4843"/>
                      </a:lnTo>
                      <a:lnTo>
                        <a:pt x="4113" y="4809"/>
                      </a:lnTo>
                      <a:lnTo>
                        <a:pt x="4164" y="4775"/>
                      </a:lnTo>
                      <a:lnTo>
                        <a:pt x="4215" y="4740"/>
                      </a:lnTo>
                      <a:lnTo>
                        <a:pt x="4263" y="4701"/>
                      </a:lnTo>
                      <a:lnTo>
                        <a:pt x="4312" y="4665"/>
                      </a:lnTo>
                      <a:lnTo>
                        <a:pt x="4359" y="4625"/>
                      </a:lnTo>
                      <a:lnTo>
                        <a:pt x="4405" y="4583"/>
                      </a:lnTo>
                      <a:lnTo>
                        <a:pt x="4450" y="4542"/>
                      </a:lnTo>
                      <a:lnTo>
                        <a:pt x="4493" y="4499"/>
                      </a:lnTo>
                      <a:lnTo>
                        <a:pt x="4537" y="4457"/>
                      </a:lnTo>
                      <a:lnTo>
                        <a:pt x="4579" y="4411"/>
                      </a:lnTo>
                      <a:lnTo>
                        <a:pt x="4620" y="4365"/>
                      </a:lnTo>
                      <a:lnTo>
                        <a:pt x="4658" y="4318"/>
                      </a:lnTo>
                      <a:lnTo>
                        <a:pt x="4697" y="4271"/>
                      </a:lnTo>
                      <a:lnTo>
                        <a:pt x="4735" y="4222"/>
                      </a:lnTo>
                      <a:lnTo>
                        <a:pt x="4770" y="4172"/>
                      </a:lnTo>
                      <a:lnTo>
                        <a:pt x="4806" y="4122"/>
                      </a:lnTo>
                      <a:lnTo>
                        <a:pt x="4840" y="4070"/>
                      </a:lnTo>
                      <a:lnTo>
                        <a:pt x="4872" y="4017"/>
                      </a:lnTo>
                      <a:lnTo>
                        <a:pt x="4903" y="3964"/>
                      </a:lnTo>
                      <a:lnTo>
                        <a:pt x="4933" y="3910"/>
                      </a:lnTo>
                      <a:lnTo>
                        <a:pt x="4961" y="3855"/>
                      </a:lnTo>
                      <a:lnTo>
                        <a:pt x="4987" y="3799"/>
                      </a:lnTo>
                      <a:lnTo>
                        <a:pt x="5014" y="3742"/>
                      </a:lnTo>
                      <a:lnTo>
                        <a:pt x="5037" y="3684"/>
                      </a:lnTo>
                      <a:lnTo>
                        <a:pt x="5061" y="3627"/>
                      </a:lnTo>
                      <a:lnTo>
                        <a:pt x="5083" y="3568"/>
                      </a:lnTo>
                      <a:lnTo>
                        <a:pt x="5102" y="3507"/>
                      </a:lnTo>
                      <a:lnTo>
                        <a:pt x="5121" y="3447"/>
                      </a:lnTo>
                      <a:lnTo>
                        <a:pt x="5139" y="3386"/>
                      </a:lnTo>
                      <a:lnTo>
                        <a:pt x="5154" y="3324"/>
                      </a:lnTo>
                      <a:lnTo>
                        <a:pt x="5168" y="3262"/>
                      </a:lnTo>
                      <a:lnTo>
                        <a:pt x="5182" y="3199"/>
                      </a:lnTo>
                      <a:lnTo>
                        <a:pt x="5192" y="3136"/>
                      </a:lnTo>
                      <a:lnTo>
                        <a:pt x="5202" y="3072"/>
                      </a:lnTo>
                      <a:lnTo>
                        <a:pt x="5210" y="3007"/>
                      </a:lnTo>
                      <a:lnTo>
                        <a:pt x="5216" y="2942"/>
                      </a:lnTo>
                      <a:lnTo>
                        <a:pt x="5220" y="2878"/>
                      </a:lnTo>
                      <a:lnTo>
                        <a:pt x="5224" y="2811"/>
                      </a:lnTo>
                      <a:lnTo>
                        <a:pt x="5224" y="2745"/>
                      </a:lnTo>
                      <a:lnTo>
                        <a:pt x="5224" y="2677"/>
                      </a:lnTo>
                      <a:lnTo>
                        <a:pt x="5223" y="2609"/>
                      </a:lnTo>
                      <a:lnTo>
                        <a:pt x="5223" y="2609"/>
                      </a:lnTo>
                      <a:lnTo>
                        <a:pt x="5219" y="2543"/>
                      </a:lnTo>
                      <a:lnTo>
                        <a:pt x="5214" y="2475"/>
                      </a:lnTo>
                      <a:lnTo>
                        <a:pt x="5207" y="2409"/>
                      </a:lnTo>
                      <a:lnTo>
                        <a:pt x="5198" y="2342"/>
                      </a:lnTo>
                      <a:lnTo>
                        <a:pt x="5188" y="2278"/>
                      </a:lnTo>
                      <a:lnTo>
                        <a:pt x="5176" y="2213"/>
                      </a:lnTo>
                      <a:lnTo>
                        <a:pt x="5163" y="2148"/>
                      </a:lnTo>
                      <a:lnTo>
                        <a:pt x="5148" y="2084"/>
                      </a:lnTo>
                      <a:lnTo>
                        <a:pt x="5132" y="2021"/>
                      </a:lnTo>
                      <a:lnTo>
                        <a:pt x="5112" y="1958"/>
                      </a:lnTo>
                      <a:lnTo>
                        <a:pt x="5093" y="1896"/>
                      </a:lnTo>
                      <a:lnTo>
                        <a:pt x="5073" y="1834"/>
                      </a:lnTo>
                      <a:lnTo>
                        <a:pt x="5050" y="1773"/>
                      </a:lnTo>
                      <a:lnTo>
                        <a:pt x="5027" y="1713"/>
                      </a:lnTo>
                      <a:lnTo>
                        <a:pt x="5000" y="1652"/>
                      </a:lnTo>
                      <a:lnTo>
                        <a:pt x="4974" y="1593"/>
                      </a:lnTo>
                      <a:lnTo>
                        <a:pt x="4946" y="1536"/>
                      </a:lnTo>
                      <a:lnTo>
                        <a:pt x="4918" y="1478"/>
                      </a:lnTo>
                      <a:lnTo>
                        <a:pt x="4887" y="1421"/>
                      </a:lnTo>
                      <a:lnTo>
                        <a:pt x="4854" y="1365"/>
                      </a:lnTo>
                      <a:lnTo>
                        <a:pt x="4822" y="1310"/>
                      </a:lnTo>
                      <a:lnTo>
                        <a:pt x="4787" y="1256"/>
                      </a:lnTo>
                      <a:lnTo>
                        <a:pt x="4751" y="1203"/>
                      </a:lnTo>
                      <a:lnTo>
                        <a:pt x="4714" y="1150"/>
                      </a:lnTo>
                      <a:lnTo>
                        <a:pt x="4678" y="1098"/>
                      </a:lnTo>
                      <a:lnTo>
                        <a:pt x="4638" y="1048"/>
                      </a:lnTo>
                      <a:lnTo>
                        <a:pt x="4598" y="998"/>
                      </a:lnTo>
                      <a:lnTo>
                        <a:pt x="4557" y="949"/>
                      </a:lnTo>
                      <a:lnTo>
                        <a:pt x="4514" y="902"/>
                      </a:lnTo>
                      <a:lnTo>
                        <a:pt x="4470" y="855"/>
                      </a:lnTo>
                      <a:lnTo>
                        <a:pt x="4425" y="809"/>
                      </a:lnTo>
                      <a:lnTo>
                        <a:pt x="4380" y="763"/>
                      </a:lnTo>
                      <a:lnTo>
                        <a:pt x="4333" y="721"/>
                      </a:lnTo>
                      <a:lnTo>
                        <a:pt x="4285" y="678"/>
                      </a:lnTo>
                      <a:lnTo>
                        <a:pt x="4237" y="635"/>
                      </a:lnTo>
                      <a:lnTo>
                        <a:pt x="4187" y="595"/>
                      </a:lnTo>
                      <a:lnTo>
                        <a:pt x="4136" y="555"/>
                      </a:lnTo>
                      <a:lnTo>
                        <a:pt x="4085" y="517"/>
                      </a:lnTo>
                      <a:lnTo>
                        <a:pt x="4033" y="480"/>
                      </a:lnTo>
                      <a:lnTo>
                        <a:pt x="3980" y="445"/>
                      </a:lnTo>
                      <a:lnTo>
                        <a:pt x="3926" y="411"/>
                      </a:lnTo>
                      <a:lnTo>
                        <a:pt x="3871" y="377"/>
                      </a:lnTo>
                      <a:lnTo>
                        <a:pt x="3815" y="345"/>
                      </a:lnTo>
                      <a:lnTo>
                        <a:pt x="3759" y="314"/>
                      </a:lnTo>
                      <a:lnTo>
                        <a:pt x="3702" y="284"/>
                      </a:lnTo>
                      <a:lnTo>
                        <a:pt x="3644" y="256"/>
                      </a:lnTo>
                      <a:lnTo>
                        <a:pt x="3585" y="230"/>
                      </a:lnTo>
                      <a:lnTo>
                        <a:pt x="3526" y="204"/>
                      </a:lnTo>
                      <a:lnTo>
                        <a:pt x="3466" y="179"/>
                      </a:lnTo>
                      <a:lnTo>
                        <a:pt x="3405" y="157"/>
                      </a:lnTo>
                      <a:lnTo>
                        <a:pt x="3345" y="137"/>
                      </a:lnTo>
                      <a:lnTo>
                        <a:pt x="3283" y="116"/>
                      </a:lnTo>
                      <a:lnTo>
                        <a:pt x="3220" y="98"/>
                      </a:lnTo>
                      <a:lnTo>
                        <a:pt x="3158" y="81"/>
                      </a:lnTo>
                      <a:lnTo>
                        <a:pt x="3094" y="66"/>
                      </a:lnTo>
                      <a:lnTo>
                        <a:pt x="3029" y="53"/>
                      </a:lnTo>
                      <a:lnTo>
                        <a:pt x="2964" y="39"/>
                      </a:lnTo>
                      <a:lnTo>
                        <a:pt x="2900" y="29"/>
                      </a:lnTo>
                      <a:lnTo>
                        <a:pt x="2835" y="20"/>
                      </a:lnTo>
                      <a:lnTo>
                        <a:pt x="2768" y="13"/>
                      </a:lnTo>
                      <a:lnTo>
                        <a:pt x="2702" y="7"/>
                      </a:lnTo>
                      <a:lnTo>
                        <a:pt x="2636" y="3"/>
                      </a:lnTo>
                      <a:lnTo>
                        <a:pt x="2568" y="0"/>
                      </a:lnTo>
                      <a:lnTo>
                        <a:pt x="2502" y="0"/>
                      </a:lnTo>
                      <a:lnTo>
                        <a:pt x="250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30" name="Freeform 22">
                  <a:extLst>
                    <a:ext uri="{FF2B5EF4-FFF2-40B4-BE49-F238E27FC236}">
                      <a16:creationId xmlns:a16="http://schemas.microsoft.com/office/drawing/2014/main" xmlns="" id="{AA72A718-794E-2B40-A250-CC9A4F7A34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7200" y="2041525"/>
                  <a:ext cx="153988" cy="301625"/>
                </a:xfrm>
                <a:custGeom>
                  <a:avLst/>
                  <a:gdLst/>
                  <a:ahLst/>
                  <a:cxnLst>
                    <a:cxn ang="0">
                      <a:pos x="105" y="569"/>
                    </a:cxn>
                    <a:cxn ang="0">
                      <a:pos x="105" y="569"/>
                    </a:cxn>
                    <a:cxn ang="0">
                      <a:pos x="112" y="570"/>
                    </a:cxn>
                    <a:cxn ang="0">
                      <a:pos x="121" y="567"/>
                    </a:cxn>
                    <a:cxn ang="0">
                      <a:pos x="130" y="563"/>
                    </a:cxn>
                    <a:cxn ang="0">
                      <a:pos x="139" y="555"/>
                    </a:cxn>
                    <a:cxn ang="0">
                      <a:pos x="149" y="547"/>
                    </a:cxn>
                    <a:cxn ang="0">
                      <a:pos x="159" y="535"/>
                    </a:cxn>
                    <a:cxn ang="0">
                      <a:pos x="170" y="520"/>
                    </a:cxn>
                    <a:cxn ang="0">
                      <a:pos x="180" y="505"/>
                    </a:cxn>
                    <a:cxn ang="0">
                      <a:pos x="190" y="488"/>
                    </a:cxn>
                    <a:cxn ang="0">
                      <a:pos x="201" y="467"/>
                    </a:cxn>
                    <a:cxn ang="0">
                      <a:pos x="220" y="424"/>
                    </a:cxn>
                    <a:cxn ang="0">
                      <a:pos x="239" y="374"/>
                    </a:cxn>
                    <a:cxn ang="0">
                      <a:pos x="257" y="321"/>
                    </a:cxn>
                    <a:cxn ang="0">
                      <a:pos x="257" y="321"/>
                    </a:cxn>
                    <a:cxn ang="0">
                      <a:pos x="271" y="265"/>
                    </a:cxn>
                    <a:cxn ang="0">
                      <a:pos x="282" y="213"/>
                    </a:cxn>
                    <a:cxn ang="0">
                      <a:pos x="288" y="166"/>
                    </a:cxn>
                    <a:cxn ang="0">
                      <a:pos x="289" y="144"/>
                    </a:cxn>
                    <a:cxn ang="0">
                      <a:pos x="291" y="123"/>
                    </a:cxn>
                    <a:cxn ang="0">
                      <a:pos x="289" y="104"/>
                    </a:cxn>
                    <a:cxn ang="0">
                      <a:pos x="288" y="87"/>
                    </a:cxn>
                    <a:cxn ang="0">
                      <a:pos x="286" y="72"/>
                    </a:cxn>
                    <a:cxn ang="0">
                      <a:pos x="283" y="58"/>
                    </a:cxn>
                    <a:cxn ang="0">
                      <a:pos x="279" y="48"/>
                    </a:cxn>
                    <a:cxn ang="0">
                      <a:pos x="273" y="39"/>
                    </a:cxn>
                    <a:cxn ang="0">
                      <a:pos x="267" y="32"/>
                    </a:cxn>
                    <a:cxn ang="0">
                      <a:pos x="260" y="29"/>
                    </a:cxn>
                    <a:cxn ang="0">
                      <a:pos x="156" y="0"/>
                    </a:cxn>
                    <a:cxn ang="0">
                      <a:pos x="156" y="0"/>
                    </a:cxn>
                    <a:cxn ang="0">
                      <a:pos x="164" y="2"/>
                    </a:cxn>
                    <a:cxn ang="0">
                      <a:pos x="170" y="8"/>
                    </a:cxn>
                    <a:cxn ang="0">
                      <a:pos x="176" y="17"/>
                    </a:cxn>
                    <a:cxn ang="0">
                      <a:pos x="180" y="29"/>
                    </a:cxn>
                    <a:cxn ang="0">
                      <a:pos x="183" y="42"/>
                    </a:cxn>
                    <a:cxn ang="0">
                      <a:pos x="184" y="57"/>
                    </a:cxn>
                    <a:cxn ang="0">
                      <a:pos x="186" y="75"/>
                    </a:cxn>
                    <a:cxn ang="0">
                      <a:pos x="186" y="94"/>
                    </a:cxn>
                    <a:cxn ang="0">
                      <a:pos x="186" y="115"/>
                    </a:cxn>
                    <a:cxn ang="0">
                      <a:pos x="184" y="135"/>
                    </a:cxn>
                    <a:cxn ang="0">
                      <a:pos x="177" y="184"/>
                    </a:cxn>
                    <a:cxn ang="0">
                      <a:pos x="167" y="235"/>
                    </a:cxn>
                    <a:cxn ang="0">
                      <a:pos x="154" y="290"/>
                    </a:cxn>
                    <a:cxn ang="0">
                      <a:pos x="154" y="290"/>
                    </a:cxn>
                    <a:cxn ang="0">
                      <a:pos x="136" y="345"/>
                    </a:cxn>
                    <a:cxn ang="0">
                      <a:pos x="117" y="393"/>
                    </a:cxn>
                    <a:cxn ang="0">
                      <a:pos x="97" y="437"/>
                    </a:cxn>
                    <a:cxn ang="0">
                      <a:pos x="87" y="457"/>
                    </a:cxn>
                    <a:cxn ang="0">
                      <a:pos x="77" y="474"/>
                    </a:cxn>
                    <a:cxn ang="0">
                      <a:pos x="67" y="490"/>
                    </a:cxn>
                    <a:cxn ang="0">
                      <a:pos x="56" y="505"/>
                    </a:cxn>
                    <a:cxn ang="0">
                      <a:pos x="46" y="517"/>
                    </a:cxn>
                    <a:cxn ang="0">
                      <a:pos x="36" y="526"/>
                    </a:cxn>
                    <a:cxn ang="0">
                      <a:pos x="27" y="533"/>
                    </a:cxn>
                    <a:cxn ang="0">
                      <a:pos x="18" y="538"/>
                    </a:cxn>
                    <a:cxn ang="0">
                      <a:pos x="9" y="539"/>
                    </a:cxn>
                    <a:cxn ang="0">
                      <a:pos x="0" y="539"/>
                    </a:cxn>
                    <a:cxn ang="0">
                      <a:pos x="105" y="569"/>
                    </a:cxn>
                  </a:cxnLst>
                  <a:rect l="0" t="0" r="r" b="b"/>
                  <a:pathLst>
                    <a:path w="291" h="570">
                      <a:moveTo>
                        <a:pt x="105" y="569"/>
                      </a:moveTo>
                      <a:lnTo>
                        <a:pt x="105" y="569"/>
                      </a:lnTo>
                      <a:lnTo>
                        <a:pt x="112" y="570"/>
                      </a:lnTo>
                      <a:lnTo>
                        <a:pt x="121" y="567"/>
                      </a:lnTo>
                      <a:lnTo>
                        <a:pt x="130" y="563"/>
                      </a:lnTo>
                      <a:lnTo>
                        <a:pt x="139" y="555"/>
                      </a:lnTo>
                      <a:lnTo>
                        <a:pt x="149" y="547"/>
                      </a:lnTo>
                      <a:lnTo>
                        <a:pt x="159" y="535"/>
                      </a:lnTo>
                      <a:lnTo>
                        <a:pt x="170" y="520"/>
                      </a:lnTo>
                      <a:lnTo>
                        <a:pt x="180" y="505"/>
                      </a:lnTo>
                      <a:lnTo>
                        <a:pt x="190" y="488"/>
                      </a:lnTo>
                      <a:lnTo>
                        <a:pt x="201" y="467"/>
                      </a:lnTo>
                      <a:lnTo>
                        <a:pt x="220" y="424"/>
                      </a:lnTo>
                      <a:lnTo>
                        <a:pt x="239" y="374"/>
                      </a:lnTo>
                      <a:lnTo>
                        <a:pt x="257" y="321"/>
                      </a:lnTo>
                      <a:lnTo>
                        <a:pt x="257" y="321"/>
                      </a:lnTo>
                      <a:lnTo>
                        <a:pt x="271" y="265"/>
                      </a:lnTo>
                      <a:lnTo>
                        <a:pt x="282" y="213"/>
                      </a:lnTo>
                      <a:lnTo>
                        <a:pt x="288" y="166"/>
                      </a:lnTo>
                      <a:lnTo>
                        <a:pt x="289" y="144"/>
                      </a:lnTo>
                      <a:lnTo>
                        <a:pt x="291" y="123"/>
                      </a:lnTo>
                      <a:lnTo>
                        <a:pt x="289" y="104"/>
                      </a:lnTo>
                      <a:lnTo>
                        <a:pt x="288" y="87"/>
                      </a:lnTo>
                      <a:lnTo>
                        <a:pt x="286" y="72"/>
                      </a:lnTo>
                      <a:lnTo>
                        <a:pt x="283" y="58"/>
                      </a:lnTo>
                      <a:lnTo>
                        <a:pt x="279" y="48"/>
                      </a:lnTo>
                      <a:lnTo>
                        <a:pt x="273" y="39"/>
                      </a:lnTo>
                      <a:lnTo>
                        <a:pt x="267" y="32"/>
                      </a:lnTo>
                      <a:lnTo>
                        <a:pt x="260" y="29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64" y="2"/>
                      </a:lnTo>
                      <a:lnTo>
                        <a:pt x="170" y="8"/>
                      </a:lnTo>
                      <a:lnTo>
                        <a:pt x="176" y="17"/>
                      </a:lnTo>
                      <a:lnTo>
                        <a:pt x="180" y="29"/>
                      </a:lnTo>
                      <a:lnTo>
                        <a:pt x="183" y="42"/>
                      </a:lnTo>
                      <a:lnTo>
                        <a:pt x="184" y="57"/>
                      </a:lnTo>
                      <a:lnTo>
                        <a:pt x="186" y="75"/>
                      </a:lnTo>
                      <a:lnTo>
                        <a:pt x="186" y="94"/>
                      </a:lnTo>
                      <a:lnTo>
                        <a:pt x="186" y="115"/>
                      </a:lnTo>
                      <a:lnTo>
                        <a:pt x="184" y="135"/>
                      </a:lnTo>
                      <a:lnTo>
                        <a:pt x="177" y="184"/>
                      </a:lnTo>
                      <a:lnTo>
                        <a:pt x="167" y="235"/>
                      </a:lnTo>
                      <a:lnTo>
                        <a:pt x="154" y="290"/>
                      </a:lnTo>
                      <a:lnTo>
                        <a:pt x="154" y="290"/>
                      </a:lnTo>
                      <a:lnTo>
                        <a:pt x="136" y="345"/>
                      </a:lnTo>
                      <a:lnTo>
                        <a:pt x="117" y="393"/>
                      </a:lnTo>
                      <a:lnTo>
                        <a:pt x="97" y="437"/>
                      </a:lnTo>
                      <a:lnTo>
                        <a:pt x="87" y="457"/>
                      </a:lnTo>
                      <a:lnTo>
                        <a:pt x="77" y="474"/>
                      </a:lnTo>
                      <a:lnTo>
                        <a:pt x="67" y="490"/>
                      </a:lnTo>
                      <a:lnTo>
                        <a:pt x="56" y="505"/>
                      </a:lnTo>
                      <a:lnTo>
                        <a:pt x="46" y="517"/>
                      </a:lnTo>
                      <a:lnTo>
                        <a:pt x="36" y="526"/>
                      </a:lnTo>
                      <a:lnTo>
                        <a:pt x="27" y="533"/>
                      </a:lnTo>
                      <a:lnTo>
                        <a:pt x="18" y="538"/>
                      </a:lnTo>
                      <a:lnTo>
                        <a:pt x="9" y="539"/>
                      </a:lnTo>
                      <a:lnTo>
                        <a:pt x="0" y="539"/>
                      </a:lnTo>
                      <a:lnTo>
                        <a:pt x="105" y="569"/>
                      </a:lnTo>
                      <a:close/>
                    </a:path>
                  </a:pathLst>
                </a:custGeom>
                <a:gradFill flip="none" rotWithShape="1">
                  <a:gsLst>
                    <a:gs pos="15000">
                      <a:srgbClr val="414141"/>
                    </a:gs>
                    <a:gs pos="67000">
                      <a:srgbClr val="FFFFFF"/>
                    </a:gs>
                    <a:gs pos="100000">
                      <a:srgbClr val="CFCFCF"/>
                    </a:gs>
                    <a:gs pos="0">
                      <a:srgbClr val="A6A6A6"/>
                    </a:gs>
                    <a:gs pos="86000">
                      <a:srgbClr val="A6A6A6"/>
                    </a:gs>
                    <a:gs pos="16000">
                      <a:srgbClr val="262626"/>
                    </a:gs>
                  </a:gsLst>
                  <a:lin ang="1728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31" name="Freeform 23">
                  <a:extLst>
                    <a:ext uri="{FF2B5EF4-FFF2-40B4-BE49-F238E27FC236}">
                      <a16:creationId xmlns:a16="http://schemas.microsoft.com/office/drawing/2014/main" xmlns="" id="{52A6A813-72FB-E84D-964B-6D22728457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2912" y="2041525"/>
                  <a:ext cx="112713" cy="285750"/>
                </a:xfrm>
                <a:custGeom>
                  <a:avLst/>
                  <a:gdLst/>
                  <a:ahLst/>
                  <a:cxnLst>
                    <a:cxn ang="0">
                      <a:pos x="182" y="292"/>
                    </a:cxn>
                    <a:cxn ang="0">
                      <a:pos x="182" y="292"/>
                    </a:cxn>
                    <a:cxn ang="0">
                      <a:pos x="165" y="347"/>
                    </a:cxn>
                    <a:cxn ang="0">
                      <a:pos x="146" y="397"/>
                    </a:cxn>
                    <a:cxn ang="0">
                      <a:pos x="125" y="439"/>
                    </a:cxn>
                    <a:cxn ang="0">
                      <a:pos x="115" y="460"/>
                    </a:cxn>
                    <a:cxn ang="0">
                      <a:pos x="105" y="478"/>
                    </a:cxn>
                    <a:cxn ang="0">
                      <a:pos x="95" y="492"/>
                    </a:cxn>
                    <a:cxn ang="0">
                      <a:pos x="84" y="507"/>
                    </a:cxn>
                    <a:cxn ang="0">
                      <a:pos x="74" y="519"/>
                    </a:cxn>
                    <a:cxn ang="0">
                      <a:pos x="65" y="528"/>
                    </a:cxn>
                    <a:cxn ang="0">
                      <a:pos x="55" y="535"/>
                    </a:cxn>
                    <a:cxn ang="0">
                      <a:pos x="46" y="540"/>
                    </a:cxn>
                    <a:cxn ang="0">
                      <a:pos x="37" y="541"/>
                    </a:cxn>
                    <a:cxn ang="0">
                      <a:pos x="30" y="541"/>
                    </a:cxn>
                    <a:cxn ang="0">
                      <a:pos x="30" y="541"/>
                    </a:cxn>
                    <a:cxn ang="0">
                      <a:pos x="22" y="537"/>
                    </a:cxn>
                    <a:cxn ang="0">
                      <a:pos x="16" y="531"/>
                    </a:cxn>
                    <a:cxn ang="0">
                      <a:pos x="10" y="522"/>
                    </a:cxn>
                    <a:cxn ang="0">
                      <a:pos x="6" y="512"/>
                    </a:cxn>
                    <a:cxn ang="0">
                      <a:pos x="3" y="498"/>
                    </a:cxn>
                    <a:cxn ang="0">
                      <a:pos x="2" y="482"/>
                    </a:cxn>
                    <a:cxn ang="0">
                      <a:pos x="0" y="466"/>
                    </a:cxn>
                    <a:cxn ang="0">
                      <a:pos x="0" y="447"/>
                    </a:cxn>
                    <a:cxn ang="0">
                      <a:pos x="0" y="426"/>
                    </a:cxn>
                    <a:cxn ang="0">
                      <a:pos x="2" y="404"/>
                    </a:cxn>
                    <a:cxn ang="0">
                      <a:pos x="9" y="357"/>
                    </a:cxn>
                    <a:cxn ang="0">
                      <a:pos x="19" y="30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50" y="196"/>
                    </a:cxn>
                    <a:cxn ang="0">
                      <a:pos x="69" y="146"/>
                    </a:cxn>
                    <a:cxn ang="0">
                      <a:pos x="89" y="102"/>
                    </a:cxn>
                    <a:cxn ang="0">
                      <a:pos x="99" y="83"/>
                    </a:cxn>
                    <a:cxn ang="0">
                      <a:pos x="109" y="65"/>
                    </a:cxn>
                    <a:cxn ang="0">
                      <a:pos x="120" y="49"/>
                    </a:cxn>
                    <a:cxn ang="0">
                      <a:pos x="130" y="35"/>
                    </a:cxn>
                    <a:cxn ang="0">
                      <a:pos x="140" y="24"/>
                    </a:cxn>
                    <a:cxn ang="0">
                      <a:pos x="151" y="15"/>
                    </a:cxn>
                    <a:cxn ang="0">
                      <a:pos x="159" y="7"/>
                    </a:cxn>
                    <a:cxn ang="0">
                      <a:pos x="168" y="3"/>
                    </a:cxn>
                    <a:cxn ang="0">
                      <a:pos x="177" y="0"/>
                    </a:cxn>
                    <a:cxn ang="0">
                      <a:pos x="186" y="2"/>
                    </a:cxn>
                    <a:cxn ang="0">
                      <a:pos x="186" y="2"/>
                    </a:cxn>
                    <a:cxn ang="0">
                      <a:pos x="193" y="4"/>
                    </a:cxn>
                    <a:cxn ang="0">
                      <a:pos x="199" y="10"/>
                    </a:cxn>
                    <a:cxn ang="0">
                      <a:pos x="204" y="19"/>
                    </a:cxn>
                    <a:cxn ang="0">
                      <a:pos x="208" y="31"/>
                    </a:cxn>
                    <a:cxn ang="0">
                      <a:pos x="211" y="44"/>
                    </a:cxn>
                    <a:cxn ang="0">
                      <a:pos x="214" y="59"/>
                    </a:cxn>
                    <a:cxn ang="0">
                      <a:pos x="215" y="77"/>
                    </a:cxn>
                    <a:cxn ang="0">
                      <a:pos x="215" y="96"/>
                    </a:cxn>
                    <a:cxn ang="0">
                      <a:pos x="214" y="117"/>
                    </a:cxn>
                    <a:cxn ang="0">
                      <a:pos x="212" y="139"/>
                    </a:cxn>
                    <a:cxn ang="0">
                      <a:pos x="207" y="186"/>
                    </a:cxn>
                    <a:cxn ang="0">
                      <a:pos x="196" y="237"/>
                    </a:cxn>
                    <a:cxn ang="0">
                      <a:pos x="182" y="292"/>
                    </a:cxn>
                    <a:cxn ang="0">
                      <a:pos x="182" y="292"/>
                    </a:cxn>
                  </a:cxnLst>
                  <a:rect l="0" t="0" r="r" b="b"/>
                  <a:pathLst>
                    <a:path w="215" h="541">
                      <a:moveTo>
                        <a:pt x="182" y="292"/>
                      </a:moveTo>
                      <a:lnTo>
                        <a:pt x="182" y="292"/>
                      </a:lnTo>
                      <a:lnTo>
                        <a:pt x="165" y="347"/>
                      </a:lnTo>
                      <a:lnTo>
                        <a:pt x="146" y="397"/>
                      </a:lnTo>
                      <a:lnTo>
                        <a:pt x="125" y="439"/>
                      </a:lnTo>
                      <a:lnTo>
                        <a:pt x="115" y="460"/>
                      </a:lnTo>
                      <a:lnTo>
                        <a:pt x="105" y="478"/>
                      </a:lnTo>
                      <a:lnTo>
                        <a:pt x="95" y="492"/>
                      </a:lnTo>
                      <a:lnTo>
                        <a:pt x="84" y="507"/>
                      </a:lnTo>
                      <a:lnTo>
                        <a:pt x="74" y="519"/>
                      </a:lnTo>
                      <a:lnTo>
                        <a:pt x="65" y="528"/>
                      </a:lnTo>
                      <a:lnTo>
                        <a:pt x="55" y="535"/>
                      </a:lnTo>
                      <a:lnTo>
                        <a:pt x="46" y="540"/>
                      </a:lnTo>
                      <a:lnTo>
                        <a:pt x="37" y="541"/>
                      </a:lnTo>
                      <a:lnTo>
                        <a:pt x="30" y="541"/>
                      </a:lnTo>
                      <a:lnTo>
                        <a:pt x="30" y="541"/>
                      </a:lnTo>
                      <a:lnTo>
                        <a:pt x="22" y="537"/>
                      </a:lnTo>
                      <a:lnTo>
                        <a:pt x="16" y="531"/>
                      </a:lnTo>
                      <a:lnTo>
                        <a:pt x="10" y="522"/>
                      </a:lnTo>
                      <a:lnTo>
                        <a:pt x="6" y="512"/>
                      </a:lnTo>
                      <a:lnTo>
                        <a:pt x="3" y="498"/>
                      </a:lnTo>
                      <a:lnTo>
                        <a:pt x="2" y="482"/>
                      </a:lnTo>
                      <a:lnTo>
                        <a:pt x="0" y="466"/>
                      </a:lnTo>
                      <a:lnTo>
                        <a:pt x="0" y="447"/>
                      </a:lnTo>
                      <a:lnTo>
                        <a:pt x="0" y="426"/>
                      </a:lnTo>
                      <a:lnTo>
                        <a:pt x="2" y="404"/>
                      </a:lnTo>
                      <a:lnTo>
                        <a:pt x="9" y="357"/>
                      </a:lnTo>
                      <a:lnTo>
                        <a:pt x="19" y="304"/>
                      </a:lnTo>
                      <a:lnTo>
                        <a:pt x="33" y="249"/>
                      </a:lnTo>
                      <a:lnTo>
                        <a:pt x="33" y="249"/>
                      </a:lnTo>
                      <a:lnTo>
                        <a:pt x="50" y="196"/>
                      </a:lnTo>
                      <a:lnTo>
                        <a:pt x="69" y="146"/>
                      </a:lnTo>
                      <a:lnTo>
                        <a:pt x="89" y="102"/>
                      </a:lnTo>
                      <a:lnTo>
                        <a:pt x="99" y="83"/>
                      </a:lnTo>
                      <a:lnTo>
                        <a:pt x="109" y="65"/>
                      </a:lnTo>
                      <a:lnTo>
                        <a:pt x="120" y="49"/>
                      </a:lnTo>
                      <a:lnTo>
                        <a:pt x="130" y="35"/>
                      </a:lnTo>
                      <a:lnTo>
                        <a:pt x="140" y="24"/>
                      </a:lnTo>
                      <a:lnTo>
                        <a:pt x="151" y="15"/>
                      </a:lnTo>
                      <a:lnTo>
                        <a:pt x="159" y="7"/>
                      </a:lnTo>
                      <a:lnTo>
                        <a:pt x="168" y="3"/>
                      </a:lnTo>
                      <a:lnTo>
                        <a:pt x="177" y="0"/>
                      </a:lnTo>
                      <a:lnTo>
                        <a:pt x="186" y="2"/>
                      </a:lnTo>
                      <a:lnTo>
                        <a:pt x="186" y="2"/>
                      </a:lnTo>
                      <a:lnTo>
                        <a:pt x="193" y="4"/>
                      </a:lnTo>
                      <a:lnTo>
                        <a:pt x="199" y="10"/>
                      </a:lnTo>
                      <a:lnTo>
                        <a:pt x="204" y="19"/>
                      </a:lnTo>
                      <a:lnTo>
                        <a:pt x="208" y="31"/>
                      </a:lnTo>
                      <a:lnTo>
                        <a:pt x="211" y="44"/>
                      </a:lnTo>
                      <a:lnTo>
                        <a:pt x="214" y="59"/>
                      </a:lnTo>
                      <a:lnTo>
                        <a:pt x="215" y="77"/>
                      </a:lnTo>
                      <a:lnTo>
                        <a:pt x="215" y="96"/>
                      </a:lnTo>
                      <a:lnTo>
                        <a:pt x="214" y="117"/>
                      </a:lnTo>
                      <a:lnTo>
                        <a:pt x="212" y="139"/>
                      </a:lnTo>
                      <a:lnTo>
                        <a:pt x="207" y="186"/>
                      </a:lnTo>
                      <a:lnTo>
                        <a:pt x="196" y="237"/>
                      </a:lnTo>
                      <a:lnTo>
                        <a:pt x="182" y="292"/>
                      </a:lnTo>
                      <a:lnTo>
                        <a:pt x="182" y="292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FDFDF"/>
                    </a:gs>
                    <a:gs pos="100000">
                      <a:srgbClr val="858585"/>
                    </a:gs>
                  </a:gsLst>
                  <a:lin ang="10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" name="Freeform 24">
                  <a:extLst>
                    <a:ext uri="{FF2B5EF4-FFF2-40B4-BE49-F238E27FC236}">
                      <a16:creationId xmlns:a16="http://schemas.microsoft.com/office/drawing/2014/main" xmlns="" id="{59E2125C-6D9A-3A45-9C35-326C6866D3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5762" y="0"/>
                  <a:ext cx="2743200" cy="2217738"/>
                </a:xfrm>
                <a:custGeom>
                  <a:avLst/>
                  <a:gdLst/>
                  <a:ahLst/>
                  <a:cxnLst>
                    <a:cxn ang="0">
                      <a:pos x="219" y="4047"/>
                    </a:cxn>
                    <a:cxn ang="0">
                      <a:pos x="148" y="3985"/>
                    </a:cxn>
                    <a:cxn ang="0">
                      <a:pos x="138" y="3856"/>
                    </a:cxn>
                    <a:cxn ang="0">
                      <a:pos x="162" y="3490"/>
                    </a:cxn>
                    <a:cxn ang="0">
                      <a:pos x="227" y="3055"/>
                    </a:cxn>
                    <a:cxn ang="0">
                      <a:pos x="346" y="2546"/>
                    </a:cxn>
                    <a:cxn ang="0">
                      <a:pos x="539" y="2001"/>
                    </a:cxn>
                    <a:cxn ang="0">
                      <a:pos x="697" y="1673"/>
                    </a:cxn>
                    <a:cxn ang="0">
                      <a:pos x="855" y="1410"/>
                    </a:cxn>
                    <a:cxn ang="0">
                      <a:pos x="1005" y="1197"/>
                    </a:cxn>
                    <a:cxn ang="0">
                      <a:pos x="1242" y="927"/>
                    </a:cxn>
                    <a:cxn ang="0">
                      <a:pos x="1505" y="696"/>
                    </a:cxn>
                    <a:cxn ang="0">
                      <a:pos x="1792" y="504"/>
                    </a:cxn>
                    <a:cxn ang="0">
                      <a:pos x="2103" y="351"/>
                    </a:cxn>
                    <a:cxn ang="0">
                      <a:pos x="2436" y="237"/>
                    </a:cxn>
                    <a:cxn ang="0">
                      <a:pos x="2795" y="164"/>
                    </a:cxn>
                    <a:cxn ang="0">
                      <a:pos x="3039" y="143"/>
                    </a:cxn>
                    <a:cxn ang="0">
                      <a:pos x="3336" y="155"/>
                    </a:cxn>
                    <a:cxn ang="0">
                      <a:pos x="3653" y="202"/>
                    </a:cxn>
                    <a:cxn ang="0">
                      <a:pos x="4002" y="307"/>
                    </a:cxn>
                    <a:cxn ang="0">
                      <a:pos x="4320" y="464"/>
                    </a:cxn>
                    <a:cxn ang="0">
                      <a:pos x="4490" y="585"/>
                    </a:cxn>
                    <a:cxn ang="0">
                      <a:pos x="4615" y="694"/>
                    </a:cxn>
                    <a:cxn ang="0">
                      <a:pos x="4752" y="843"/>
                    </a:cxn>
                    <a:cxn ang="0">
                      <a:pos x="4873" y="1007"/>
                    </a:cxn>
                    <a:cxn ang="0">
                      <a:pos x="4956" y="1152"/>
                    </a:cxn>
                    <a:cxn ang="0">
                      <a:pos x="5184" y="1309"/>
                    </a:cxn>
                    <a:cxn ang="0">
                      <a:pos x="5053" y="1032"/>
                    </a:cxn>
                    <a:cxn ang="0">
                      <a:pos x="4890" y="787"/>
                    </a:cxn>
                    <a:cxn ang="0">
                      <a:pos x="4693" y="572"/>
                    </a:cxn>
                    <a:cxn ang="0">
                      <a:pos x="4545" y="447"/>
                    </a:cxn>
                    <a:cxn ang="0">
                      <a:pos x="4362" y="323"/>
                    </a:cxn>
                    <a:cxn ang="0">
                      <a:pos x="4062" y="177"/>
                    </a:cxn>
                    <a:cxn ang="0">
                      <a:pos x="3695" y="63"/>
                    </a:cxn>
                    <a:cxn ang="0">
                      <a:pos x="3361" y="12"/>
                    </a:cxn>
                    <a:cxn ang="0">
                      <a:pos x="3045" y="0"/>
                    </a:cxn>
                    <a:cxn ang="0">
                      <a:pos x="2851" y="13"/>
                    </a:cxn>
                    <a:cxn ang="0">
                      <a:pos x="2405" y="99"/>
                    </a:cxn>
                    <a:cxn ang="0">
                      <a:pos x="1994" y="242"/>
                    </a:cxn>
                    <a:cxn ang="0">
                      <a:pos x="1617" y="442"/>
                    </a:cxn>
                    <a:cxn ang="0">
                      <a:pos x="1276" y="699"/>
                    </a:cxn>
                    <a:cxn ang="0">
                      <a:pos x="971" y="1011"/>
                    </a:cxn>
                    <a:cxn ang="0">
                      <a:pos x="703" y="1382"/>
                    </a:cxn>
                    <a:cxn ang="0">
                      <a:pos x="549" y="1648"/>
                    </a:cxn>
                    <a:cxn ang="0">
                      <a:pos x="319" y="2173"/>
                    </a:cxn>
                    <a:cxn ang="0">
                      <a:pos x="162" y="2691"/>
                    </a:cxn>
                    <a:cxn ang="0">
                      <a:pos x="64" y="3168"/>
                    </a:cxn>
                    <a:cxn ang="0">
                      <a:pos x="14" y="3571"/>
                    </a:cxn>
                    <a:cxn ang="0">
                      <a:pos x="0" y="3864"/>
                    </a:cxn>
                    <a:cxn ang="0">
                      <a:pos x="5" y="4018"/>
                    </a:cxn>
                    <a:cxn ang="0">
                      <a:pos x="39" y="4077"/>
                    </a:cxn>
                    <a:cxn ang="0">
                      <a:pos x="132" y="4161"/>
                    </a:cxn>
                    <a:cxn ang="0">
                      <a:pos x="182" y="4190"/>
                    </a:cxn>
                    <a:cxn ang="0">
                      <a:pos x="202" y="4174"/>
                    </a:cxn>
                    <a:cxn ang="0">
                      <a:pos x="228" y="4099"/>
                    </a:cxn>
                    <a:cxn ang="0">
                      <a:pos x="227" y="4053"/>
                    </a:cxn>
                  </a:cxnLst>
                  <a:rect l="0" t="0" r="r" b="b"/>
                  <a:pathLst>
                    <a:path w="5184" h="4192">
                      <a:moveTo>
                        <a:pt x="222" y="4050"/>
                      </a:move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19" y="4047"/>
                      </a:lnTo>
                      <a:lnTo>
                        <a:pt x="219" y="4047"/>
                      </a:lnTo>
                      <a:lnTo>
                        <a:pt x="197" y="4032"/>
                      </a:lnTo>
                      <a:lnTo>
                        <a:pt x="175" y="4015"/>
                      </a:lnTo>
                      <a:lnTo>
                        <a:pt x="156" y="3994"/>
                      </a:lnTo>
                      <a:lnTo>
                        <a:pt x="148" y="3985"/>
                      </a:lnTo>
                      <a:lnTo>
                        <a:pt x="141" y="3975"/>
                      </a:lnTo>
                      <a:lnTo>
                        <a:pt x="141" y="3975"/>
                      </a:lnTo>
                      <a:lnTo>
                        <a:pt x="140" y="3956"/>
                      </a:lnTo>
                      <a:lnTo>
                        <a:pt x="138" y="3929"/>
                      </a:lnTo>
                      <a:lnTo>
                        <a:pt x="138" y="3856"/>
                      </a:lnTo>
                      <a:lnTo>
                        <a:pt x="141" y="3757"/>
                      </a:lnTo>
                      <a:lnTo>
                        <a:pt x="144" y="3698"/>
                      </a:lnTo>
                      <a:lnTo>
                        <a:pt x="148" y="3633"/>
                      </a:lnTo>
                      <a:lnTo>
                        <a:pt x="154" y="3564"/>
                      </a:lnTo>
                      <a:lnTo>
                        <a:pt x="162" y="3490"/>
                      </a:lnTo>
                      <a:lnTo>
                        <a:pt x="171" y="3410"/>
                      </a:lnTo>
                      <a:lnTo>
                        <a:pt x="182" y="3328"/>
                      </a:lnTo>
                      <a:lnTo>
                        <a:pt x="194" y="3241"/>
                      </a:lnTo>
                      <a:lnTo>
                        <a:pt x="209" y="3149"/>
                      </a:lnTo>
                      <a:lnTo>
                        <a:pt x="227" y="3055"/>
                      </a:lnTo>
                      <a:lnTo>
                        <a:pt x="246" y="2958"/>
                      </a:lnTo>
                      <a:lnTo>
                        <a:pt x="266" y="2857"/>
                      </a:lnTo>
                      <a:lnTo>
                        <a:pt x="290" y="2756"/>
                      </a:lnTo>
                      <a:lnTo>
                        <a:pt x="317" y="2651"/>
                      </a:lnTo>
                      <a:lnTo>
                        <a:pt x="346" y="2546"/>
                      </a:lnTo>
                      <a:lnTo>
                        <a:pt x="378" y="2439"/>
                      </a:lnTo>
                      <a:lnTo>
                        <a:pt x="414" y="2330"/>
                      </a:lnTo>
                      <a:lnTo>
                        <a:pt x="452" y="2220"/>
                      </a:lnTo>
                      <a:lnTo>
                        <a:pt x="495" y="2111"/>
                      </a:lnTo>
                      <a:lnTo>
                        <a:pt x="539" y="2001"/>
                      </a:lnTo>
                      <a:lnTo>
                        <a:pt x="588" y="1892"/>
                      </a:lnTo>
                      <a:lnTo>
                        <a:pt x="614" y="1837"/>
                      </a:lnTo>
                      <a:lnTo>
                        <a:pt x="641" y="1783"/>
                      </a:lnTo>
                      <a:lnTo>
                        <a:pt x="667" y="1728"/>
                      </a:lnTo>
                      <a:lnTo>
                        <a:pt x="697" y="1673"/>
                      </a:lnTo>
                      <a:lnTo>
                        <a:pt x="726" y="1620"/>
                      </a:lnTo>
                      <a:lnTo>
                        <a:pt x="756" y="1567"/>
                      </a:lnTo>
                      <a:lnTo>
                        <a:pt x="788" y="1514"/>
                      </a:lnTo>
                      <a:lnTo>
                        <a:pt x="821" y="1461"/>
                      </a:lnTo>
                      <a:lnTo>
                        <a:pt x="855" y="1410"/>
                      </a:lnTo>
                      <a:lnTo>
                        <a:pt x="889" y="1358"/>
                      </a:lnTo>
                      <a:lnTo>
                        <a:pt x="924" y="1306"/>
                      </a:lnTo>
                      <a:lnTo>
                        <a:pt x="961" y="1256"/>
                      </a:lnTo>
                      <a:lnTo>
                        <a:pt x="961" y="1256"/>
                      </a:lnTo>
                      <a:lnTo>
                        <a:pt x="1005" y="1197"/>
                      </a:lnTo>
                      <a:lnTo>
                        <a:pt x="1051" y="1140"/>
                      </a:lnTo>
                      <a:lnTo>
                        <a:pt x="1098" y="1084"/>
                      </a:lnTo>
                      <a:lnTo>
                        <a:pt x="1145" y="1031"/>
                      </a:lnTo>
                      <a:lnTo>
                        <a:pt x="1194" y="978"/>
                      </a:lnTo>
                      <a:lnTo>
                        <a:pt x="1242" y="927"/>
                      </a:lnTo>
                      <a:lnTo>
                        <a:pt x="1294" y="877"/>
                      </a:lnTo>
                      <a:lnTo>
                        <a:pt x="1346" y="830"/>
                      </a:lnTo>
                      <a:lnTo>
                        <a:pt x="1397" y="784"/>
                      </a:lnTo>
                      <a:lnTo>
                        <a:pt x="1450" y="739"/>
                      </a:lnTo>
                      <a:lnTo>
                        <a:pt x="1505" y="696"/>
                      </a:lnTo>
                      <a:lnTo>
                        <a:pt x="1561" y="655"/>
                      </a:lnTo>
                      <a:lnTo>
                        <a:pt x="1617" y="615"/>
                      </a:lnTo>
                      <a:lnTo>
                        <a:pt x="1674" y="576"/>
                      </a:lnTo>
                      <a:lnTo>
                        <a:pt x="1733" y="540"/>
                      </a:lnTo>
                      <a:lnTo>
                        <a:pt x="1792" y="504"/>
                      </a:lnTo>
                      <a:lnTo>
                        <a:pt x="1853" y="470"/>
                      </a:lnTo>
                      <a:lnTo>
                        <a:pt x="1913" y="438"/>
                      </a:lnTo>
                      <a:lnTo>
                        <a:pt x="1975" y="407"/>
                      </a:lnTo>
                      <a:lnTo>
                        <a:pt x="2038" y="379"/>
                      </a:lnTo>
                      <a:lnTo>
                        <a:pt x="2103" y="351"/>
                      </a:lnTo>
                      <a:lnTo>
                        <a:pt x="2168" y="324"/>
                      </a:lnTo>
                      <a:lnTo>
                        <a:pt x="2233" y="301"/>
                      </a:lnTo>
                      <a:lnTo>
                        <a:pt x="2301" y="279"/>
                      </a:lnTo>
                      <a:lnTo>
                        <a:pt x="2369" y="257"/>
                      </a:lnTo>
                      <a:lnTo>
                        <a:pt x="2436" y="237"/>
                      </a:lnTo>
                      <a:lnTo>
                        <a:pt x="2507" y="220"/>
                      </a:lnTo>
                      <a:lnTo>
                        <a:pt x="2578" y="203"/>
                      </a:lnTo>
                      <a:lnTo>
                        <a:pt x="2649" y="189"/>
                      </a:lnTo>
                      <a:lnTo>
                        <a:pt x="2721" y="175"/>
                      </a:lnTo>
                      <a:lnTo>
                        <a:pt x="2795" y="164"/>
                      </a:lnTo>
                      <a:lnTo>
                        <a:pt x="2868" y="153"/>
                      </a:lnTo>
                      <a:lnTo>
                        <a:pt x="2868" y="153"/>
                      </a:lnTo>
                      <a:lnTo>
                        <a:pt x="2916" y="149"/>
                      </a:lnTo>
                      <a:lnTo>
                        <a:pt x="2969" y="146"/>
                      </a:lnTo>
                      <a:lnTo>
                        <a:pt x="3039" y="143"/>
                      </a:lnTo>
                      <a:lnTo>
                        <a:pt x="3125" y="143"/>
                      </a:lnTo>
                      <a:lnTo>
                        <a:pt x="3174" y="144"/>
                      </a:lnTo>
                      <a:lnTo>
                        <a:pt x="3225" y="146"/>
                      </a:lnTo>
                      <a:lnTo>
                        <a:pt x="3278" y="150"/>
                      </a:lnTo>
                      <a:lnTo>
                        <a:pt x="3336" y="155"/>
                      </a:lnTo>
                      <a:lnTo>
                        <a:pt x="3395" y="161"/>
                      </a:lnTo>
                      <a:lnTo>
                        <a:pt x="3457" y="168"/>
                      </a:lnTo>
                      <a:lnTo>
                        <a:pt x="3520" y="178"/>
                      </a:lnTo>
                      <a:lnTo>
                        <a:pt x="3586" y="189"/>
                      </a:lnTo>
                      <a:lnTo>
                        <a:pt x="3653" y="202"/>
                      </a:lnTo>
                      <a:lnTo>
                        <a:pt x="3720" y="218"/>
                      </a:lnTo>
                      <a:lnTo>
                        <a:pt x="3790" y="236"/>
                      </a:lnTo>
                      <a:lnTo>
                        <a:pt x="3861" y="257"/>
                      </a:lnTo>
                      <a:lnTo>
                        <a:pt x="3931" y="280"/>
                      </a:lnTo>
                      <a:lnTo>
                        <a:pt x="4002" y="307"/>
                      </a:lnTo>
                      <a:lnTo>
                        <a:pt x="4073" y="336"/>
                      </a:lnTo>
                      <a:lnTo>
                        <a:pt x="4145" y="369"/>
                      </a:lnTo>
                      <a:lnTo>
                        <a:pt x="4216" y="405"/>
                      </a:lnTo>
                      <a:lnTo>
                        <a:pt x="4285" y="444"/>
                      </a:lnTo>
                      <a:lnTo>
                        <a:pt x="4320" y="464"/>
                      </a:lnTo>
                      <a:lnTo>
                        <a:pt x="4354" y="487"/>
                      </a:lnTo>
                      <a:lnTo>
                        <a:pt x="4390" y="510"/>
                      </a:lnTo>
                      <a:lnTo>
                        <a:pt x="4424" y="534"/>
                      </a:lnTo>
                      <a:lnTo>
                        <a:pt x="4458" y="559"/>
                      </a:lnTo>
                      <a:lnTo>
                        <a:pt x="4490" y="585"/>
                      </a:lnTo>
                      <a:lnTo>
                        <a:pt x="4524" y="612"/>
                      </a:lnTo>
                      <a:lnTo>
                        <a:pt x="4556" y="640"/>
                      </a:lnTo>
                      <a:lnTo>
                        <a:pt x="4556" y="640"/>
                      </a:lnTo>
                      <a:lnTo>
                        <a:pt x="4586" y="666"/>
                      </a:lnTo>
                      <a:lnTo>
                        <a:pt x="4615" y="694"/>
                      </a:lnTo>
                      <a:lnTo>
                        <a:pt x="4645" y="722"/>
                      </a:lnTo>
                      <a:lnTo>
                        <a:pt x="4673" y="752"/>
                      </a:lnTo>
                      <a:lnTo>
                        <a:pt x="4699" y="781"/>
                      </a:lnTo>
                      <a:lnTo>
                        <a:pt x="4726" y="812"/>
                      </a:lnTo>
                      <a:lnTo>
                        <a:pt x="4752" y="843"/>
                      </a:lnTo>
                      <a:lnTo>
                        <a:pt x="4777" y="874"/>
                      </a:lnTo>
                      <a:lnTo>
                        <a:pt x="4803" y="907"/>
                      </a:lnTo>
                      <a:lnTo>
                        <a:pt x="4826" y="939"/>
                      </a:lnTo>
                      <a:lnTo>
                        <a:pt x="4850" y="973"/>
                      </a:lnTo>
                      <a:lnTo>
                        <a:pt x="4873" y="1007"/>
                      </a:lnTo>
                      <a:lnTo>
                        <a:pt x="4894" y="1042"/>
                      </a:lnTo>
                      <a:lnTo>
                        <a:pt x="4916" y="1078"/>
                      </a:lnTo>
                      <a:lnTo>
                        <a:pt x="4937" y="1115"/>
                      </a:lnTo>
                      <a:lnTo>
                        <a:pt x="4956" y="1152"/>
                      </a:lnTo>
                      <a:lnTo>
                        <a:pt x="4956" y="1152"/>
                      </a:lnTo>
                      <a:lnTo>
                        <a:pt x="5015" y="1188"/>
                      </a:lnTo>
                      <a:lnTo>
                        <a:pt x="5072" y="1227"/>
                      </a:lnTo>
                      <a:lnTo>
                        <a:pt x="5130" y="1268"/>
                      </a:lnTo>
                      <a:lnTo>
                        <a:pt x="5184" y="1309"/>
                      </a:lnTo>
                      <a:lnTo>
                        <a:pt x="5184" y="1309"/>
                      </a:lnTo>
                      <a:lnTo>
                        <a:pt x="5161" y="1250"/>
                      </a:lnTo>
                      <a:lnTo>
                        <a:pt x="5136" y="1194"/>
                      </a:lnTo>
                      <a:lnTo>
                        <a:pt x="5111" y="1140"/>
                      </a:lnTo>
                      <a:lnTo>
                        <a:pt x="5083" y="1085"/>
                      </a:lnTo>
                      <a:lnTo>
                        <a:pt x="5053" y="1032"/>
                      </a:lnTo>
                      <a:lnTo>
                        <a:pt x="5024" y="980"/>
                      </a:lnTo>
                      <a:lnTo>
                        <a:pt x="4993" y="930"/>
                      </a:lnTo>
                      <a:lnTo>
                        <a:pt x="4959" y="882"/>
                      </a:lnTo>
                      <a:lnTo>
                        <a:pt x="4925" y="833"/>
                      </a:lnTo>
                      <a:lnTo>
                        <a:pt x="4890" y="787"/>
                      </a:lnTo>
                      <a:lnTo>
                        <a:pt x="4853" y="742"/>
                      </a:lnTo>
                      <a:lnTo>
                        <a:pt x="4816" y="697"/>
                      </a:lnTo>
                      <a:lnTo>
                        <a:pt x="4776" y="655"/>
                      </a:lnTo>
                      <a:lnTo>
                        <a:pt x="4735" y="612"/>
                      </a:lnTo>
                      <a:lnTo>
                        <a:pt x="4693" y="572"/>
                      </a:lnTo>
                      <a:lnTo>
                        <a:pt x="4651" y="532"/>
                      </a:lnTo>
                      <a:lnTo>
                        <a:pt x="4651" y="532"/>
                      </a:lnTo>
                      <a:lnTo>
                        <a:pt x="4615" y="503"/>
                      </a:lnTo>
                      <a:lnTo>
                        <a:pt x="4580" y="475"/>
                      </a:lnTo>
                      <a:lnTo>
                        <a:pt x="4545" y="447"/>
                      </a:lnTo>
                      <a:lnTo>
                        <a:pt x="4509" y="420"/>
                      </a:lnTo>
                      <a:lnTo>
                        <a:pt x="4472" y="394"/>
                      </a:lnTo>
                      <a:lnTo>
                        <a:pt x="4435" y="370"/>
                      </a:lnTo>
                      <a:lnTo>
                        <a:pt x="4399" y="346"/>
                      </a:lnTo>
                      <a:lnTo>
                        <a:pt x="4362" y="323"/>
                      </a:lnTo>
                      <a:lnTo>
                        <a:pt x="4325" y="302"/>
                      </a:lnTo>
                      <a:lnTo>
                        <a:pt x="4288" y="282"/>
                      </a:lnTo>
                      <a:lnTo>
                        <a:pt x="4213" y="243"/>
                      </a:lnTo>
                      <a:lnTo>
                        <a:pt x="4138" y="208"/>
                      </a:lnTo>
                      <a:lnTo>
                        <a:pt x="4062" y="177"/>
                      </a:lnTo>
                      <a:lnTo>
                        <a:pt x="3987" y="149"/>
                      </a:lnTo>
                      <a:lnTo>
                        <a:pt x="3914" y="122"/>
                      </a:lnTo>
                      <a:lnTo>
                        <a:pt x="3840" y="100"/>
                      </a:lnTo>
                      <a:lnTo>
                        <a:pt x="3768" y="81"/>
                      </a:lnTo>
                      <a:lnTo>
                        <a:pt x="3695" y="63"/>
                      </a:lnTo>
                      <a:lnTo>
                        <a:pt x="3625" y="50"/>
                      </a:lnTo>
                      <a:lnTo>
                        <a:pt x="3555" y="37"/>
                      </a:lnTo>
                      <a:lnTo>
                        <a:pt x="3489" y="27"/>
                      </a:lnTo>
                      <a:lnTo>
                        <a:pt x="3424" y="19"/>
                      </a:lnTo>
                      <a:lnTo>
                        <a:pt x="3361" y="12"/>
                      </a:lnTo>
                      <a:lnTo>
                        <a:pt x="3302" y="7"/>
                      </a:lnTo>
                      <a:lnTo>
                        <a:pt x="3244" y="3"/>
                      </a:lnTo>
                      <a:lnTo>
                        <a:pt x="3190" y="1"/>
                      </a:lnTo>
                      <a:lnTo>
                        <a:pt x="3138" y="0"/>
                      </a:lnTo>
                      <a:lnTo>
                        <a:pt x="3045" y="0"/>
                      </a:lnTo>
                      <a:lnTo>
                        <a:pt x="2970" y="3"/>
                      </a:lnTo>
                      <a:lnTo>
                        <a:pt x="2910" y="7"/>
                      </a:lnTo>
                      <a:lnTo>
                        <a:pt x="2870" y="10"/>
                      </a:lnTo>
                      <a:lnTo>
                        <a:pt x="2851" y="13"/>
                      </a:lnTo>
                      <a:lnTo>
                        <a:pt x="2851" y="13"/>
                      </a:lnTo>
                      <a:lnTo>
                        <a:pt x="2759" y="25"/>
                      </a:lnTo>
                      <a:lnTo>
                        <a:pt x="2668" y="40"/>
                      </a:lnTo>
                      <a:lnTo>
                        <a:pt x="2579" y="58"/>
                      </a:lnTo>
                      <a:lnTo>
                        <a:pt x="2491" y="77"/>
                      </a:lnTo>
                      <a:lnTo>
                        <a:pt x="2405" y="99"/>
                      </a:lnTo>
                      <a:lnTo>
                        <a:pt x="2320" y="122"/>
                      </a:lnTo>
                      <a:lnTo>
                        <a:pt x="2236" y="149"/>
                      </a:lnTo>
                      <a:lnTo>
                        <a:pt x="2155" y="177"/>
                      </a:lnTo>
                      <a:lnTo>
                        <a:pt x="2074" y="208"/>
                      </a:lnTo>
                      <a:lnTo>
                        <a:pt x="1994" y="242"/>
                      </a:lnTo>
                      <a:lnTo>
                        <a:pt x="1916" y="277"/>
                      </a:lnTo>
                      <a:lnTo>
                        <a:pt x="1839" y="314"/>
                      </a:lnTo>
                      <a:lnTo>
                        <a:pt x="1764" y="355"/>
                      </a:lnTo>
                      <a:lnTo>
                        <a:pt x="1690" y="397"/>
                      </a:lnTo>
                      <a:lnTo>
                        <a:pt x="1617" y="442"/>
                      </a:lnTo>
                      <a:lnTo>
                        <a:pt x="1546" y="488"/>
                      </a:lnTo>
                      <a:lnTo>
                        <a:pt x="1477" y="538"/>
                      </a:lnTo>
                      <a:lnTo>
                        <a:pt x="1409" y="590"/>
                      </a:lnTo>
                      <a:lnTo>
                        <a:pt x="1341" y="643"/>
                      </a:lnTo>
                      <a:lnTo>
                        <a:pt x="1276" y="699"/>
                      </a:lnTo>
                      <a:lnTo>
                        <a:pt x="1213" y="756"/>
                      </a:lnTo>
                      <a:lnTo>
                        <a:pt x="1149" y="817"/>
                      </a:lnTo>
                      <a:lnTo>
                        <a:pt x="1089" y="880"/>
                      </a:lnTo>
                      <a:lnTo>
                        <a:pt x="1030" y="945"/>
                      </a:lnTo>
                      <a:lnTo>
                        <a:pt x="971" y="1011"/>
                      </a:lnTo>
                      <a:lnTo>
                        <a:pt x="915" y="1082"/>
                      </a:lnTo>
                      <a:lnTo>
                        <a:pt x="859" y="1153"/>
                      </a:lnTo>
                      <a:lnTo>
                        <a:pt x="806" y="1227"/>
                      </a:lnTo>
                      <a:lnTo>
                        <a:pt x="753" y="1303"/>
                      </a:lnTo>
                      <a:lnTo>
                        <a:pt x="703" y="1382"/>
                      </a:lnTo>
                      <a:lnTo>
                        <a:pt x="653" y="1463"/>
                      </a:lnTo>
                      <a:lnTo>
                        <a:pt x="605" y="1545"/>
                      </a:lnTo>
                      <a:lnTo>
                        <a:pt x="605" y="1545"/>
                      </a:lnTo>
                      <a:lnTo>
                        <a:pt x="577" y="1597"/>
                      </a:lnTo>
                      <a:lnTo>
                        <a:pt x="549" y="1648"/>
                      </a:lnTo>
                      <a:lnTo>
                        <a:pt x="498" y="1752"/>
                      </a:lnTo>
                      <a:lnTo>
                        <a:pt x="448" y="1856"/>
                      </a:lnTo>
                      <a:lnTo>
                        <a:pt x="402" y="1962"/>
                      </a:lnTo>
                      <a:lnTo>
                        <a:pt x="359" y="2067"/>
                      </a:lnTo>
                      <a:lnTo>
                        <a:pt x="319" y="2173"/>
                      </a:lnTo>
                      <a:lnTo>
                        <a:pt x="283" y="2278"/>
                      </a:lnTo>
                      <a:lnTo>
                        <a:pt x="249" y="2383"/>
                      </a:lnTo>
                      <a:lnTo>
                        <a:pt x="218" y="2487"/>
                      </a:lnTo>
                      <a:lnTo>
                        <a:pt x="188" y="2591"/>
                      </a:lnTo>
                      <a:lnTo>
                        <a:pt x="162" y="2691"/>
                      </a:lnTo>
                      <a:lnTo>
                        <a:pt x="138" y="2791"/>
                      </a:lnTo>
                      <a:lnTo>
                        <a:pt x="116" y="2888"/>
                      </a:lnTo>
                      <a:lnTo>
                        <a:pt x="97" y="2984"/>
                      </a:lnTo>
                      <a:lnTo>
                        <a:pt x="79" y="3077"/>
                      </a:lnTo>
                      <a:lnTo>
                        <a:pt x="64" y="3168"/>
                      </a:lnTo>
                      <a:lnTo>
                        <a:pt x="51" y="3255"/>
                      </a:lnTo>
                      <a:lnTo>
                        <a:pt x="39" y="3340"/>
                      </a:lnTo>
                      <a:lnTo>
                        <a:pt x="29" y="3421"/>
                      </a:lnTo>
                      <a:lnTo>
                        <a:pt x="22" y="3497"/>
                      </a:lnTo>
                      <a:lnTo>
                        <a:pt x="14" y="3571"/>
                      </a:lnTo>
                      <a:lnTo>
                        <a:pt x="8" y="3639"/>
                      </a:lnTo>
                      <a:lnTo>
                        <a:pt x="4" y="3702"/>
                      </a:lnTo>
                      <a:lnTo>
                        <a:pt x="1" y="3763"/>
                      </a:lnTo>
                      <a:lnTo>
                        <a:pt x="0" y="3816"/>
                      </a:lnTo>
                      <a:lnTo>
                        <a:pt x="0" y="3864"/>
                      </a:lnTo>
                      <a:lnTo>
                        <a:pt x="0" y="3907"/>
                      </a:lnTo>
                      <a:lnTo>
                        <a:pt x="0" y="3944"/>
                      </a:lnTo>
                      <a:lnTo>
                        <a:pt x="1" y="3975"/>
                      </a:lnTo>
                      <a:lnTo>
                        <a:pt x="4" y="4000"/>
                      </a:lnTo>
                      <a:lnTo>
                        <a:pt x="5" y="4018"/>
                      </a:lnTo>
                      <a:lnTo>
                        <a:pt x="8" y="4028"/>
                      </a:lnTo>
                      <a:lnTo>
                        <a:pt x="8" y="4028"/>
                      </a:lnTo>
                      <a:lnTo>
                        <a:pt x="17" y="4044"/>
                      </a:lnTo>
                      <a:lnTo>
                        <a:pt x="28" y="4061"/>
                      </a:lnTo>
                      <a:lnTo>
                        <a:pt x="39" y="4077"/>
                      </a:lnTo>
                      <a:lnTo>
                        <a:pt x="51" y="4091"/>
                      </a:lnTo>
                      <a:lnTo>
                        <a:pt x="64" y="4105"/>
                      </a:lnTo>
                      <a:lnTo>
                        <a:pt x="79" y="4118"/>
                      </a:lnTo>
                      <a:lnTo>
                        <a:pt x="106" y="4142"/>
                      </a:lnTo>
                      <a:lnTo>
                        <a:pt x="132" y="4161"/>
                      </a:lnTo>
                      <a:lnTo>
                        <a:pt x="154" y="4176"/>
                      </a:lnTo>
                      <a:lnTo>
                        <a:pt x="181" y="4192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7" y="4190"/>
                      </a:lnTo>
                      <a:lnTo>
                        <a:pt x="191" y="4187"/>
                      </a:lnTo>
                      <a:lnTo>
                        <a:pt x="197" y="4181"/>
                      </a:lnTo>
                      <a:lnTo>
                        <a:pt x="202" y="4174"/>
                      </a:lnTo>
                      <a:lnTo>
                        <a:pt x="207" y="4164"/>
                      </a:lnTo>
                      <a:lnTo>
                        <a:pt x="212" y="4153"/>
                      </a:lnTo>
                      <a:lnTo>
                        <a:pt x="222" y="4127"/>
                      </a:lnTo>
                      <a:lnTo>
                        <a:pt x="222" y="4127"/>
                      </a:lnTo>
                      <a:lnTo>
                        <a:pt x="228" y="4099"/>
                      </a:lnTo>
                      <a:lnTo>
                        <a:pt x="230" y="4086"/>
                      </a:lnTo>
                      <a:lnTo>
                        <a:pt x="231" y="4075"/>
                      </a:lnTo>
                      <a:lnTo>
                        <a:pt x="230" y="4066"/>
                      </a:lnTo>
                      <a:lnTo>
                        <a:pt x="228" y="4059"/>
                      </a:lnTo>
                      <a:lnTo>
                        <a:pt x="227" y="4053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close/>
                    </a:path>
                  </a:pathLst>
                </a:custGeom>
                <a:gradFill flip="none" rotWithShape="1">
                  <a:gsLst>
                    <a:gs pos="38000">
                      <a:srgbClr val="414141"/>
                    </a:gs>
                    <a:gs pos="0">
                      <a:srgbClr val="A6A6A6"/>
                    </a:gs>
                    <a:gs pos="100000">
                      <a:srgbClr val="A6A6A6"/>
                    </a:gs>
                    <a:gs pos="74000">
                      <a:srgbClr val="DFDFDF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>
                  <a:noFill/>
                  <a:round/>
                  <a:headEnd/>
                  <a:tailEnd/>
                </a:ln>
                <a:effectLst>
                  <a:innerShdw blurRad="66675" dist="50800" dir="13500000">
                    <a:srgbClr val="000000">
                      <a:alpha val="50000"/>
                    </a:srgb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33" name="Line 28">
                  <a:extLst>
                    <a:ext uri="{FF2B5EF4-FFF2-40B4-BE49-F238E27FC236}">
                      <a16:creationId xmlns:a16="http://schemas.microsoft.com/office/drawing/2014/main" xmlns="" id="{4D91DFFB-5977-1A4D-9047-A701D9038E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" name="Line 29">
                  <a:extLst>
                    <a:ext uri="{FF2B5EF4-FFF2-40B4-BE49-F238E27FC236}">
                      <a16:creationId xmlns:a16="http://schemas.microsoft.com/office/drawing/2014/main" xmlns="" id="{D89B1989-B712-A245-B248-581FDC72205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13" name="Group 84">
                <a:extLst>
                  <a:ext uri="{FF2B5EF4-FFF2-40B4-BE49-F238E27FC236}">
                    <a16:creationId xmlns:a16="http://schemas.microsoft.com/office/drawing/2014/main" xmlns="" id="{F8077AFF-863D-D347-B4D2-CF2E657E238D}"/>
                  </a:ext>
                </a:extLst>
              </p:cNvPr>
              <p:cNvGrpSpPr/>
              <p:nvPr/>
            </p:nvGrpSpPr>
            <p:grpSpPr>
              <a:xfrm flipH="1">
                <a:off x="6358035" y="1509364"/>
                <a:ext cx="941843" cy="1552796"/>
                <a:chOff x="8843962" y="2613025"/>
                <a:chExt cx="2043113" cy="3368437"/>
              </a:xfrm>
            </p:grpSpPr>
            <p:grpSp>
              <p:nvGrpSpPr>
                <p:cNvPr id="114" name="Group 70">
                  <a:extLst>
                    <a:ext uri="{FF2B5EF4-FFF2-40B4-BE49-F238E27FC236}">
                      <a16:creationId xmlns:a16="http://schemas.microsoft.com/office/drawing/2014/main" xmlns="" id="{FEE6FF72-BBE5-8B4B-BB3B-8C23499458BD}"/>
                    </a:ext>
                  </a:extLst>
                </p:cNvPr>
                <p:cNvGrpSpPr/>
                <p:nvPr/>
              </p:nvGrpSpPr>
              <p:grpSpPr>
                <a:xfrm>
                  <a:off x="8843962" y="2613025"/>
                  <a:ext cx="2043113" cy="3368437"/>
                  <a:chOff x="8843962" y="2613025"/>
                  <a:chExt cx="2043113" cy="3368437"/>
                </a:xfrm>
              </p:grpSpPr>
              <p:sp>
                <p:nvSpPr>
                  <p:cNvPr id="119" name="Freeform 27">
                    <a:extLst>
                      <a:ext uri="{FF2B5EF4-FFF2-40B4-BE49-F238E27FC236}">
                        <a16:creationId xmlns:a16="http://schemas.microsoft.com/office/drawing/2014/main" xmlns="" id="{912A51D9-C548-0B49-AEEB-E86006F323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843962" y="2613025"/>
                    <a:ext cx="2043113" cy="2081213"/>
                  </a:xfrm>
                  <a:custGeom>
                    <a:avLst/>
                    <a:gdLst/>
                    <a:ahLst/>
                    <a:cxnLst>
                      <a:cxn ang="0">
                        <a:pos x="0" y="22"/>
                      </a:cxn>
                      <a:cxn ang="0">
                        <a:pos x="12" y="12"/>
                      </a:cxn>
                      <a:cxn ang="0">
                        <a:pos x="40" y="3"/>
                      </a:cxn>
                      <a:cxn ang="0">
                        <a:pos x="95" y="0"/>
                      </a:cxn>
                      <a:cxn ang="0">
                        <a:pos x="183" y="8"/>
                      </a:cxn>
                      <a:cxn ang="0">
                        <a:pos x="248" y="18"/>
                      </a:cxn>
                      <a:cxn ang="0">
                        <a:pos x="443" y="70"/>
                      </a:cxn>
                      <a:cxn ang="0">
                        <a:pos x="925" y="214"/>
                      </a:cxn>
                      <a:cxn ang="0">
                        <a:pos x="1357" y="338"/>
                      </a:cxn>
                      <a:cxn ang="0">
                        <a:pos x="1722" y="428"/>
                      </a:cxn>
                      <a:cxn ang="0">
                        <a:pos x="1932" y="468"/>
                      </a:cxn>
                      <a:cxn ang="0">
                        <a:pos x="2123" y="494"/>
                      </a:cxn>
                      <a:cxn ang="0">
                        <a:pos x="2240" y="502"/>
                      </a:cxn>
                      <a:cxn ang="0">
                        <a:pos x="2409" y="503"/>
                      </a:cxn>
                      <a:cxn ang="0">
                        <a:pos x="2571" y="496"/>
                      </a:cxn>
                      <a:cxn ang="0">
                        <a:pos x="2823" y="468"/>
                      </a:cxn>
                      <a:cxn ang="0">
                        <a:pos x="3087" y="419"/>
                      </a:cxn>
                      <a:cxn ang="0">
                        <a:pos x="3292" y="367"/>
                      </a:cxn>
                      <a:cxn ang="0">
                        <a:pos x="3454" y="322"/>
                      </a:cxn>
                      <a:cxn ang="0">
                        <a:pos x="3624" y="285"/>
                      </a:cxn>
                      <a:cxn ang="0">
                        <a:pos x="3770" y="267"/>
                      </a:cxn>
                      <a:cxn ang="0">
                        <a:pos x="3836" y="272"/>
                      </a:cxn>
                      <a:cxn ang="0">
                        <a:pos x="3861" y="282"/>
                      </a:cxn>
                      <a:cxn ang="0">
                        <a:pos x="3841" y="325"/>
                      </a:cxn>
                      <a:cxn ang="0">
                        <a:pos x="3789" y="485"/>
                      </a:cxn>
                      <a:cxn ang="0">
                        <a:pos x="3729" y="764"/>
                      </a:cxn>
                      <a:cxn ang="0">
                        <a:pos x="3680" y="1087"/>
                      </a:cxn>
                      <a:cxn ang="0">
                        <a:pos x="3656" y="1320"/>
                      </a:cxn>
                      <a:cxn ang="0">
                        <a:pos x="3640" y="1584"/>
                      </a:cxn>
                      <a:cxn ang="0">
                        <a:pos x="3633" y="1877"/>
                      </a:cxn>
                      <a:cxn ang="0">
                        <a:pos x="3633" y="2089"/>
                      </a:cxn>
                      <a:cxn ang="0">
                        <a:pos x="3649" y="3807"/>
                      </a:cxn>
                      <a:cxn ang="0">
                        <a:pos x="2377" y="3931"/>
                      </a:cxn>
                      <a:cxn ang="0">
                        <a:pos x="2378" y="3763"/>
                      </a:cxn>
                      <a:cxn ang="0">
                        <a:pos x="2368" y="3502"/>
                      </a:cxn>
                      <a:cxn ang="0">
                        <a:pos x="2346" y="3251"/>
                      </a:cxn>
                      <a:cxn ang="0">
                        <a:pos x="2307" y="2968"/>
                      </a:cxn>
                      <a:cxn ang="0">
                        <a:pos x="2247" y="2670"/>
                      </a:cxn>
                      <a:cxn ang="0">
                        <a:pos x="2176" y="2418"/>
                      </a:cxn>
                      <a:cxn ang="0">
                        <a:pos x="2125" y="2269"/>
                      </a:cxn>
                      <a:cxn ang="0">
                        <a:pos x="2064" y="2126"/>
                      </a:cxn>
                      <a:cxn ang="0">
                        <a:pos x="1995" y="1988"/>
                      </a:cxn>
                      <a:cxn ang="0">
                        <a:pos x="1917" y="1857"/>
                      </a:cxn>
                      <a:cxn ang="0">
                        <a:pos x="1828" y="1736"/>
                      </a:cxn>
                      <a:cxn ang="0">
                        <a:pos x="1730" y="1627"/>
                      </a:cxn>
                      <a:cxn ang="0">
                        <a:pos x="1619" y="1529"/>
                      </a:cxn>
                      <a:cxn ang="0">
                        <a:pos x="1516" y="1454"/>
                      </a:cxn>
                      <a:cxn ang="0">
                        <a:pos x="1290" y="1308"/>
                      </a:cxn>
                      <a:cxn ang="0">
                        <a:pos x="931" y="1093"/>
                      </a:cxn>
                      <a:cxn ang="0">
                        <a:pos x="698" y="941"/>
                      </a:cxn>
                      <a:cxn ang="0">
                        <a:pos x="534" y="819"/>
                      </a:cxn>
                      <a:cxn ang="0">
                        <a:pos x="387" y="687"/>
                      </a:cxn>
                      <a:cxn ang="0">
                        <a:pos x="263" y="541"/>
                      </a:cxn>
                      <a:cxn ang="0">
                        <a:pos x="210" y="462"/>
                      </a:cxn>
                      <a:cxn ang="0">
                        <a:pos x="165" y="379"/>
                      </a:cxn>
                      <a:cxn ang="0">
                        <a:pos x="129" y="291"/>
                      </a:cxn>
                      <a:cxn ang="0">
                        <a:pos x="102" y="199"/>
                      </a:cxn>
                      <a:cxn ang="0">
                        <a:pos x="89" y="134"/>
                      </a:cxn>
                      <a:cxn ang="0">
                        <a:pos x="28" y="64"/>
                      </a:cxn>
                      <a:cxn ang="0">
                        <a:pos x="0" y="25"/>
                      </a:cxn>
                    </a:cxnLst>
                    <a:rect l="0" t="0" r="r" b="b"/>
                    <a:pathLst>
                      <a:path w="3861" h="3931">
                        <a:moveTo>
                          <a:pt x="0" y="25"/>
                        </a:moveTo>
                        <a:lnTo>
                          <a:pt x="0" y="25"/>
                        </a:lnTo>
                        <a:lnTo>
                          <a:pt x="0" y="22"/>
                        </a:lnTo>
                        <a:lnTo>
                          <a:pt x="5" y="18"/>
                        </a:lnTo>
                        <a:lnTo>
                          <a:pt x="8" y="15"/>
                        </a:lnTo>
                        <a:lnTo>
                          <a:pt x="12" y="12"/>
                        </a:lnTo>
                        <a:lnTo>
                          <a:pt x="20" y="9"/>
                        </a:lnTo>
                        <a:lnTo>
                          <a:pt x="28" y="6"/>
                        </a:lnTo>
                        <a:lnTo>
                          <a:pt x="40" y="3"/>
                        </a:lnTo>
                        <a:lnTo>
                          <a:pt x="55" y="2"/>
                        </a:lnTo>
                        <a:lnTo>
                          <a:pt x="74" y="0"/>
                        </a:lnTo>
                        <a:lnTo>
                          <a:pt x="95" y="0"/>
                        </a:lnTo>
                        <a:lnTo>
                          <a:pt x="120" y="2"/>
                        </a:lnTo>
                        <a:lnTo>
                          <a:pt x="149" y="3"/>
                        </a:lnTo>
                        <a:lnTo>
                          <a:pt x="183" y="8"/>
                        </a:lnTo>
                        <a:lnTo>
                          <a:pt x="221" y="14"/>
                        </a:lnTo>
                        <a:lnTo>
                          <a:pt x="221" y="14"/>
                        </a:lnTo>
                        <a:lnTo>
                          <a:pt x="248" y="18"/>
                        </a:lnTo>
                        <a:lnTo>
                          <a:pt x="277" y="25"/>
                        </a:lnTo>
                        <a:lnTo>
                          <a:pt x="353" y="43"/>
                        </a:lnTo>
                        <a:lnTo>
                          <a:pt x="443" y="70"/>
                        </a:lnTo>
                        <a:lnTo>
                          <a:pt x="547" y="101"/>
                        </a:lnTo>
                        <a:lnTo>
                          <a:pt x="791" y="174"/>
                        </a:lnTo>
                        <a:lnTo>
                          <a:pt x="925" y="214"/>
                        </a:lnTo>
                        <a:lnTo>
                          <a:pt x="1065" y="255"/>
                        </a:lnTo>
                        <a:lnTo>
                          <a:pt x="1209" y="298"/>
                        </a:lnTo>
                        <a:lnTo>
                          <a:pt x="1357" y="338"/>
                        </a:lnTo>
                        <a:lnTo>
                          <a:pt x="1506" y="376"/>
                        </a:lnTo>
                        <a:lnTo>
                          <a:pt x="1651" y="412"/>
                        </a:lnTo>
                        <a:lnTo>
                          <a:pt x="1722" y="428"/>
                        </a:lnTo>
                        <a:lnTo>
                          <a:pt x="1793" y="443"/>
                        </a:lnTo>
                        <a:lnTo>
                          <a:pt x="1864" y="456"/>
                        </a:lnTo>
                        <a:lnTo>
                          <a:pt x="1932" y="468"/>
                        </a:lnTo>
                        <a:lnTo>
                          <a:pt x="1996" y="478"/>
                        </a:lnTo>
                        <a:lnTo>
                          <a:pt x="2061" y="487"/>
                        </a:lnTo>
                        <a:lnTo>
                          <a:pt x="2123" y="494"/>
                        </a:lnTo>
                        <a:lnTo>
                          <a:pt x="2182" y="499"/>
                        </a:lnTo>
                        <a:lnTo>
                          <a:pt x="2182" y="499"/>
                        </a:lnTo>
                        <a:lnTo>
                          <a:pt x="2240" y="502"/>
                        </a:lnTo>
                        <a:lnTo>
                          <a:pt x="2296" y="503"/>
                        </a:lnTo>
                        <a:lnTo>
                          <a:pt x="2353" y="504"/>
                        </a:lnTo>
                        <a:lnTo>
                          <a:pt x="2409" y="503"/>
                        </a:lnTo>
                        <a:lnTo>
                          <a:pt x="2464" y="502"/>
                        </a:lnTo>
                        <a:lnTo>
                          <a:pt x="2518" y="500"/>
                        </a:lnTo>
                        <a:lnTo>
                          <a:pt x="2571" y="496"/>
                        </a:lnTo>
                        <a:lnTo>
                          <a:pt x="2624" y="493"/>
                        </a:lnTo>
                        <a:lnTo>
                          <a:pt x="2726" y="481"/>
                        </a:lnTo>
                        <a:lnTo>
                          <a:pt x="2823" y="468"/>
                        </a:lnTo>
                        <a:lnTo>
                          <a:pt x="2918" y="453"/>
                        </a:lnTo>
                        <a:lnTo>
                          <a:pt x="3005" y="437"/>
                        </a:lnTo>
                        <a:lnTo>
                          <a:pt x="3087" y="419"/>
                        </a:lnTo>
                        <a:lnTo>
                          <a:pt x="3163" y="401"/>
                        </a:lnTo>
                        <a:lnTo>
                          <a:pt x="3232" y="384"/>
                        </a:lnTo>
                        <a:lnTo>
                          <a:pt x="3292" y="367"/>
                        </a:lnTo>
                        <a:lnTo>
                          <a:pt x="3391" y="339"/>
                        </a:lnTo>
                        <a:lnTo>
                          <a:pt x="3454" y="322"/>
                        </a:lnTo>
                        <a:lnTo>
                          <a:pt x="3454" y="322"/>
                        </a:lnTo>
                        <a:lnTo>
                          <a:pt x="3505" y="308"/>
                        </a:lnTo>
                        <a:lnTo>
                          <a:pt x="3562" y="297"/>
                        </a:lnTo>
                        <a:lnTo>
                          <a:pt x="3624" y="285"/>
                        </a:lnTo>
                        <a:lnTo>
                          <a:pt x="3686" y="274"/>
                        </a:lnTo>
                        <a:lnTo>
                          <a:pt x="3743" y="269"/>
                        </a:lnTo>
                        <a:lnTo>
                          <a:pt x="3770" y="267"/>
                        </a:lnTo>
                        <a:lnTo>
                          <a:pt x="3795" y="267"/>
                        </a:lnTo>
                        <a:lnTo>
                          <a:pt x="3817" y="269"/>
                        </a:lnTo>
                        <a:lnTo>
                          <a:pt x="3836" y="272"/>
                        </a:lnTo>
                        <a:lnTo>
                          <a:pt x="3851" y="276"/>
                        </a:lnTo>
                        <a:lnTo>
                          <a:pt x="3857" y="279"/>
                        </a:lnTo>
                        <a:lnTo>
                          <a:pt x="3861" y="282"/>
                        </a:lnTo>
                        <a:lnTo>
                          <a:pt x="3861" y="282"/>
                        </a:lnTo>
                        <a:lnTo>
                          <a:pt x="3854" y="297"/>
                        </a:lnTo>
                        <a:lnTo>
                          <a:pt x="3841" y="325"/>
                        </a:lnTo>
                        <a:lnTo>
                          <a:pt x="3826" y="364"/>
                        </a:lnTo>
                        <a:lnTo>
                          <a:pt x="3808" y="418"/>
                        </a:lnTo>
                        <a:lnTo>
                          <a:pt x="3789" y="485"/>
                        </a:lnTo>
                        <a:lnTo>
                          <a:pt x="3770" y="565"/>
                        </a:lnTo>
                        <a:lnTo>
                          <a:pt x="3749" y="658"/>
                        </a:lnTo>
                        <a:lnTo>
                          <a:pt x="3729" y="764"/>
                        </a:lnTo>
                        <a:lnTo>
                          <a:pt x="3708" y="882"/>
                        </a:lnTo>
                        <a:lnTo>
                          <a:pt x="3689" y="1015"/>
                        </a:lnTo>
                        <a:lnTo>
                          <a:pt x="3680" y="1087"/>
                        </a:lnTo>
                        <a:lnTo>
                          <a:pt x="3671" y="1161"/>
                        </a:lnTo>
                        <a:lnTo>
                          <a:pt x="3664" y="1239"/>
                        </a:lnTo>
                        <a:lnTo>
                          <a:pt x="3656" y="1320"/>
                        </a:lnTo>
                        <a:lnTo>
                          <a:pt x="3650" y="1404"/>
                        </a:lnTo>
                        <a:lnTo>
                          <a:pt x="3645" y="1492"/>
                        </a:lnTo>
                        <a:lnTo>
                          <a:pt x="3640" y="1584"/>
                        </a:lnTo>
                        <a:lnTo>
                          <a:pt x="3637" y="1678"/>
                        </a:lnTo>
                        <a:lnTo>
                          <a:pt x="3634" y="1777"/>
                        </a:lnTo>
                        <a:lnTo>
                          <a:pt x="3633" y="1877"/>
                        </a:lnTo>
                        <a:lnTo>
                          <a:pt x="3631" y="1982"/>
                        </a:lnTo>
                        <a:lnTo>
                          <a:pt x="3633" y="2089"/>
                        </a:lnTo>
                        <a:lnTo>
                          <a:pt x="3633" y="2089"/>
                        </a:lnTo>
                        <a:lnTo>
                          <a:pt x="3642" y="2869"/>
                        </a:lnTo>
                        <a:lnTo>
                          <a:pt x="3646" y="3447"/>
                        </a:lnTo>
                        <a:lnTo>
                          <a:pt x="3649" y="3807"/>
                        </a:lnTo>
                        <a:lnTo>
                          <a:pt x="3649" y="3931"/>
                        </a:lnTo>
                        <a:lnTo>
                          <a:pt x="2377" y="3931"/>
                        </a:lnTo>
                        <a:lnTo>
                          <a:pt x="2377" y="3931"/>
                        </a:lnTo>
                        <a:lnTo>
                          <a:pt x="2378" y="3910"/>
                        </a:lnTo>
                        <a:lnTo>
                          <a:pt x="2378" y="3853"/>
                        </a:lnTo>
                        <a:lnTo>
                          <a:pt x="2378" y="3763"/>
                        </a:lnTo>
                        <a:lnTo>
                          <a:pt x="2375" y="3645"/>
                        </a:lnTo>
                        <a:lnTo>
                          <a:pt x="2371" y="3576"/>
                        </a:lnTo>
                        <a:lnTo>
                          <a:pt x="2368" y="3502"/>
                        </a:lnTo>
                        <a:lnTo>
                          <a:pt x="2362" y="3422"/>
                        </a:lnTo>
                        <a:lnTo>
                          <a:pt x="2355" y="3338"/>
                        </a:lnTo>
                        <a:lnTo>
                          <a:pt x="2346" y="3251"/>
                        </a:lnTo>
                        <a:lnTo>
                          <a:pt x="2335" y="3160"/>
                        </a:lnTo>
                        <a:lnTo>
                          <a:pt x="2322" y="3066"/>
                        </a:lnTo>
                        <a:lnTo>
                          <a:pt x="2307" y="2968"/>
                        </a:lnTo>
                        <a:lnTo>
                          <a:pt x="2290" y="2869"/>
                        </a:lnTo>
                        <a:lnTo>
                          <a:pt x="2269" y="2771"/>
                        </a:lnTo>
                        <a:lnTo>
                          <a:pt x="2247" y="2670"/>
                        </a:lnTo>
                        <a:lnTo>
                          <a:pt x="2220" y="2569"/>
                        </a:lnTo>
                        <a:lnTo>
                          <a:pt x="2192" y="2468"/>
                        </a:lnTo>
                        <a:lnTo>
                          <a:pt x="2176" y="2418"/>
                        </a:lnTo>
                        <a:lnTo>
                          <a:pt x="2160" y="2368"/>
                        </a:lnTo>
                        <a:lnTo>
                          <a:pt x="2142" y="2319"/>
                        </a:lnTo>
                        <a:lnTo>
                          <a:pt x="2125" y="2269"/>
                        </a:lnTo>
                        <a:lnTo>
                          <a:pt x="2106" y="2221"/>
                        </a:lnTo>
                        <a:lnTo>
                          <a:pt x="2085" y="2174"/>
                        </a:lnTo>
                        <a:lnTo>
                          <a:pt x="2064" y="2126"/>
                        </a:lnTo>
                        <a:lnTo>
                          <a:pt x="2042" y="2079"/>
                        </a:lnTo>
                        <a:lnTo>
                          <a:pt x="2019" y="2033"/>
                        </a:lnTo>
                        <a:lnTo>
                          <a:pt x="1995" y="1988"/>
                        </a:lnTo>
                        <a:lnTo>
                          <a:pt x="1970" y="1944"/>
                        </a:lnTo>
                        <a:lnTo>
                          <a:pt x="1943" y="1899"/>
                        </a:lnTo>
                        <a:lnTo>
                          <a:pt x="1917" y="1857"/>
                        </a:lnTo>
                        <a:lnTo>
                          <a:pt x="1889" y="1815"/>
                        </a:lnTo>
                        <a:lnTo>
                          <a:pt x="1859" y="1775"/>
                        </a:lnTo>
                        <a:lnTo>
                          <a:pt x="1828" y="1736"/>
                        </a:lnTo>
                        <a:lnTo>
                          <a:pt x="1796" y="1697"/>
                        </a:lnTo>
                        <a:lnTo>
                          <a:pt x="1763" y="1662"/>
                        </a:lnTo>
                        <a:lnTo>
                          <a:pt x="1730" y="1627"/>
                        </a:lnTo>
                        <a:lnTo>
                          <a:pt x="1694" y="1593"/>
                        </a:lnTo>
                        <a:lnTo>
                          <a:pt x="1657" y="1560"/>
                        </a:lnTo>
                        <a:lnTo>
                          <a:pt x="1619" y="1529"/>
                        </a:lnTo>
                        <a:lnTo>
                          <a:pt x="1619" y="1529"/>
                        </a:lnTo>
                        <a:lnTo>
                          <a:pt x="1569" y="1491"/>
                        </a:lnTo>
                        <a:lnTo>
                          <a:pt x="1516" y="1454"/>
                        </a:lnTo>
                        <a:lnTo>
                          <a:pt x="1461" y="1417"/>
                        </a:lnTo>
                        <a:lnTo>
                          <a:pt x="1405" y="1380"/>
                        </a:lnTo>
                        <a:lnTo>
                          <a:pt x="1290" y="1308"/>
                        </a:lnTo>
                        <a:lnTo>
                          <a:pt x="1172" y="1237"/>
                        </a:lnTo>
                        <a:lnTo>
                          <a:pt x="1051" y="1165"/>
                        </a:lnTo>
                        <a:lnTo>
                          <a:pt x="931" y="1093"/>
                        </a:lnTo>
                        <a:lnTo>
                          <a:pt x="813" y="1019"/>
                        </a:lnTo>
                        <a:lnTo>
                          <a:pt x="754" y="981"/>
                        </a:lnTo>
                        <a:lnTo>
                          <a:pt x="698" y="941"/>
                        </a:lnTo>
                        <a:lnTo>
                          <a:pt x="642" y="901"/>
                        </a:lnTo>
                        <a:lnTo>
                          <a:pt x="587" y="861"/>
                        </a:lnTo>
                        <a:lnTo>
                          <a:pt x="534" y="819"/>
                        </a:lnTo>
                        <a:lnTo>
                          <a:pt x="482" y="776"/>
                        </a:lnTo>
                        <a:lnTo>
                          <a:pt x="434" y="732"/>
                        </a:lnTo>
                        <a:lnTo>
                          <a:pt x="387" y="687"/>
                        </a:lnTo>
                        <a:lnTo>
                          <a:pt x="342" y="640"/>
                        </a:lnTo>
                        <a:lnTo>
                          <a:pt x="301" y="591"/>
                        </a:lnTo>
                        <a:lnTo>
                          <a:pt x="263" y="541"/>
                        </a:lnTo>
                        <a:lnTo>
                          <a:pt x="244" y="515"/>
                        </a:lnTo>
                        <a:lnTo>
                          <a:pt x="226" y="488"/>
                        </a:lnTo>
                        <a:lnTo>
                          <a:pt x="210" y="462"/>
                        </a:lnTo>
                        <a:lnTo>
                          <a:pt x="195" y="435"/>
                        </a:lnTo>
                        <a:lnTo>
                          <a:pt x="179" y="407"/>
                        </a:lnTo>
                        <a:lnTo>
                          <a:pt x="165" y="379"/>
                        </a:lnTo>
                        <a:lnTo>
                          <a:pt x="152" y="350"/>
                        </a:lnTo>
                        <a:lnTo>
                          <a:pt x="140" y="322"/>
                        </a:lnTo>
                        <a:lnTo>
                          <a:pt x="129" y="291"/>
                        </a:lnTo>
                        <a:lnTo>
                          <a:pt x="118" y="261"/>
                        </a:lnTo>
                        <a:lnTo>
                          <a:pt x="109" y="230"/>
                        </a:lnTo>
                        <a:lnTo>
                          <a:pt x="102" y="199"/>
                        </a:lnTo>
                        <a:lnTo>
                          <a:pt x="95" y="167"/>
                        </a:lnTo>
                        <a:lnTo>
                          <a:pt x="89" y="134"/>
                        </a:lnTo>
                        <a:lnTo>
                          <a:pt x="89" y="134"/>
                        </a:lnTo>
                        <a:lnTo>
                          <a:pt x="73" y="117"/>
                        </a:lnTo>
                        <a:lnTo>
                          <a:pt x="56" y="99"/>
                        </a:lnTo>
                        <a:lnTo>
                          <a:pt x="28" y="64"/>
                        </a:lnTo>
                        <a:lnTo>
                          <a:pt x="8" y="36"/>
                        </a:lnTo>
                        <a:lnTo>
                          <a:pt x="0" y="25"/>
                        </a:lnTo>
                        <a:lnTo>
                          <a:pt x="0" y="25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100000">
                        <a:schemeClr val="accent2">
                          <a:lumMod val="75000"/>
                        </a:schemeClr>
                      </a:gs>
                      <a:gs pos="3000">
                        <a:schemeClr val="accent2">
                          <a:lumMod val="5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0" name="Rectangle 30">
                    <a:extLst>
                      <a:ext uri="{FF2B5EF4-FFF2-40B4-BE49-F238E27FC236}">
                        <a16:creationId xmlns:a16="http://schemas.microsoft.com/office/drawing/2014/main" xmlns="" id="{6D34BAC5-55D7-AC40-964C-E4A20040665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101265" y="4679950"/>
                    <a:ext cx="673101" cy="857548"/>
                  </a:xfrm>
                  <a:prstGeom prst="rect">
                    <a:avLst/>
                  </a:prstGeom>
                  <a:solidFill>
                    <a:schemeClr val="accent2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 31">
                    <a:extLst>
                      <a:ext uri="{FF2B5EF4-FFF2-40B4-BE49-F238E27FC236}">
                        <a16:creationId xmlns:a16="http://schemas.microsoft.com/office/drawing/2014/main" xmlns="" id="{80017309-CD5E-0846-971C-4C1E9C5D90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101261" y="5530611"/>
                    <a:ext cx="673101" cy="450851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719"/>
                      </a:cxn>
                      <a:cxn ang="0">
                        <a:pos x="0" y="719"/>
                      </a:cxn>
                      <a:cxn ang="0">
                        <a:pos x="1" y="727"/>
                      </a:cxn>
                      <a:cxn ang="0">
                        <a:pos x="4" y="734"/>
                      </a:cxn>
                      <a:cxn ang="0">
                        <a:pos x="7" y="740"/>
                      </a:cxn>
                      <a:cxn ang="0">
                        <a:pos x="13" y="747"/>
                      </a:cxn>
                      <a:cxn ang="0">
                        <a:pos x="20" y="753"/>
                      </a:cxn>
                      <a:cxn ang="0">
                        <a:pos x="29" y="759"/>
                      </a:cxn>
                      <a:cxn ang="0">
                        <a:pos x="50" y="771"/>
                      </a:cxn>
                      <a:cxn ang="0">
                        <a:pos x="76" y="783"/>
                      </a:cxn>
                      <a:cxn ang="0">
                        <a:pos x="109" y="795"/>
                      </a:cxn>
                      <a:cxn ang="0">
                        <a:pos x="146" y="805"/>
                      </a:cxn>
                      <a:cxn ang="0">
                        <a:pos x="187" y="814"/>
                      </a:cxn>
                      <a:cxn ang="0">
                        <a:pos x="231" y="823"/>
                      </a:cxn>
                      <a:cxn ang="0">
                        <a:pos x="280" y="830"/>
                      </a:cxn>
                      <a:cxn ang="0">
                        <a:pos x="333" y="837"/>
                      </a:cxn>
                      <a:cxn ang="0">
                        <a:pos x="389" y="842"/>
                      </a:cxn>
                      <a:cxn ang="0">
                        <a:pos x="446" y="846"/>
                      </a:cxn>
                      <a:cxn ang="0">
                        <a:pos x="508" y="851"/>
                      </a:cxn>
                      <a:cxn ang="0">
                        <a:pos x="570" y="852"/>
                      </a:cxn>
                      <a:cxn ang="0">
                        <a:pos x="637" y="852"/>
                      </a:cxn>
                      <a:cxn ang="0">
                        <a:pos x="637" y="852"/>
                      </a:cxn>
                      <a:cxn ang="0">
                        <a:pos x="701" y="852"/>
                      </a:cxn>
                      <a:cxn ang="0">
                        <a:pos x="763" y="851"/>
                      </a:cxn>
                      <a:cxn ang="0">
                        <a:pos x="825" y="846"/>
                      </a:cxn>
                      <a:cxn ang="0">
                        <a:pos x="883" y="842"/>
                      </a:cxn>
                      <a:cxn ang="0">
                        <a:pos x="939" y="837"/>
                      </a:cxn>
                      <a:cxn ang="0">
                        <a:pos x="992" y="830"/>
                      </a:cxn>
                      <a:cxn ang="0">
                        <a:pos x="1041" y="823"/>
                      </a:cxn>
                      <a:cxn ang="0">
                        <a:pos x="1085" y="814"/>
                      </a:cxn>
                      <a:cxn ang="0">
                        <a:pos x="1126" y="805"/>
                      </a:cxn>
                      <a:cxn ang="0">
                        <a:pos x="1163" y="795"/>
                      </a:cxn>
                      <a:cxn ang="0">
                        <a:pos x="1195" y="783"/>
                      </a:cxn>
                      <a:cxn ang="0">
                        <a:pos x="1222" y="771"/>
                      </a:cxn>
                      <a:cxn ang="0">
                        <a:pos x="1243" y="759"/>
                      </a:cxn>
                      <a:cxn ang="0">
                        <a:pos x="1251" y="753"/>
                      </a:cxn>
                      <a:cxn ang="0">
                        <a:pos x="1259" y="747"/>
                      </a:cxn>
                      <a:cxn ang="0">
                        <a:pos x="1265" y="740"/>
                      </a:cxn>
                      <a:cxn ang="0">
                        <a:pos x="1268" y="734"/>
                      </a:cxn>
                      <a:cxn ang="0">
                        <a:pos x="1271" y="727"/>
                      </a:cxn>
                      <a:cxn ang="0">
                        <a:pos x="1272" y="719"/>
                      </a:cxn>
                      <a:cxn ang="0">
                        <a:pos x="1272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272" h="852">
                        <a:moveTo>
                          <a:pt x="0" y="0"/>
                        </a:moveTo>
                        <a:lnTo>
                          <a:pt x="0" y="719"/>
                        </a:lnTo>
                        <a:lnTo>
                          <a:pt x="0" y="719"/>
                        </a:lnTo>
                        <a:lnTo>
                          <a:pt x="1" y="727"/>
                        </a:lnTo>
                        <a:lnTo>
                          <a:pt x="4" y="734"/>
                        </a:lnTo>
                        <a:lnTo>
                          <a:pt x="7" y="740"/>
                        </a:lnTo>
                        <a:lnTo>
                          <a:pt x="13" y="747"/>
                        </a:lnTo>
                        <a:lnTo>
                          <a:pt x="20" y="753"/>
                        </a:lnTo>
                        <a:lnTo>
                          <a:pt x="29" y="759"/>
                        </a:lnTo>
                        <a:lnTo>
                          <a:pt x="50" y="771"/>
                        </a:lnTo>
                        <a:lnTo>
                          <a:pt x="76" y="783"/>
                        </a:lnTo>
                        <a:lnTo>
                          <a:pt x="109" y="795"/>
                        </a:lnTo>
                        <a:lnTo>
                          <a:pt x="146" y="805"/>
                        </a:lnTo>
                        <a:lnTo>
                          <a:pt x="187" y="814"/>
                        </a:lnTo>
                        <a:lnTo>
                          <a:pt x="231" y="823"/>
                        </a:lnTo>
                        <a:lnTo>
                          <a:pt x="280" y="830"/>
                        </a:lnTo>
                        <a:lnTo>
                          <a:pt x="333" y="837"/>
                        </a:lnTo>
                        <a:lnTo>
                          <a:pt x="389" y="842"/>
                        </a:lnTo>
                        <a:lnTo>
                          <a:pt x="446" y="846"/>
                        </a:lnTo>
                        <a:lnTo>
                          <a:pt x="508" y="851"/>
                        </a:lnTo>
                        <a:lnTo>
                          <a:pt x="570" y="852"/>
                        </a:lnTo>
                        <a:lnTo>
                          <a:pt x="637" y="852"/>
                        </a:lnTo>
                        <a:lnTo>
                          <a:pt x="637" y="852"/>
                        </a:lnTo>
                        <a:lnTo>
                          <a:pt x="701" y="852"/>
                        </a:lnTo>
                        <a:lnTo>
                          <a:pt x="763" y="851"/>
                        </a:lnTo>
                        <a:lnTo>
                          <a:pt x="825" y="846"/>
                        </a:lnTo>
                        <a:lnTo>
                          <a:pt x="883" y="842"/>
                        </a:lnTo>
                        <a:lnTo>
                          <a:pt x="939" y="837"/>
                        </a:lnTo>
                        <a:lnTo>
                          <a:pt x="992" y="830"/>
                        </a:lnTo>
                        <a:lnTo>
                          <a:pt x="1041" y="823"/>
                        </a:lnTo>
                        <a:lnTo>
                          <a:pt x="1085" y="814"/>
                        </a:lnTo>
                        <a:lnTo>
                          <a:pt x="1126" y="805"/>
                        </a:lnTo>
                        <a:lnTo>
                          <a:pt x="1163" y="795"/>
                        </a:lnTo>
                        <a:lnTo>
                          <a:pt x="1195" y="783"/>
                        </a:lnTo>
                        <a:lnTo>
                          <a:pt x="1222" y="771"/>
                        </a:lnTo>
                        <a:lnTo>
                          <a:pt x="1243" y="759"/>
                        </a:lnTo>
                        <a:lnTo>
                          <a:pt x="1251" y="753"/>
                        </a:lnTo>
                        <a:lnTo>
                          <a:pt x="1259" y="747"/>
                        </a:lnTo>
                        <a:lnTo>
                          <a:pt x="1265" y="740"/>
                        </a:lnTo>
                        <a:lnTo>
                          <a:pt x="1268" y="734"/>
                        </a:lnTo>
                        <a:lnTo>
                          <a:pt x="1271" y="727"/>
                        </a:lnTo>
                        <a:lnTo>
                          <a:pt x="1272" y="719"/>
                        </a:lnTo>
                        <a:lnTo>
                          <a:pt x="127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15" name="Group 83">
                  <a:extLst>
                    <a:ext uri="{FF2B5EF4-FFF2-40B4-BE49-F238E27FC236}">
                      <a16:creationId xmlns:a16="http://schemas.microsoft.com/office/drawing/2014/main" xmlns="" id="{83D404BA-4AC1-C945-8708-F0EBFA21084A}"/>
                    </a:ext>
                  </a:extLst>
                </p:cNvPr>
                <p:cNvGrpSpPr/>
                <p:nvPr/>
              </p:nvGrpSpPr>
              <p:grpSpPr>
                <a:xfrm>
                  <a:off x="8913812" y="2667000"/>
                  <a:ext cx="1672695" cy="3201098"/>
                  <a:chOff x="8913812" y="2667000"/>
                  <a:chExt cx="1672695" cy="3201098"/>
                </a:xfrm>
              </p:grpSpPr>
              <p:sp>
                <p:nvSpPr>
                  <p:cNvPr id="116" name="Freeform 115">
                    <a:extLst>
                      <a:ext uri="{FF2B5EF4-FFF2-40B4-BE49-F238E27FC236}">
                        <a16:creationId xmlns:a16="http://schemas.microsoft.com/office/drawing/2014/main" xmlns="" id="{7F92376D-5194-584A-ADBA-ADDE06568C61}"/>
                      </a:ext>
                    </a:extLst>
                  </p:cNvPr>
                  <p:cNvSpPr/>
                  <p:nvPr/>
                </p:nvSpPr>
                <p:spPr>
                  <a:xfrm>
                    <a:off x="8913812" y="2667000"/>
                    <a:ext cx="1672695" cy="411700"/>
                  </a:xfrm>
                  <a:custGeom>
                    <a:avLst/>
                    <a:gdLst>
                      <a:gd name="connsiteX0" fmla="*/ 44450 w 1367367"/>
                      <a:gd name="connsiteY0" fmla="*/ 0 h 336550"/>
                      <a:gd name="connsiteX1" fmla="*/ 336550 w 1367367"/>
                      <a:gd name="connsiteY1" fmla="*/ 88900 h 336550"/>
                      <a:gd name="connsiteX2" fmla="*/ 734483 w 1367367"/>
                      <a:gd name="connsiteY2" fmla="*/ 186267 h 336550"/>
                      <a:gd name="connsiteX3" fmla="*/ 1123950 w 1367367"/>
                      <a:gd name="connsiteY3" fmla="*/ 232833 h 336550"/>
                      <a:gd name="connsiteX4" fmla="*/ 1339850 w 1367367"/>
                      <a:gd name="connsiteY4" fmla="*/ 198967 h 336550"/>
                      <a:gd name="connsiteX5" fmla="*/ 1289050 w 1367367"/>
                      <a:gd name="connsiteY5" fmla="*/ 266700 h 336550"/>
                      <a:gd name="connsiteX6" fmla="*/ 1077383 w 1367367"/>
                      <a:gd name="connsiteY6" fmla="*/ 313267 h 336550"/>
                      <a:gd name="connsiteX7" fmla="*/ 683683 w 1367367"/>
                      <a:gd name="connsiteY7" fmla="*/ 317500 h 336550"/>
                      <a:gd name="connsiteX8" fmla="*/ 209550 w 1367367"/>
                      <a:gd name="connsiteY8" fmla="*/ 198967 h 336550"/>
                      <a:gd name="connsiteX9" fmla="*/ 69850 w 1367367"/>
                      <a:gd name="connsiteY9" fmla="*/ 88900 h 336550"/>
                      <a:gd name="connsiteX10" fmla="*/ 44450 w 1367367"/>
                      <a:gd name="connsiteY10" fmla="*/ 0 h 336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367367" h="336550">
                        <a:moveTo>
                          <a:pt x="44450" y="0"/>
                        </a:moveTo>
                        <a:cubicBezTo>
                          <a:pt x="88900" y="0"/>
                          <a:pt x="221545" y="57856"/>
                          <a:pt x="336550" y="88900"/>
                        </a:cubicBezTo>
                        <a:cubicBezTo>
                          <a:pt x="451556" y="119945"/>
                          <a:pt x="603250" y="162278"/>
                          <a:pt x="734483" y="186267"/>
                        </a:cubicBezTo>
                        <a:cubicBezTo>
                          <a:pt x="865716" y="210256"/>
                          <a:pt x="1023056" y="230716"/>
                          <a:pt x="1123950" y="232833"/>
                        </a:cubicBezTo>
                        <a:cubicBezTo>
                          <a:pt x="1224844" y="234950"/>
                          <a:pt x="1312333" y="193323"/>
                          <a:pt x="1339850" y="198967"/>
                        </a:cubicBezTo>
                        <a:cubicBezTo>
                          <a:pt x="1367367" y="204611"/>
                          <a:pt x="1332794" y="247650"/>
                          <a:pt x="1289050" y="266700"/>
                        </a:cubicBezTo>
                        <a:cubicBezTo>
                          <a:pt x="1245306" y="285750"/>
                          <a:pt x="1178277" y="304800"/>
                          <a:pt x="1077383" y="313267"/>
                        </a:cubicBezTo>
                        <a:cubicBezTo>
                          <a:pt x="976489" y="321734"/>
                          <a:pt x="828322" y="336550"/>
                          <a:pt x="683683" y="317500"/>
                        </a:cubicBezTo>
                        <a:cubicBezTo>
                          <a:pt x="539044" y="298450"/>
                          <a:pt x="311855" y="237067"/>
                          <a:pt x="209550" y="198967"/>
                        </a:cubicBezTo>
                        <a:cubicBezTo>
                          <a:pt x="107245" y="160867"/>
                          <a:pt x="102305" y="122767"/>
                          <a:pt x="69850" y="88900"/>
                        </a:cubicBezTo>
                        <a:cubicBezTo>
                          <a:pt x="37395" y="55033"/>
                          <a:pt x="0" y="0"/>
                          <a:pt x="44450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11000">
                        <a:srgbClr val="FFFFFF"/>
                      </a:gs>
                      <a:gs pos="73000">
                        <a:srgbClr val="FFFFFF">
                          <a:alpha val="0"/>
                        </a:srgbClr>
                      </a:gs>
                    </a:gsLst>
                    <a:lin ang="564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7" name="Freeform 116">
                    <a:extLst>
                      <a:ext uri="{FF2B5EF4-FFF2-40B4-BE49-F238E27FC236}">
                        <a16:creationId xmlns:a16="http://schemas.microsoft.com/office/drawing/2014/main" xmlns="" id="{1AEFD40D-104E-5147-AF64-5D512A2877E8}"/>
                      </a:ext>
                    </a:extLst>
                  </p:cNvPr>
                  <p:cNvSpPr/>
                  <p:nvPr/>
                </p:nvSpPr>
                <p:spPr>
                  <a:xfrm>
                    <a:off x="9070622" y="2808111"/>
                    <a:ext cx="1235428" cy="1897944"/>
                  </a:xfrm>
                  <a:custGeom>
                    <a:avLst/>
                    <a:gdLst>
                      <a:gd name="connsiteX0" fmla="*/ 1411 w 1235428"/>
                      <a:gd name="connsiteY0" fmla="*/ 11289 h 1897944"/>
                      <a:gd name="connsiteX1" fmla="*/ 200378 w 1235428"/>
                      <a:gd name="connsiteY1" fmla="*/ 222956 h 1897944"/>
                      <a:gd name="connsiteX2" fmla="*/ 450145 w 1235428"/>
                      <a:gd name="connsiteY2" fmla="*/ 349956 h 1897944"/>
                      <a:gd name="connsiteX3" fmla="*/ 797278 w 1235428"/>
                      <a:gd name="connsiteY3" fmla="*/ 608189 h 1897944"/>
                      <a:gd name="connsiteX4" fmla="*/ 1025878 w 1235428"/>
                      <a:gd name="connsiteY4" fmla="*/ 1124656 h 1897944"/>
                      <a:gd name="connsiteX5" fmla="*/ 1165578 w 1235428"/>
                      <a:gd name="connsiteY5" fmla="*/ 1353256 h 1897944"/>
                      <a:gd name="connsiteX6" fmla="*/ 1195211 w 1235428"/>
                      <a:gd name="connsiteY6" fmla="*/ 1882422 h 1897944"/>
                      <a:gd name="connsiteX7" fmla="*/ 1207911 w 1235428"/>
                      <a:gd name="connsiteY7" fmla="*/ 1260122 h 1897944"/>
                      <a:gd name="connsiteX8" fmla="*/ 1030111 w 1235428"/>
                      <a:gd name="connsiteY8" fmla="*/ 862189 h 1897944"/>
                      <a:gd name="connsiteX9" fmla="*/ 1008945 w 1235428"/>
                      <a:gd name="connsiteY9" fmla="*/ 468489 h 1897944"/>
                      <a:gd name="connsiteX10" fmla="*/ 509411 w 1235428"/>
                      <a:gd name="connsiteY10" fmla="*/ 273756 h 1897944"/>
                      <a:gd name="connsiteX11" fmla="*/ 191911 w 1235428"/>
                      <a:gd name="connsiteY11" fmla="*/ 155222 h 1897944"/>
                      <a:gd name="connsiteX12" fmla="*/ 1411 w 1235428"/>
                      <a:gd name="connsiteY12" fmla="*/ 11289 h 18979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235428" h="1897944">
                        <a:moveTo>
                          <a:pt x="1411" y="11289"/>
                        </a:moveTo>
                        <a:cubicBezTo>
                          <a:pt x="2822" y="22578"/>
                          <a:pt x="125589" y="166512"/>
                          <a:pt x="200378" y="222956"/>
                        </a:cubicBezTo>
                        <a:cubicBezTo>
                          <a:pt x="275167" y="279401"/>
                          <a:pt x="350662" y="285751"/>
                          <a:pt x="450145" y="349956"/>
                        </a:cubicBezTo>
                        <a:cubicBezTo>
                          <a:pt x="549628" y="414161"/>
                          <a:pt x="701323" y="479072"/>
                          <a:pt x="797278" y="608189"/>
                        </a:cubicBezTo>
                        <a:cubicBezTo>
                          <a:pt x="893234" y="737306"/>
                          <a:pt x="964495" y="1000478"/>
                          <a:pt x="1025878" y="1124656"/>
                        </a:cubicBezTo>
                        <a:cubicBezTo>
                          <a:pt x="1087261" y="1248834"/>
                          <a:pt x="1137356" y="1226962"/>
                          <a:pt x="1165578" y="1353256"/>
                        </a:cubicBezTo>
                        <a:cubicBezTo>
                          <a:pt x="1193800" y="1479550"/>
                          <a:pt x="1188156" y="1897944"/>
                          <a:pt x="1195211" y="1882422"/>
                        </a:cubicBezTo>
                        <a:cubicBezTo>
                          <a:pt x="1202266" y="1866900"/>
                          <a:pt x="1235428" y="1430161"/>
                          <a:pt x="1207911" y="1260122"/>
                        </a:cubicBezTo>
                        <a:cubicBezTo>
                          <a:pt x="1180394" y="1090083"/>
                          <a:pt x="1063272" y="994128"/>
                          <a:pt x="1030111" y="862189"/>
                        </a:cubicBezTo>
                        <a:cubicBezTo>
                          <a:pt x="996950" y="730250"/>
                          <a:pt x="1095728" y="566561"/>
                          <a:pt x="1008945" y="468489"/>
                        </a:cubicBezTo>
                        <a:cubicBezTo>
                          <a:pt x="922162" y="370417"/>
                          <a:pt x="645583" y="325967"/>
                          <a:pt x="509411" y="273756"/>
                        </a:cubicBezTo>
                        <a:cubicBezTo>
                          <a:pt x="373239" y="221545"/>
                          <a:pt x="275872" y="202494"/>
                          <a:pt x="191911" y="155222"/>
                        </a:cubicBezTo>
                        <a:cubicBezTo>
                          <a:pt x="107950" y="107950"/>
                          <a:pt x="0" y="0"/>
                          <a:pt x="1411" y="11289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1878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8" name="Freeform 117">
                    <a:extLst>
                      <a:ext uri="{FF2B5EF4-FFF2-40B4-BE49-F238E27FC236}">
                        <a16:creationId xmlns:a16="http://schemas.microsoft.com/office/drawing/2014/main" xmlns="" id="{FD89CA55-D84F-7742-A200-7D6E68E8352C}"/>
                      </a:ext>
                    </a:extLst>
                  </p:cNvPr>
                  <p:cNvSpPr/>
                  <p:nvPr/>
                </p:nvSpPr>
                <p:spPr>
                  <a:xfrm>
                    <a:off x="10215564" y="4343403"/>
                    <a:ext cx="211137" cy="1524695"/>
                  </a:xfrm>
                  <a:custGeom>
                    <a:avLst/>
                    <a:gdLst>
                      <a:gd name="connsiteX0" fmla="*/ 37042 w 153459"/>
                      <a:gd name="connsiteY0" fmla="*/ 95250 h 2247900"/>
                      <a:gd name="connsiteX1" fmla="*/ 5292 w 153459"/>
                      <a:gd name="connsiteY1" fmla="*/ 520700 h 2247900"/>
                      <a:gd name="connsiteX2" fmla="*/ 68792 w 153459"/>
                      <a:gd name="connsiteY2" fmla="*/ 857250 h 2247900"/>
                      <a:gd name="connsiteX3" fmla="*/ 17992 w 153459"/>
                      <a:gd name="connsiteY3" fmla="*/ 1397000 h 2247900"/>
                      <a:gd name="connsiteX4" fmla="*/ 30692 w 153459"/>
                      <a:gd name="connsiteY4" fmla="*/ 2006600 h 2247900"/>
                      <a:gd name="connsiteX5" fmla="*/ 43392 w 153459"/>
                      <a:gd name="connsiteY5" fmla="*/ 2190750 h 2247900"/>
                      <a:gd name="connsiteX6" fmla="*/ 56092 w 153459"/>
                      <a:gd name="connsiteY6" fmla="*/ 1663700 h 2247900"/>
                      <a:gd name="connsiteX7" fmla="*/ 68792 w 153459"/>
                      <a:gd name="connsiteY7" fmla="*/ 1231900 h 2247900"/>
                      <a:gd name="connsiteX8" fmla="*/ 144992 w 153459"/>
                      <a:gd name="connsiteY8" fmla="*/ 1009650 h 2247900"/>
                      <a:gd name="connsiteX9" fmla="*/ 119592 w 153459"/>
                      <a:gd name="connsiteY9" fmla="*/ 768350 h 2247900"/>
                      <a:gd name="connsiteX10" fmla="*/ 62442 w 153459"/>
                      <a:gd name="connsiteY10" fmla="*/ 615950 h 2247900"/>
                      <a:gd name="connsiteX11" fmla="*/ 43392 w 153459"/>
                      <a:gd name="connsiteY11" fmla="*/ 215900 h 2247900"/>
                      <a:gd name="connsiteX12" fmla="*/ 43392 w 153459"/>
                      <a:gd name="connsiteY12" fmla="*/ 31750 h 2247900"/>
                      <a:gd name="connsiteX13" fmla="*/ 30692 w 153459"/>
                      <a:gd name="connsiteY13" fmla="*/ 25400 h 2247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53459" h="2247900">
                        <a:moveTo>
                          <a:pt x="37042" y="95250"/>
                        </a:moveTo>
                        <a:cubicBezTo>
                          <a:pt x="18521" y="244475"/>
                          <a:pt x="0" y="393700"/>
                          <a:pt x="5292" y="520700"/>
                        </a:cubicBezTo>
                        <a:cubicBezTo>
                          <a:pt x="10584" y="647700"/>
                          <a:pt x="66675" y="711200"/>
                          <a:pt x="68792" y="857250"/>
                        </a:cubicBezTo>
                        <a:cubicBezTo>
                          <a:pt x="70909" y="1003300"/>
                          <a:pt x="24342" y="1205442"/>
                          <a:pt x="17992" y="1397000"/>
                        </a:cubicBezTo>
                        <a:cubicBezTo>
                          <a:pt x="11642" y="1588558"/>
                          <a:pt x="26459" y="1874308"/>
                          <a:pt x="30692" y="2006600"/>
                        </a:cubicBezTo>
                        <a:cubicBezTo>
                          <a:pt x="34925" y="2138892"/>
                          <a:pt x="39159" y="2247900"/>
                          <a:pt x="43392" y="2190750"/>
                        </a:cubicBezTo>
                        <a:cubicBezTo>
                          <a:pt x="47625" y="2133600"/>
                          <a:pt x="51859" y="1823508"/>
                          <a:pt x="56092" y="1663700"/>
                        </a:cubicBezTo>
                        <a:cubicBezTo>
                          <a:pt x="60325" y="1503892"/>
                          <a:pt x="53975" y="1340908"/>
                          <a:pt x="68792" y="1231900"/>
                        </a:cubicBezTo>
                        <a:cubicBezTo>
                          <a:pt x="83609" y="1122892"/>
                          <a:pt x="136525" y="1086908"/>
                          <a:pt x="144992" y="1009650"/>
                        </a:cubicBezTo>
                        <a:cubicBezTo>
                          <a:pt x="153459" y="932392"/>
                          <a:pt x="133350" y="833967"/>
                          <a:pt x="119592" y="768350"/>
                        </a:cubicBezTo>
                        <a:cubicBezTo>
                          <a:pt x="105834" y="702733"/>
                          <a:pt x="75142" y="708025"/>
                          <a:pt x="62442" y="615950"/>
                        </a:cubicBezTo>
                        <a:cubicBezTo>
                          <a:pt x="49742" y="523875"/>
                          <a:pt x="46567" y="313267"/>
                          <a:pt x="43392" y="215900"/>
                        </a:cubicBezTo>
                        <a:cubicBezTo>
                          <a:pt x="40217" y="118533"/>
                          <a:pt x="45509" y="63500"/>
                          <a:pt x="43392" y="31750"/>
                        </a:cubicBezTo>
                        <a:cubicBezTo>
                          <a:pt x="41275" y="0"/>
                          <a:pt x="35983" y="12700"/>
                          <a:pt x="30692" y="25400"/>
                        </a:cubicBezTo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213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135" name="Group 181">
              <a:extLst>
                <a:ext uri="{FF2B5EF4-FFF2-40B4-BE49-F238E27FC236}">
                  <a16:creationId xmlns:a16="http://schemas.microsoft.com/office/drawing/2014/main" xmlns="" id="{DD378C2C-C2D2-C745-A5D1-E95F90E546C5}"/>
                </a:ext>
              </a:extLst>
            </p:cNvPr>
            <p:cNvGrpSpPr/>
            <p:nvPr/>
          </p:nvGrpSpPr>
          <p:grpSpPr>
            <a:xfrm>
              <a:off x="5805044" y="3022297"/>
              <a:ext cx="452019" cy="69575"/>
              <a:chOff x="5235041" y="3089576"/>
              <a:chExt cx="719670" cy="145396"/>
            </a:xfrm>
          </p:grpSpPr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xmlns="" id="{FA3EE6F6-D302-3643-9A7F-CA2B2C29A93B}"/>
                  </a:ext>
                </a:extLst>
              </p:cNvPr>
              <p:cNvSpPr/>
              <p:nvPr/>
            </p:nvSpPr>
            <p:spPr>
              <a:xfrm>
                <a:off x="5704946" y="3114322"/>
                <a:ext cx="143229" cy="96662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Freeform 136">
                <a:extLst>
                  <a:ext uri="{FF2B5EF4-FFF2-40B4-BE49-F238E27FC236}">
                    <a16:creationId xmlns:a16="http://schemas.microsoft.com/office/drawing/2014/main" xmlns="" id="{249C5D7F-58A9-2E48-9B0A-D918B43EDDAF}"/>
                  </a:ext>
                </a:extLst>
              </p:cNvPr>
              <p:cNvSpPr/>
              <p:nvPr/>
            </p:nvSpPr>
            <p:spPr>
              <a:xfrm flipH="1">
                <a:off x="5341583" y="3114322"/>
                <a:ext cx="143229" cy="96662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xmlns="" id="{FA7D7C0B-6481-3C4E-9E1B-3EA1F081FFF8}"/>
                  </a:ext>
                </a:extLst>
              </p:cNvPr>
              <p:cNvSpPr/>
              <p:nvPr/>
            </p:nvSpPr>
            <p:spPr>
              <a:xfrm>
                <a:off x="5739270" y="3089576"/>
                <a:ext cx="215441" cy="145396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Freeform 138">
                <a:extLst>
                  <a:ext uri="{FF2B5EF4-FFF2-40B4-BE49-F238E27FC236}">
                    <a16:creationId xmlns:a16="http://schemas.microsoft.com/office/drawing/2014/main" xmlns="" id="{414DE664-0B30-2640-A5DC-C2DD7B2302AD}"/>
                  </a:ext>
                </a:extLst>
              </p:cNvPr>
              <p:cNvSpPr/>
              <p:nvPr/>
            </p:nvSpPr>
            <p:spPr>
              <a:xfrm flipH="1">
                <a:off x="5235041" y="3089576"/>
                <a:ext cx="215441" cy="145396"/>
              </a:xfrm>
              <a:custGeom>
                <a:avLst/>
                <a:gdLst>
                  <a:gd name="connsiteX0" fmla="*/ 47273 w 143229"/>
                  <a:gd name="connsiteY0" fmla="*/ 1411 h 96662"/>
                  <a:gd name="connsiteX1" fmla="*/ 93840 w 143229"/>
                  <a:gd name="connsiteY1" fmla="*/ 22578 h 96662"/>
                  <a:gd name="connsiteX2" fmla="*/ 93840 w 143229"/>
                  <a:gd name="connsiteY2" fmla="*/ 60678 h 96662"/>
                  <a:gd name="connsiteX3" fmla="*/ 59973 w 143229"/>
                  <a:gd name="connsiteY3" fmla="*/ 81845 h 96662"/>
                  <a:gd name="connsiteX4" fmla="*/ 26106 w 143229"/>
                  <a:gd name="connsiteY4" fmla="*/ 94545 h 96662"/>
                  <a:gd name="connsiteX5" fmla="*/ 13406 w 143229"/>
                  <a:gd name="connsiteY5" fmla="*/ 94545 h 96662"/>
                  <a:gd name="connsiteX6" fmla="*/ 106540 w 143229"/>
                  <a:gd name="connsiteY6" fmla="*/ 81845 h 96662"/>
                  <a:gd name="connsiteX7" fmla="*/ 136173 w 143229"/>
                  <a:gd name="connsiteY7" fmla="*/ 31045 h 96662"/>
                  <a:gd name="connsiteX8" fmla="*/ 47273 w 143229"/>
                  <a:gd name="connsiteY8" fmla="*/ 1411 h 96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29" h="96662">
                    <a:moveTo>
                      <a:pt x="47273" y="1411"/>
                    </a:moveTo>
                    <a:cubicBezTo>
                      <a:pt x="40218" y="0"/>
                      <a:pt x="86079" y="12700"/>
                      <a:pt x="93840" y="22578"/>
                    </a:cubicBezTo>
                    <a:cubicBezTo>
                      <a:pt x="101601" y="32456"/>
                      <a:pt x="99485" y="50800"/>
                      <a:pt x="93840" y="60678"/>
                    </a:cubicBezTo>
                    <a:cubicBezTo>
                      <a:pt x="88196" y="70556"/>
                      <a:pt x="71262" y="76201"/>
                      <a:pt x="59973" y="81845"/>
                    </a:cubicBezTo>
                    <a:cubicBezTo>
                      <a:pt x="48684" y="87490"/>
                      <a:pt x="33867" y="92428"/>
                      <a:pt x="26106" y="94545"/>
                    </a:cubicBezTo>
                    <a:cubicBezTo>
                      <a:pt x="18345" y="96662"/>
                      <a:pt x="0" y="96662"/>
                      <a:pt x="13406" y="94545"/>
                    </a:cubicBezTo>
                    <a:cubicBezTo>
                      <a:pt x="26812" y="92428"/>
                      <a:pt x="86079" y="92428"/>
                      <a:pt x="106540" y="81845"/>
                    </a:cubicBezTo>
                    <a:cubicBezTo>
                      <a:pt x="127001" y="71262"/>
                      <a:pt x="143229" y="45862"/>
                      <a:pt x="136173" y="31045"/>
                    </a:cubicBezTo>
                    <a:cubicBezTo>
                      <a:pt x="129117" y="16228"/>
                      <a:pt x="54329" y="2822"/>
                      <a:pt x="47273" y="1411"/>
                    </a:cubicBezTo>
                    <a:close/>
                  </a:path>
                </a:pathLst>
              </a:custGeom>
              <a:gradFill flip="none" rotWithShape="1">
                <a:gsLst>
                  <a:gs pos="28000">
                    <a:srgbClr val="FFFFFF"/>
                  </a:gs>
                  <a:gs pos="80000">
                    <a:srgbClr val="FFFFFF">
                      <a:alpha val="0"/>
                    </a:srgbClr>
                  </a:gs>
                </a:gsLst>
                <a:lin ang="213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0" name="Group 208">
              <a:extLst>
                <a:ext uri="{FF2B5EF4-FFF2-40B4-BE49-F238E27FC236}">
                  <a16:creationId xmlns:a16="http://schemas.microsoft.com/office/drawing/2014/main" xmlns="" id="{026678A3-E5EE-F345-81DC-43510349BA1D}"/>
                </a:ext>
              </a:extLst>
            </p:cNvPr>
            <p:cNvGrpSpPr/>
            <p:nvPr/>
          </p:nvGrpSpPr>
          <p:grpSpPr>
            <a:xfrm flipH="1">
              <a:off x="5263342" y="1346259"/>
              <a:ext cx="1056725" cy="1731876"/>
              <a:chOff x="6134103" y="304800"/>
              <a:chExt cx="1682437" cy="2757360"/>
            </a:xfrm>
          </p:grpSpPr>
          <p:grpSp>
            <p:nvGrpSpPr>
              <p:cNvPr id="141" name="Group 79">
                <a:extLst>
                  <a:ext uri="{FF2B5EF4-FFF2-40B4-BE49-F238E27FC236}">
                    <a16:creationId xmlns:a16="http://schemas.microsoft.com/office/drawing/2014/main" xmlns="" id="{E806AFA5-A811-4443-9B7A-B2F24E9626BD}"/>
                  </a:ext>
                </a:extLst>
              </p:cNvPr>
              <p:cNvGrpSpPr/>
              <p:nvPr/>
            </p:nvGrpSpPr>
            <p:grpSpPr>
              <a:xfrm flipH="1">
                <a:off x="6134103" y="304800"/>
                <a:ext cx="1682437" cy="1989067"/>
                <a:chOff x="7723187" y="0"/>
                <a:chExt cx="3649663" cy="4314826"/>
              </a:xfrm>
            </p:grpSpPr>
            <p:sp>
              <p:nvSpPr>
                <p:cNvPr id="151" name="Freeform 5">
                  <a:extLst>
                    <a:ext uri="{FF2B5EF4-FFF2-40B4-BE49-F238E27FC236}">
                      <a16:creationId xmlns:a16="http://schemas.microsoft.com/office/drawing/2014/main" xmlns="" id="{9E2EB7D2-6459-0943-847F-1436AD3651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3187" y="1579563"/>
                  <a:ext cx="2713038" cy="2735263"/>
                </a:xfrm>
                <a:custGeom>
                  <a:avLst/>
                  <a:gdLst/>
                  <a:ahLst/>
                  <a:cxnLst>
                    <a:cxn ang="0">
                      <a:pos x="5124" y="2784"/>
                    </a:cxn>
                    <a:cxn ang="0">
                      <a:pos x="5093" y="3105"/>
                    </a:cxn>
                    <a:cxn ang="0">
                      <a:pos x="5024" y="3413"/>
                    </a:cxn>
                    <a:cxn ang="0">
                      <a:pos x="4918" y="3705"/>
                    </a:cxn>
                    <a:cxn ang="0">
                      <a:pos x="4779" y="3978"/>
                    </a:cxn>
                    <a:cxn ang="0">
                      <a:pos x="4608" y="4229"/>
                    </a:cxn>
                    <a:cxn ang="0">
                      <a:pos x="4408" y="4456"/>
                    </a:cxn>
                    <a:cxn ang="0">
                      <a:pos x="4182" y="4656"/>
                    </a:cxn>
                    <a:cxn ang="0">
                      <a:pos x="3932" y="4827"/>
                    </a:cxn>
                    <a:cxn ang="0">
                      <a:pos x="3660" y="4966"/>
                    </a:cxn>
                    <a:cxn ang="0">
                      <a:pos x="3369" y="5071"/>
                    </a:cxn>
                    <a:cxn ang="0">
                      <a:pos x="3060" y="5140"/>
                    </a:cxn>
                    <a:cxn ang="0">
                      <a:pos x="2738" y="5168"/>
                    </a:cxn>
                    <a:cxn ang="0">
                      <a:pos x="2475" y="5162"/>
                    </a:cxn>
                    <a:cxn ang="0">
                      <a:pos x="2154" y="5116"/>
                    </a:cxn>
                    <a:cxn ang="0">
                      <a:pos x="1846" y="5034"/>
                    </a:cxn>
                    <a:cxn ang="0">
                      <a:pos x="1551" y="4914"/>
                    </a:cxn>
                    <a:cxn ang="0">
                      <a:pos x="1275" y="4762"/>
                    </a:cxn>
                    <a:cxn ang="0">
                      <a:pos x="1019" y="4578"/>
                    </a:cxn>
                    <a:cxn ang="0">
                      <a:pos x="784" y="4367"/>
                    </a:cxn>
                    <a:cxn ang="0">
                      <a:pos x="576" y="4131"/>
                    </a:cxn>
                    <a:cxn ang="0">
                      <a:pos x="397" y="3870"/>
                    </a:cxn>
                    <a:cxn ang="0">
                      <a:pos x="246" y="3590"/>
                    </a:cxn>
                    <a:cxn ang="0">
                      <a:pos x="130" y="3292"/>
                    </a:cxn>
                    <a:cxn ang="0">
                      <a:pos x="49" y="2978"/>
                    </a:cxn>
                    <a:cxn ang="0">
                      <a:pos x="6" y="2651"/>
                    </a:cxn>
                    <a:cxn ang="0">
                      <a:pos x="1" y="2386"/>
                    </a:cxn>
                    <a:cxn ang="0">
                      <a:pos x="32" y="2064"/>
                    </a:cxn>
                    <a:cxn ang="0">
                      <a:pos x="102" y="1756"/>
                    </a:cxn>
                    <a:cxn ang="0">
                      <a:pos x="208" y="1464"/>
                    </a:cxn>
                    <a:cxn ang="0">
                      <a:pos x="348" y="1191"/>
                    </a:cxn>
                    <a:cxn ang="0">
                      <a:pos x="519" y="941"/>
                    </a:cxn>
                    <a:cxn ang="0">
                      <a:pos x="718" y="714"/>
                    </a:cxn>
                    <a:cxn ang="0">
                      <a:pos x="943" y="515"/>
                    </a:cxn>
                    <a:cxn ang="0">
                      <a:pos x="1194" y="344"/>
                    </a:cxn>
                    <a:cxn ang="0">
                      <a:pos x="1467" y="204"/>
                    </a:cxn>
                    <a:cxn ang="0">
                      <a:pos x="1757" y="99"/>
                    </a:cxn>
                    <a:cxn ang="0">
                      <a:pos x="2065" y="31"/>
                    </a:cxn>
                    <a:cxn ang="0">
                      <a:pos x="2388" y="2"/>
                    </a:cxn>
                    <a:cxn ang="0">
                      <a:pos x="2652" y="9"/>
                    </a:cxn>
                    <a:cxn ang="0">
                      <a:pos x="2972" y="53"/>
                    </a:cxn>
                    <a:cxn ang="0">
                      <a:pos x="3282" y="137"/>
                    </a:cxn>
                    <a:cxn ang="0">
                      <a:pos x="3575" y="255"/>
                    </a:cxn>
                    <a:cxn ang="0">
                      <a:pos x="3851" y="408"/>
                    </a:cxn>
                    <a:cxn ang="0">
                      <a:pos x="4107" y="591"/>
                    </a:cxn>
                    <a:cxn ang="0">
                      <a:pos x="4342" y="802"/>
                    </a:cxn>
                    <a:cxn ang="0">
                      <a:pos x="4549" y="1038"/>
                    </a:cxn>
                    <a:cxn ang="0">
                      <a:pos x="4729" y="1299"/>
                    </a:cxn>
                    <a:cxn ang="0">
                      <a:pos x="4880" y="1579"/>
                    </a:cxn>
                    <a:cxn ang="0">
                      <a:pos x="4996" y="1877"/>
                    </a:cxn>
                    <a:cxn ang="0">
                      <a:pos x="5077" y="2191"/>
                    </a:cxn>
                    <a:cxn ang="0">
                      <a:pos x="5120" y="2518"/>
                    </a:cxn>
                  </a:cxnLst>
                  <a:rect l="0" t="0" r="r" b="b"/>
                  <a:pathLst>
                    <a:path w="5126" h="5169">
                      <a:moveTo>
                        <a:pt x="5123" y="2585"/>
                      </a:moveTo>
                      <a:lnTo>
                        <a:pt x="5123" y="2585"/>
                      </a:lnTo>
                      <a:lnTo>
                        <a:pt x="5126" y="2651"/>
                      </a:lnTo>
                      <a:lnTo>
                        <a:pt x="5126" y="2717"/>
                      </a:lnTo>
                      <a:lnTo>
                        <a:pt x="5124" y="2784"/>
                      </a:lnTo>
                      <a:lnTo>
                        <a:pt x="5121" y="2849"/>
                      </a:lnTo>
                      <a:lnTo>
                        <a:pt x="5117" y="2914"/>
                      </a:lnTo>
                      <a:lnTo>
                        <a:pt x="5111" y="2978"/>
                      </a:lnTo>
                      <a:lnTo>
                        <a:pt x="5102" y="3042"/>
                      </a:lnTo>
                      <a:lnTo>
                        <a:pt x="5093" y="3105"/>
                      </a:lnTo>
                      <a:lnTo>
                        <a:pt x="5083" y="3169"/>
                      </a:lnTo>
                      <a:lnTo>
                        <a:pt x="5070" y="3231"/>
                      </a:lnTo>
                      <a:lnTo>
                        <a:pt x="5057" y="3292"/>
                      </a:lnTo>
                      <a:lnTo>
                        <a:pt x="5040" y="3353"/>
                      </a:lnTo>
                      <a:lnTo>
                        <a:pt x="5024" y="3413"/>
                      </a:lnTo>
                      <a:lnTo>
                        <a:pt x="5005" y="3474"/>
                      </a:lnTo>
                      <a:lnTo>
                        <a:pt x="4986" y="3533"/>
                      </a:lnTo>
                      <a:lnTo>
                        <a:pt x="4965" y="3590"/>
                      </a:lnTo>
                      <a:lnTo>
                        <a:pt x="4942" y="3648"/>
                      </a:lnTo>
                      <a:lnTo>
                        <a:pt x="4918" y="3705"/>
                      </a:lnTo>
                      <a:lnTo>
                        <a:pt x="4893" y="3761"/>
                      </a:lnTo>
                      <a:lnTo>
                        <a:pt x="4866" y="3816"/>
                      </a:lnTo>
                      <a:lnTo>
                        <a:pt x="4838" y="3870"/>
                      </a:lnTo>
                      <a:lnTo>
                        <a:pt x="4809" y="3925"/>
                      </a:lnTo>
                      <a:lnTo>
                        <a:pt x="4779" y="3978"/>
                      </a:lnTo>
                      <a:lnTo>
                        <a:pt x="4747" y="4030"/>
                      </a:lnTo>
                      <a:lnTo>
                        <a:pt x="4715" y="4081"/>
                      </a:lnTo>
                      <a:lnTo>
                        <a:pt x="4681" y="4131"/>
                      </a:lnTo>
                      <a:lnTo>
                        <a:pt x="4645" y="4180"/>
                      </a:lnTo>
                      <a:lnTo>
                        <a:pt x="4608" y="4229"/>
                      </a:lnTo>
                      <a:lnTo>
                        <a:pt x="4570" y="4276"/>
                      </a:lnTo>
                      <a:lnTo>
                        <a:pt x="4532" y="4323"/>
                      </a:lnTo>
                      <a:lnTo>
                        <a:pt x="4492" y="4367"/>
                      </a:lnTo>
                      <a:lnTo>
                        <a:pt x="4451" y="4412"/>
                      </a:lnTo>
                      <a:lnTo>
                        <a:pt x="4408" y="4456"/>
                      </a:lnTo>
                      <a:lnTo>
                        <a:pt x="4365" y="4497"/>
                      </a:lnTo>
                      <a:lnTo>
                        <a:pt x="4321" y="4538"/>
                      </a:lnTo>
                      <a:lnTo>
                        <a:pt x="4275" y="4578"/>
                      </a:lnTo>
                      <a:lnTo>
                        <a:pt x="4230" y="4618"/>
                      </a:lnTo>
                      <a:lnTo>
                        <a:pt x="4182" y="4656"/>
                      </a:lnTo>
                      <a:lnTo>
                        <a:pt x="4134" y="4692"/>
                      </a:lnTo>
                      <a:lnTo>
                        <a:pt x="4085" y="4727"/>
                      </a:lnTo>
                      <a:lnTo>
                        <a:pt x="4035" y="4762"/>
                      </a:lnTo>
                      <a:lnTo>
                        <a:pt x="3983" y="4795"/>
                      </a:lnTo>
                      <a:lnTo>
                        <a:pt x="3932" y="4827"/>
                      </a:lnTo>
                      <a:lnTo>
                        <a:pt x="3879" y="4857"/>
                      </a:lnTo>
                      <a:lnTo>
                        <a:pt x="3826" y="4886"/>
                      </a:lnTo>
                      <a:lnTo>
                        <a:pt x="3771" y="4914"/>
                      </a:lnTo>
                      <a:lnTo>
                        <a:pt x="3716" y="4941"/>
                      </a:lnTo>
                      <a:lnTo>
                        <a:pt x="3660" y="4966"/>
                      </a:lnTo>
                      <a:lnTo>
                        <a:pt x="3603" y="4989"/>
                      </a:lnTo>
                      <a:lnTo>
                        <a:pt x="3545" y="5012"/>
                      </a:lnTo>
                      <a:lnTo>
                        <a:pt x="3488" y="5034"/>
                      </a:lnTo>
                      <a:lnTo>
                        <a:pt x="3429" y="5053"/>
                      </a:lnTo>
                      <a:lnTo>
                        <a:pt x="3369" y="5071"/>
                      </a:lnTo>
                      <a:lnTo>
                        <a:pt x="3308" y="5088"/>
                      </a:lnTo>
                      <a:lnTo>
                        <a:pt x="3248" y="5103"/>
                      </a:lnTo>
                      <a:lnTo>
                        <a:pt x="3186" y="5116"/>
                      </a:lnTo>
                      <a:lnTo>
                        <a:pt x="3124" y="5128"/>
                      </a:lnTo>
                      <a:lnTo>
                        <a:pt x="3060" y="5140"/>
                      </a:lnTo>
                      <a:lnTo>
                        <a:pt x="2997" y="5149"/>
                      </a:lnTo>
                      <a:lnTo>
                        <a:pt x="2934" y="5156"/>
                      </a:lnTo>
                      <a:lnTo>
                        <a:pt x="2869" y="5162"/>
                      </a:lnTo>
                      <a:lnTo>
                        <a:pt x="2804" y="5165"/>
                      </a:lnTo>
                      <a:lnTo>
                        <a:pt x="2738" y="5168"/>
                      </a:lnTo>
                      <a:lnTo>
                        <a:pt x="2673" y="5169"/>
                      </a:lnTo>
                      <a:lnTo>
                        <a:pt x="2673" y="5169"/>
                      </a:lnTo>
                      <a:lnTo>
                        <a:pt x="2606" y="5168"/>
                      </a:lnTo>
                      <a:lnTo>
                        <a:pt x="2540" y="5165"/>
                      </a:lnTo>
                      <a:lnTo>
                        <a:pt x="2475" y="5162"/>
                      </a:lnTo>
                      <a:lnTo>
                        <a:pt x="2410" y="5156"/>
                      </a:lnTo>
                      <a:lnTo>
                        <a:pt x="2345" y="5149"/>
                      </a:lnTo>
                      <a:lnTo>
                        <a:pt x="2281" y="5140"/>
                      </a:lnTo>
                      <a:lnTo>
                        <a:pt x="2217" y="5128"/>
                      </a:lnTo>
                      <a:lnTo>
                        <a:pt x="2154" y="5116"/>
                      </a:lnTo>
                      <a:lnTo>
                        <a:pt x="2090" y="5103"/>
                      </a:lnTo>
                      <a:lnTo>
                        <a:pt x="2029" y="5088"/>
                      </a:lnTo>
                      <a:lnTo>
                        <a:pt x="1967" y="5071"/>
                      </a:lnTo>
                      <a:lnTo>
                        <a:pt x="1906" y="5053"/>
                      </a:lnTo>
                      <a:lnTo>
                        <a:pt x="1846" y="5034"/>
                      </a:lnTo>
                      <a:lnTo>
                        <a:pt x="1785" y="5012"/>
                      </a:lnTo>
                      <a:lnTo>
                        <a:pt x="1726" y="4989"/>
                      </a:lnTo>
                      <a:lnTo>
                        <a:pt x="1667" y="4966"/>
                      </a:lnTo>
                      <a:lnTo>
                        <a:pt x="1608" y="4941"/>
                      </a:lnTo>
                      <a:lnTo>
                        <a:pt x="1551" y="4914"/>
                      </a:lnTo>
                      <a:lnTo>
                        <a:pt x="1495" y="4886"/>
                      </a:lnTo>
                      <a:lnTo>
                        <a:pt x="1439" y="4857"/>
                      </a:lnTo>
                      <a:lnTo>
                        <a:pt x="1383" y="4827"/>
                      </a:lnTo>
                      <a:lnTo>
                        <a:pt x="1328" y="4795"/>
                      </a:lnTo>
                      <a:lnTo>
                        <a:pt x="1275" y="4762"/>
                      </a:lnTo>
                      <a:lnTo>
                        <a:pt x="1222" y="4727"/>
                      </a:lnTo>
                      <a:lnTo>
                        <a:pt x="1171" y="4692"/>
                      </a:lnTo>
                      <a:lnTo>
                        <a:pt x="1119" y="4656"/>
                      </a:lnTo>
                      <a:lnTo>
                        <a:pt x="1069" y="4618"/>
                      </a:lnTo>
                      <a:lnTo>
                        <a:pt x="1019" y="4578"/>
                      </a:lnTo>
                      <a:lnTo>
                        <a:pt x="970" y="4538"/>
                      </a:lnTo>
                      <a:lnTo>
                        <a:pt x="923" y="4497"/>
                      </a:lnTo>
                      <a:lnTo>
                        <a:pt x="876" y="4456"/>
                      </a:lnTo>
                      <a:lnTo>
                        <a:pt x="830" y="4412"/>
                      </a:lnTo>
                      <a:lnTo>
                        <a:pt x="784" y="4367"/>
                      </a:lnTo>
                      <a:lnTo>
                        <a:pt x="742" y="4323"/>
                      </a:lnTo>
                      <a:lnTo>
                        <a:pt x="699" y="4276"/>
                      </a:lnTo>
                      <a:lnTo>
                        <a:pt x="657" y="4229"/>
                      </a:lnTo>
                      <a:lnTo>
                        <a:pt x="616" y="4180"/>
                      </a:lnTo>
                      <a:lnTo>
                        <a:pt x="576" y="4131"/>
                      </a:lnTo>
                      <a:lnTo>
                        <a:pt x="538" y="4081"/>
                      </a:lnTo>
                      <a:lnTo>
                        <a:pt x="501" y="4030"/>
                      </a:lnTo>
                      <a:lnTo>
                        <a:pt x="464" y="3978"/>
                      </a:lnTo>
                      <a:lnTo>
                        <a:pt x="430" y="3925"/>
                      </a:lnTo>
                      <a:lnTo>
                        <a:pt x="397" y="3870"/>
                      </a:lnTo>
                      <a:lnTo>
                        <a:pt x="364" y="3816"/>
                      </a:lnTo>
                      <a:lnTo>
                        <a:pt x="333" y="3761"/>
                      </a:lnTo>
                      <a:lnTo>
                        <a:pt x="302" y="3705"/>
                      </a:lnTo>
                      <a:lnTo>
                        <a:pt x="274" y="3648"/>
                      </a:lnTo>
                      <a:lnTo>
                        <a:pt x="246" y="3590"/>
                      </a:lnTo>
                      <a:lnTo>
                        <a:pt x="221" y="3533"/>
                      </a:lnTo>
                      <a:lnTo>
                        <a:pt x="196" y="3474"/>
                      </a:lnTo>
                      <a:lnTo>
                        <a:pt x="172" y="3413"/>
                      </a:lnTo>
                      <a:lnTo>
                        <a:pt x="150" y="3353"/>
                      </a:lnTo>
                      <a:lnTo>
                        <a:pt x="130" y="3292"/>
                      </a:lnTo>
                      <a:lnTo>
                        <a:pt x="111" y="3231"/>
                      </a:lnTo>
                      <a:lnTo>
                        <a:pt x="93" y="3169"/>
                      </a:lnTo>
                      <a:lnTo>
                        <a:pt x="77" y="3105"/>
                      </a:lnTo>
                      <a:lnTo>
                        <a:pt x="62" y="3042"/>
                      </a:lnTo>
                      <a:lnTo>
                        <a:pt x="49" y="2978"/>
                      </a:lnTo>
                      <a:lnTo>
                        <a:pt x="37" y="2914"/>
                      </a:lnTo>
                      <a:lnTo>
                        <a:pt x="27" y="2849"/>
                      </a:lnTo>
                      <a:lnTo>
                        <a:pt x="19" y="2784"/>
                      </a:lnTo>
                      <a:lnTo>
                        <a:pt x="12" y="2717"/>
                      </a:lnTo>
                      <a:lnTo>
                        <a:pt x="6" y="2651"/>
                      </a:lnTo>
                      <a:lnTo>
                        <a:pt x="3" y="2585"/>
                      </a:lnTo>
                      <a:lnTo>
                        <a:pt x="3" y="2585"/>
                      </a:lnTo>
                      <a:lnTo>
                        <a:pt x="1" y="2518"/>
                      </a:lnTo>
                      <a:lnTo>
                        <a:pt x="0" y="2452"/>
                      </a:lnTo>
                      <a:lnTo>
                        <a:pt x="1" y="2386"/>
                      </a:lnTo>
                      <a:lnTo>
                        <a:pt x="4" y="2321"/>
                      </a:lnTo>
                      <a:lnTo>
                        <a:pt x="9" y="2256"/>
                      </a:lnTo>
                      <a:lnTo>
                        <a:pt x="16" y="2191"/>
                      </a:lnTo>
                      <a:lnTo>
                        <a:pt x="24" y="2128"/>
                      </a:lnTo>
                      <a:lnTo>
                        <a:pt x="32" y="2064"/>
                      </a:lnTo>
                      <a:lnTo>
                        <a:pt x="44" y="2001"/>
                      </a:lnTo>
                      <a:lnTo>
                        <a:pt x="56" y="1939"/>
                      </a:lnTo>
                      <a:lnTo>
                        <a:pt x="71" y="1877"/>
                      </a:lnTo>
                      <a:lnTo>
                        <a:pt x="86" y="1817"/>
                      </a:lnTo>
                      <a:lnTo>
                        <a:pt x="102" y="1756"/>
                      </a:lnTo>
                      <a:lnTo>
                        <a:pt x="121" y="1696"/>
                      </a:lnTo>
                      <a:lnTo>
                        <a:pt x="140" y="1637"/>
                      </a:lnTo>
                      <a:lnTo>
                        <a:pt x="162" y="1579"/>
                      </a:lnTo>
                      <a:lnTo>
                        <a:pt x="184" y="1522"/>
                      </a:lnTo>
                      <a:lnTo>
                        <a:pt x="208" y="1464"/>
                      </a:lnTo>
                      <a:lnTo>
                        <a:pt x="233" y="1408"/>
                      </a:lnTo>
                      <a:lnTo>
                        <a:pt x="259" y="1354"/>
                      </a:lnTo>
                      <a:lnTo>
                        <a:pt x="287" y="1299"/>
                      </a:lnTo>
                      <a:lnTo>
                        <a:pt x="317" y="1244"/>
                      </a:lnTo>
                      <a:lnTo>
                        <a:pt x="348" y="1191"/>
                      </a:lnTo>
                      <a:lnTo>
                        <a:pt x="379" y="1140"/>
                      </a:lnTo>
                      <a:lnTo>
                        <a:pt x="413" y="1090"/>
                      </a:lnTo>
                      <a:lnTo>
                        <a:pt x="447" y="1038"/>
                      </a:lnTo>
                      <a:lnTo>
                        <a:pt x="482" y="989"/>
                      </a:lnTo>
                      <a:lnTo>
                        <a:pt x="519" y="941"/>
                      </a:lnTo>
                      <a:lnTo>
                        <a:pt x="556" y="894"/>
                      </a:lnTo>
                      <a:lnTo>
                        <a:pt x="594" y="848"/>
                      </a:lnTo>
                      <a:lnTo>
                        <a:pt x="635" y="802"/>
                      </a:lnTo>
                      <a:lnTo>
                        <a:pt x="675" y="758"/>
                      </a:lnTo>
                      <a:lnTo>
                        <a:pt x="718" y="714"/>
                      </a:lnTo>
                      <a:lnTo>
                        <a:pt x="761" y="672"/>
                      </a:lnTo>
                      <a:lnTo>
                        <a:pt x="805" y="631"/>
                      </a:lnTo>
                      <a:lnTo>
                        <a:pt x="851" y="591"/>
                      </a:lnTo>
                      <a:lnTo>
                        <a:pt x="896" y="552"/>
                      </a:lnTo>
                      <a:lnTo>
                        <a:pt x="943" y="515"/>
                      </a:lnTo>
                      <a:lnTo>
                        <a:pt x="992" y="478"/>
                      </a:lnTo>
                      <a:lnTo>
                        <a:pt x="1041" y="442"/>
                      </a:lnTo>
                      <a:lnTo>
                        <a:pt x="1091" y="408"/>
                      </a:lnTo>
                      <a:lnTo>
                        <a:pt x="1143" y="375"/>
                      </a:lnTo>
                      <a:lnTo>
                        <a:pt x="1194" y="344"/>
                      </a:lnTo>
                      <a:lnTo>
                        <a:pt x="1247" y="313"/>
                      </a:lnTo>
                      <a:lnTo>
                        <a:pt x="1300" y="283"/>
                      </a:lnTo>
                      <a:lnTo>
                        <a:pt x="1355" y="255"/>
                      </a:lnTo>
                      <a:lnTo>
                        <a:pt x="1411" y="229"/>
                      </a:lnTo>
                      <a:lnTo>
                        <a:pt x="1467" y="204"/>
                      </a:lnTo>
                      <a:lnTo>
                        <a:pt x="1523" y="180"/>
                      </a:lnTo>
                      <a:lnTo>
                        <a:pt x="1580" y="158"/>
                      </a:lnTo>
                      <a:lnTo>
                        <a:pt x="1639" y="137"/>
                      </a:lnTo>
                      <a:lnTo>
                        <a:pt x="1698" y="117"/>
                      </a:lnTo>
                      <a:lnTo>
                        <a:pt x="1757" y="99"/>
                      </a:lnTo>
                      <a:lnTo>
                        <a:pt x="1818" y="83"/>
                      </a:lnTo>
                      <a:lnTo>
                        <a:pt x="1878" y="66"/>
                      </a:lnTo>
                      <a:lnTo>
                        <a:pt x="1940" y="53"/>
                      </a:lnTo>
                      <a:lnTo>
                        <a:pt x="2002" y="41"/>
                      </a:lnTo>
                      <a:lnTo>
                        <a:pt x="2065" y="31"/>
                      </a:lnTo>
                      <a:lnTo>
                        <a:pt x="2129" y="22"/>
                      </a:lnTo>
                      <a:lnTo>
                        <a:pt x="2194" y="15"/>
                      </a:lnTo>
                      <a:lnTo>
                        <a:pt x="2257" y="9"/>
                      </a:lnTo>
                      <a:lnTo>
                        <a:pt x="2322" y="5"/>
                      </a:lnTo>
                      <a:lnTo>
                        <a:pt x="2388" y="2"/>
                      </a:lnTo>
                      <a:lnTo>
                        <a:pt x="2455" y="0"/>
                      </a:lnTo>
                      <a:lnTo>
                        <a:pt x="2455" y="0"/>
                      </a:lnTo>
                      <a:lnTo>
                        <a:pt x="2521" y="2"/>
                      </a:lnTo>
                      <a:lnTo>
                        <a:pt x="2586" y="5"/>
                      </a:lnTo>
                      <a:lnTo>
                        <a:pt x="2652" y="9"/>
                      </a:lnTo>
                      <a:lnTo>
                        <a:pt x="2717" y="15"/>
                      </a:lnTo>
                      <a:lnTo>
                        <a:pt x="2782" y="22"/>
                      </a:lnTo>
                      <a:lnTo>
                        <a:pt x="2845" y="31"/>
                      </a:lnTo>
                      <a:lnTo>
                        <a:pt x="2909" y="41"/>
                      </a:lnTo>
                      <a:lnTo>
                        <a:pt x="2972" y="53"/>
                      </a:lnTo>
                      <a:lnTo>
                        <a:pt x="3035" y="66"/>
                      </a:lnTo>
                      <a:lnTo>
                        <a:pt x="3097" y="83"/>
                      </a:lnTo>
                      <a:lnTo>
                        <a:pt x="3159" y="99"/>
                      </a:lnTo>
                      <a:lnTo>
                        <a:pt x="3221" y="117"/>
                      </a:lnTo>
                      <a:lnTo>
                        <a:pt x="3282" y="137"/>
                      </a:lnTo>
                      <a:lnTo>
                        <a:pt x="3341" y="158"/>
                      </a:lnTo>
                      <a:lnTo>
                        <a:pt x="3401" y="180"/>
                      </a:lnTo>
                      <a:lnTo>
                        <a:pt x="3460" y="204"/>
                      </a:lnTo>
                      <a:lnTo>
                        <a:pt x="3517" y="229"/>
                      </a:lnTo>
                      <a:lnTo>
                        <a:pt x="3575" y="255"/>
                      </a:lnTo>
                      <a:lnTo>
                        <a:pt x="3631" y="283"/>
                      </a:lnTo>
                      <a:lnTo>
                        <a:pt x="3687" y="313"/>
                      </a:lnTo>
                      <a:lnTo>
                        <a:pt x="3743" y="344"/>
                      </a:lnTo>
                      <a:lnTo>
                        <a:pt x="3798" y="375"/>
                      </a:lnTo>
                      <a:lnTo>
                        <a:pt x="3851" y="408"/>
                      </a:lnTo>
                      <a:lnTo>
                        <a:pt x="3904" y="442"/>
                      </a:lnTo>
                      <a:lnTo>
                        <a:pt x="3957" y="478"/>
                      </a:lnTo>
                      <a:lnTo>
                        <a:pt x="4008" y="515"/>
                      </a:lnTo>
                      <a:lnTo>
                        <a:pt x="4059" y="552"/>
                      </a:lnTo>
                      <a:lnTo>
                        <a:pt x="4107" y="591"/>
                      </a:lnTo>
                      <a:lnTo>
                        <a:pt x="4156" y="631"/>
                      </a:lnTo>
                      <a:lnTo>
                        <a:pt x="4204" y="672"/>
                      </a:lnTo>
                      <a:lnTo>
                        <a:pt x="4250" y="714"/>
                      </a:lnTo>
                      <a:lnTo>
                        <a:pt x="4296" y="758"/>
                      </a:lnTo>
                      <a:lnTo>
                        <a:pt x="4342" y="802"/>
                      </a:lnTo>
                      <a:lnTo>
                        <a:pt x="4384" y="848"/>
                      </a:lnTo>
                      <a:lnTo>
                        <a:pt x="4427" y="894"/>
                      </a:lnTo>
                      <a:lnTo>
                        <a:pt x="4470" y="941"/>
                      </a:lnTo>
                      <a:lnTo>
                        <a:pt x="4510" y="989"/>
                      </a:lnTo>
                      <a:lnTo>
                        <a:pt x="4549" y="1038"/>
                      </a:lnTo>
                      <a:lnTo>
                        <a:pt x="4588" y="1090"/>
                      </a:lnTo>
                      <a:lnTo>
                        <a:pt x="4625" y="1140"/>
                      </a:lnTo>
                      <a:lnTo>
                        <a:pt x="4661" y="1191"/>
                      </a:lnTo>
                      <a:lnTo>
                        <a:pt x="4697" y="1244"/>
                      </a:lnTo>
                      <a:lnTo>
                        <a:pt x="4729" y="1299"/>
                      </a:lnTo>
                      <a:lnTo>
                        <a:pt x="4763" y="1354"/>
                      </a:lnTo>
                      <a:lnTo>
                        <a:pt x="4794" y="1408"/>
                      </a:lnTo>
                      <a:lnTo>
                        <a:pt x="4824" y="1464"/>
                      </a:lnTo>
                      <a:lnTo>
                        <a:pt x="4853" y="1522"/>
                      </a:lnTo>
                      <a:lnTo>
                        <a:pt x="4880" y="1579"/>
                      </a:lnTo>
                      <a:lnTo>
                        <a:pt x="4906" y="1637"/>
                      </a:lnTo>
                      <a:lnTo>
                        <a:pt x="4931" y="1696"/>
                      </a:lnTo>
                      <a:lnTo>
                        <a:pt x="4953" y="1756"/>
                      </a:lnTo>
                      <a:lnTo>
                        <a:pt x="4975" y="1817"/>
                      </a:lnTo>
                      <a:lnTo>
                        <a:pt x="4996" y="1877"/>
                      </a:lnTo>
                      <a:lnTo>
                        <a:pt x="5015" y="1939"/>
                      </a:lnTo>
                      <a:lnTo>
                        <a:pt x="5033" y="2001"/>
                      </a:lnTo>
                      <a:lnTo>
                        <a:pt x="5049" y="2064"/>
                      </a:lnTo>
                      <a:lnTo>
                        <a:pt x="5064" y="2128"/>
                      </a:lnTo>
                      <a:lnTo>
                        <a:pt x="5077" y="2191"/>
                      </a:lnTo>
                      <a:lnTo>
                        <a:pt x="5089" y="2256"/>
                      </a:lnTo>
                      <a:lnTo>
                        <a:pt x="5099" y="2321"/>
                      </a:lnTo>
                      <a:lnTo>
                        <a:pt x="5108" y="2386"/>
                      </a:lnTo>
                      <a:lnTo>
                        <a:pt x="5114" y="2452"/>
                      </a:lnTo>
                      <a:lnTo>
                        <a:pt x="5120" y="2518"/>
                      </a:lnTo>
                      <a:lnTo>
                        <a:pt x="5123" y="2585"/>
                      </a:lnTo>
                      <a:lnTo>
                        <a:pt x="5123" y="2585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52" name="Freeform 8">
                  <a:extLst>
                    <a:ext uri="{FF2B5EF4-FFF2-40B4-BE49-F238E27FC236}">
                      <a16:creationId xmlns:a16="http://schemas.microsoft.com/office/drawing/2014/main" xmlns="" id="{92202FB1-B8CB-ED40-9FA4-6CB2053F31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93112" y="406400"/>
                  <a:ext cx="2947988" cy="2871788"/>
                </a:xfrm>
                <a:custGeom>
                  <a:avLst/>
                  <a:gdLst/>
                  <a:ahLst/>
                  <a:cxnLst>
                    <a:cxn ang="0">
                      <a:pos x="5553" y="2571"/>
                    </a:cxn>
                    <a:cxn ang="0">
                      <a:pos x="5490" y="2225"/>
                    </a:cxn>
                    <a:cxn ang="0">
                      <a:pos x="5385" y="1893"/>
                    </a:cxn>
                    <a:cxn ang="0">
                      <a:pos x="5244" y="1577"/>
                    </a:cxn>
                    <a:cxn ang="0">
                      <a:pos x="5067" y="1284"/>
                    </a:cxn>
                    <a:cxn ang="0">
                      <a:pos x="4859" y="1014"/>
                    </a:cxn>
                    <a:cxn ang="0">
                      <a:pos x="4620" y="769"/>
                    </a:cxn>
                    <a:cxn ang="0">
                      <a:pos x="4356" y="554"/>
                    </a:cxn>
                    <a:cxn ang="0">
                      <a:pos x="4069" y="370"/>
                    </a:cxn>
                    <a:cxn ang="0">
                      <a:pos x="3759" y="219"/>
                    </a:cxn>
                    <a:cxn ang="0">
                      <a:pos x="3433" y="106"/>
                    </a:cxn>
                    <a:cxn ang="0">
                      <a:pos x="3091" y="32"/>
                    </a:cxn>
                    <a:cxn ang="0">
                      <a:pos x="2737" y="1"/>
                    </a:cxn>
                    <a:cxn ang="0">
                      <a:pos x="2463" y="7"/>
                    </a:cxn>
                    <a:cxn ang="0">
                      <a:pos x="2137" y="51"/>
                    </a:cxn>
                    <a:cxn ang="0">
                      <a:pos x="1825" y="131"/>
                    </a:cxn>
                    <a:cxn ang="0">
                      <a:pos x="1530" y="246"/>
                    </a:cxn>
                    <a:cxn ang="0">
                      <a:pos x="1254" y="393"/>
                    </a:cxn>
                    <a:cxn ang="0">
                      <a:pos x="1001" y="572"/>
                    </a:cxn>
                    <a:cxn ang="0">
                      <a:pos x="769" y="778"/>
                    </a:cxn>
                    <a:cxn ang="0">
                      <a:pos x="564" y="1008"/>
                    </a:cxn>
                    <a:cxn ang="0">
                      <a:pos x="387" y="1263"/>
                    </a:cxn>
                    <a:cxn ang="0">
                      <a:pos x="240" y="1539"/>
                    </a:cxn>
                    <a:cxn ang="0">
                      <a:pos x="127" y="1832"/>
                    </a:cxn>
                    <a:cxn ang="0">
                      <a:pos x="47" y="2142"/>
                    </a:cxn>
                    <a:cxn ang="0">
                      <a:pos x="4" y="2466"/>
                    </a:cxn>
                    <a:cxn ang="0">
                      <a:pos x="199" y="2438"/>
                    </a:cxn>
                    <a:cxn ang="0">
                      <a:pos x="550" y="2322"/>
                    </a:cxn>
                    <a:cxn ang="0">
                      <a:pos x="926" y="2258"/>
                    </a:cxn>
                    <a:cxn ang="0">
                      <a:pos x="1226" y="2248"/>
                    </a:cxn>
                    <a:cxn ang="0">
                      <a:pos x="1551" y="2278"/>
                    </a:cxn>
                    <a:cxn ang="0">
                      <a:pos x="1865" y="2345"/>
                    </a:cxn>
                    <a:cxn ang="0">
                      <a:pos x="2164" y="2450"/>
                    </a:cxn>
                    <a:cxn ang="0">
                      <a:pos x="2448" y="2590"/>
                    </a:cxn>
                    <a:cxn ang="0">
                      <a:pos x="2712" y="2761"/>
                    </a:cxn>
                    <a:cxn ang="0">
                      <a:pos x="2956" y="2962"/>
                    </a:cxn>
                    <a:cxn ang="0">
                      <a:pos x="3175" y="3187"/>
                    </a:cxn>
                    <a:cxn ang="0">
                      <a:pos x="3367" y="3439"/>
                    </a:cxn>
                    <a:cxn ang="0">
                      <a:pos x="3529" y="3711"/>
                    </a:cxn>
                    <a:cxn ang="0">
                      <a:pos x="3659" y="4003"/>
                    </a:cxn>
                    <a:cxn ang="0">
                      <a:pos x="3755" y="4311"/>
                    </a:cxn>
                    <a:cxn ang="0">
                      <a:pos x="3814" y="4632"/>
                    </a:cxn>
                    <a:cxn ang="0">
                      <a:pos x="3831" y="4908"/>
                    </a:cxn>
                    <a:cxn ang="0">
                      <a:pos x="3809" y="5281"/>
                    </a:cxn>
                    <a:cxn ang="0">
                      <a:pos x="3886" y="5390"/>
                    </a:cxn>
                    <a:cxn ang="0">
                      <a:pos x="4129" y="5281"/>
                    </a:cxn>
                    <a:cxn ang="0">
                      <a:pos x="4358" y="5150"/>
                    </a:cxn>
                    <a:cxn ang="0">
                      <a:pos x="4571" y="4998"/>
                    </a:cxn>
                    <a:cxn ang="0">
                      <a:pos x="4767" y="4825"/>
                    </a:cxn>
                    <a:cxn ang="0">
                      <a:pos x="4946" y="4635"/>
                    </a:cxn>
                    <a:cxn ang="0">
                      <a:pos x="5105" y="4427"/>
                    </a:cxn>
                    <a:cxn ang="0">
                      <a:pos x="5242" y="4203"/>
                    </a:cxn>
                    <a:cxn ang="0">
                      <a:pos x="5359" y="3966"/>
                    </a:cxn>
                    <a:cxn ang="0">
                      <a:pos x="5450" y="3715"/>
                    </a:cxn>
                    <a:cxn ang="0">
                      <a:pos x="5518" y="3453"/>
                    </a:cxn>
                    <a:cxn ang="0">
                      <a:pos x="5559" y="3181"/>
                    </a:cxn>
                    <a:cxn ang="0">
                      <a:pos x="5572" y="2900"/>
                    </a:cxn>
                  </a:cxnLst>
                  <a:rect l="0" t="0" r="r" b="b"/>
                  <a:pathLst>
                    <a:path w="5572" h="5427">
                      <a:moveTo>
                        <a:pt x="5569" y="2786"/>
                      </a:moveTo>
                      <a:lnTo>
                        <a:pt x="5569" y="2786"/>
                      </a:lnTo>
                      <a:lnTo>
                        <a:pt x="5566" y="2714"/>
                      </a:lnTo>
                      <a:lnTo>
                        <a:pt x="5560" y="2642"/>
                      </a:lnTo>
                      <a:lnTo>
                        <a:pt x="5553" y="2571"/>
                      </a:lnTo>
                      <a:lnTo>
                        <a:pt x="5543" y="2500"/>
                      </a:lnTo>
                      <a:lnTo>
                        <a:pt x="5532" y="2431"/>
                      </a:lnTo>
                      <a:lnTo>
                        <a:pt x="5519" y="2362"/>
                      </a:lnTo>
                      <a:lnTo>
                        <a:pt x="5504" y="2292"/>
                      </a:lnTo>
                      <a:lnTo>
                        <a:pt x="5490" y="2225"/>
                      </a:lnTo>
                      <a:lnTo>
                        <a:pt x="5472" y="2157"/>
                      </a:lnTo>
                      <a:lnTo>
                        <a:pt x="5453" y="2089"/>
                      </a:lnTo>
                      <a:lnTo>
                        <a:pt x="5432" y="2023"/>
                      </a:lnTo>
                      <a:lnTo>
                        <a:pt x="5409" y="1958"/>
                      </a:lnTo>
                      <a:lnTo>
                        <a:pt x="5385" y="1893"/>
                      </a:lnTo>
                      <a:lnTo>
                        <a:pt x="5360" y="1828"/>
                      </a:lnTo>
                      <a:lnTo>
                        <a:pt x="5333" y="1765"/>
                      </a:lnTo>
                      <a:lnTo>
                        <a:pt x="5304" y="1701"/>
                      </a:lnTo>
                      <a:lnTo>
                        <a:pt x="5274" y="1639"/>
                      </a:lnTo>
                      <a:lnTo>
                        <a:pt x="5244" y="1577"/>
                      </a:lnTo>
                      <a:lnTo>
                        <a:pt x="5211" y="1517"/>
                      </a:lnTo>
                      <a:lnTo>
                        <a:pt x="5177" y="1458"/>
                      </a:lnTo>
                      <a:lnTo>
                        <a:pt x="5142" y="1399"/>
                      </a:lnTo>
                      <a:lnTo>
                        <a:pt x="5105" y="1341"/>
                      </a:lnTo>
                      <a:lnTo>
                        <a:pt x="5067" y="1284"/>
                      </a:lnTo>
                      <a:lnTo>
                        <a:pt x="5028" y="1228"/>
                      </a:lnTo>
                      <a:lnTo>
                        <a:pt x="4987" y="1173"/>
                      </a:lnTo>
                      <a:lnTo>
                        <a:pt x="4946" y="1119"/>
                      </a:lnTo>
                      <a:lnTo>
                        <a:pt x="4903" y="1066"/>
                      </a:lnTo>
                      <a:lnTo>
                        <a:pt x="4859" y="1014"/>
                      </a:lnTo>
                      <a:lnTo>
                        <a:pt x="4813" y="962"/>
                      </a:lnTo>
                      <a:lnTo>
                        <a:pt x="4766" y="912"/>
                      </a:lnTo>
                      <a:lnTo>
                        <a:pt x="4719" y="864"/>
                      </a:lnTo>
                      <a:lnTo>
                        <a:pt x="4670" y="817"/>
                      </a:lnTo>
                      <a:lnTo>
                        <a:pt x="4620" y="769"/>
                      </a:lnTo>
                      <a:lnTo>
                        <a:pt x="4570" y="724"/>
                      </a:lnTo>
                      <a:lnTo>
                        <a:pt x="4518" y="679"/>
                      </a:lnTo>
                      <a:lnTo>
                        <a:pt x="4465" y="637"/>
                      </a:lnTo>
                      <a:lnTo>
                        <a:pt x="4411" y="594"/>
                      </a:lnTo>
                      <a:lnTo>
                        <a:pt x="4356" y="554"/>
                      </a:lnTo>
                      <a:lnTo>
                        <a:pt x="4300" y="514"/>
                      </a:lnTo>
                      <a:lnTo>
                        <a:pt x="4244" y="476"/>
                      </a:lnTo>
                      <a:lnTo>
                        <a:pt x="4187" y="439"/>
                      </a:lnTo>
                      <a:lnTo>
                        <a:pt x="4128" y="404"/>
                      </a:lnTo>
                      <a:lnTo>
                        <a:pt x="4069" y="370"/>
                      </a:lnTo>
                      <a:lnTo>
                        <a:pt x="4008" y="336"/>
                      </a:lnTo>
                      <a:lnTo>
                        <a:pt x="3946" y="305"/>
                      </a:lnTo>
                      <a:lnTo>
                        <a:pt x="3886" y="275"/>
                      </a:lnTo>
                      <a:lnTo>
                        <a:pt x="3822" y="246"/>
                      </a:lnTo>
                      <a:lnTo>
                        <a:pt x="3759" y="219"/>
                      </a:lnTo>
                      <a:lnTo>
                        <a:pt x="3696" y="193"/>
                      </a:lnTo>
                      <a:lnTo>
                        <a:pt x="3631" y="169"/>
                      </a:lnTo>
                      <a:lnTo>
                        <a:pt x="3566" y="147"/>
                      </a:lnTo>
                      <a:lnTo>
                        <a:pt x="3500" y="125"/>
                      </a:lnTo>
                      <a:lnTo>
                        <a:pt x="3433" y="106"/>
                      </a:lnTo>
                      <a:lnTo>
                        <a:pt x="3365" y="88"/>
                      </a:lnTo>
                      <a:lnTo>
                        <a:pt x="3298" y="72"/>
                      </a:lnTo>
                      <a:lnTo>
                        <a:pt x="3230" y="57"/>
                      </a:lnTo>
                      <a:lnTo>
                        <a:pt x="3160" y="44"/>
                      </a:lnTo>
                      <a:lnTo>
                        <a:pt x="3091" y="32"/>
                      </a:lnTo>
                      <a:lnTo>
                        <a:pt x="3022" y="23"/>
                      </a:lnTo>
                      <a:lnTo>
                        <a:pt x="2951" y="14"/>
                      </a:lnTo>
                      <a:lnTo>
                        <a:pt x="2880" y="9"/>
                      </a:lnTo>
                      <a:lnTo>
                        <a:pt x="2810" y="4"/>
                      </a:lnTo>
                      <a:lnTo>
                        <a:pt x="2737" y="1"/>
                      </a:lnTo>
                      <a:lnTo>
                        <a:pt x="2667" y="0"/>
                      </a:lnTo>
                      <a:lnTo>
                        <a:pt x="2667" y="0"/>
                      </a:lnTo>
                      <a:lnTo>
                        <a:pt x="2599" y="1"/>
                      </a:lnTo>
                      <a:lnTo>
                        <a:pt x="2531" y="4"/>
                      </a:lnTo>
                      <a:lnTo>
                        <a:pt x="2463" y="7"/>
                      </a:lnTo>
                      <a:lnTo>
                        <a:pt x="2397" y="13"/>
                      </a:lnTo>
                      <a:lnTo>
                        <a:pt x="2332" y="20"/>
                      </a:lnTo>
                      <a:lnTo>
                        <a:pt x="2266" y="29"/>
                      </a:lnTo>
                      <a:lnTo>
                        <a:pt x="2201" y="39"/>
                      </a:lnTo>
                      <a:lnTo>
                        <a:pt x="2137" y="51"/>
                      </a:lnTo>
                      <a:lnTo>
                        <a:pt x="2074" y="65"/>
                      </a:lnTo>
                      <a:lnTo>
                        <a:pt x="2011" y="79"/>
                      </a:lnTo>
                      <a:lnTo>
                        <a:pt x="1949" y="94"/>
                      </a:lnTo>
                      <a:lnTo>
                        <a:pt x="1887" y="112"/>
                      </a:lnTo>
                      <a:lnTo>
                        <a:pt x="1825" y="131"/>
                      </a:lnTo>
                      <a:lnTo>
                        <a:pt x="1764" y="152"/>
                      </a:lnTo>
                      <a:lnTo>
                        <a:pt x="1705" y="174"/>
                      </a:lnTo>
                      <a:lnTo>
                        <a:pt x="1646" y="196"/>
                      </a:lnTo>
                      <a:lnTo>
                        <a:pt x="1587" y="221"/>
                      </a:lnTo>
                      <a:lnTo>
                        <a:pt x="1530" y="246"/>
                      </a:lnTo>
                      <a:lnTo>
                        <a:pt x="1474" y="274"/>
                      </a:lnTo>
                      <a:lnTo>
                        <a:pt x="1418" y="302"/>
                      </a:lnTo>
                      <a:lnTo>
                        <a:pt x="1362" y="331"/>
                      </a:lnTo>
                      <a:lnTo>
                        <a:pt x="1307" y="362"/>
                      </a:lnTo>
                      <a:lnTo>
                        <a:pt x="1254" y="393"/>
                      </a:lnTo>
                      <a:lnTo>
                        <a:pt x="1201" y="427"/>
                      </a:lnTo>
                      <a:lnTo>
                        <a:pt x="1150" y="461"/>
                      </a:lnTo>
                      <a:lnTo>
                        <a:pt x="1100" y="497"/>
                      </a:lnTo>
                      <a:lnTo>
                        <a:pt x="1049" y="533"/>
                      </a:lnTo>
                      <a:lnTo>
                        <a:pt x="1001" y="572"/>
                      </a:lnTo>
                      <a:lnTo>
                        <a:pt x="952" y="610"/>
                      </a:lnTo>
                      <a:lnTo>
                        <a:pt x="905" y="651"/>
                      </a:lnTo>
                      <a:lnTo>
                        <a:pt x="859" y="693"/>
                      </a:lnTo>
                      <a:lnTo>
                        <a:pt x="814" y="734"/>
                      </a:lnTo>
                      <a:lnTo>
                        <a:pt x="769" y="778"/>
                      </a:lnTo>
                      <a:lnTo>
                        <a:pt x="727" y="822"/>
                      </a:lnTo>
                      <a:lnTo>
                        <a:pt x="684" y="867"/>
                      </a:lnTo>
                      <a:lnTo>
                        <a:pt x="643" y="914"/>
                      </a:lnTo>
                      <a:lnTo>
                        <a:pt x="603" y="961"/>
                      </a:lnTo>
                      <a:lnTo>
                        <a:pt x="564" y="1008"/>
                      </a:lnTo>
                      <a:lnTo>
                        <a:pt x="526" y="1058"/>
                      </a:lnTo>
                      <a:lnTo>
                        <a:pt x="491" y="1108"/>
                      </a:lnTo>
                      <a:lnTo>
                        <a:pt x="455" y="1159"/>
                      </a:lnTo>
                      <a:lnTo>
                        <a:pt x="420" y="1210"/>
                      </a:lnTo>
                      <a:lnTo>
                        <a:pt x="387" y="1263"/>
                      </a:lnTo>
                      <a:lnTo>
                        <a:pt x="355" y="1316"/>
                      </a:lnTo>
                      <a:lnTo>
                        <a:pt x="326" y="1371"/>
                      </a:lnTo>
                      <a:lnTo>
                        <a:pt x="296" y="1425"/>
                      </a:lnTo>
                      <a:lnTo>
                        <a:pt x="268" y="1481"/>
                      </a:lnTo>
                      <a:lnTo>
                        <a:pt x="240" y="1539"/>
                      </a:lnTo>
                      <a:lnTo>
                        <a:pt x="215" y="1596"/>
                      </a:lnTo>
                      <a:lnTo>
                        <a:pt x="191" y="1654"/>
                      </a:lnTo>
                      <a:lnTo>
                        <a:pt x="168" y="1713"/>
                      </a:lnTo>
                      <a:lnTo>
                        <a:pt x="147" y="1772"/>
                      </a:lnTo>
                      <a:lnTo>
                        <a:pt x="127" y="1832"/>
                      </a:lnTo>
                      <a:lnTo>
                        <a:pt x="107" y="1893"/>
                      </a:lnTo>
                      <a:lnTo>
                        <a:pt x="90" y="1955"/>
                      </a:lnTo>
                      <a:lnTo>
                        <a:pt x="75" y="2017"/>
                      </a:lnTo>
                      <a:lnTo>
                        <a:pt x="60" y="2080"/>
                      </a:lnTo>
                      <a:lnTo>
                        <a:pt x="47" y="2142"/>
                      </a:lnTo>
                      <a:lnTo>
                        <a:pt x="35" y="2207"/>
                      </a:lnTo>
                      <a:lnTo>
                        <a:pt x="25" y="2270"/>
                      </a:lnTo>
                      <a:lnTo>
                        <a:pt x="17" y="2335"/>
                      </a:lnTo>
                      <a:lnTo>
                        <a:pt x="10" y="2401"/>
                      </a:lnTo>
                      <a:lnTo>
                        <a:pt x="4" y="2466"/>
                      </a:lnTo>
                      <a:lnTo>
                        <a:pt x="0" y="2533"/>
                      </a:lnTo>
                      <a:lnTo>
                        <a:pt x="0" y="2533"/>
                      </a:lnTo>
                      <a:lnTo>
                        <a:pt x="65" y="2500"/>
                      </a:lnTo>
                      <a:lnTo>
                        <a:pt x="131" y="2468"/>
                      </a:lnTo>
                      <a:lnTo>
                        <a:pt x="199" y="2438"/>
                      </a:lnTo>
                      <a:lnTo>
                        <a:pt x="267" y="2412"/>
                      </a:lnTo>
                      <a:lnTo>
                        <a:pt x="336" y="2387"/>
                      </a:lnTo>
                      <a:lnTo>
                        <a:pt x="407" y="2363"/>
                      </a:lnTo>
                      <a:lnTo>
                        <a:pt x="477" y="2341"/>
                      </a:lnTo>
                      <a:lnTo>
                        <a:pt x="550" y="2322"/>
                      </a:lnTo>
                      <a:lnTo>
                        <a:pt x="623" y="2304"/>
                      </a:lnTo>
                      <a:lnTo>
                        <a:pt x="697" y="2289"/>
                      </a:lnTo>
                      <a:lnTo>
                        <a:pt x="772" y="2278"/>
                      </a:lnTo>
                      <a:lnTo>
                        <a:pt x="849" y="2266"/>
                      </a:lnTo>
                      <a:lnTo>
                        <a:pt x="926" y="2258"/>
                      </a:lnTo>
                      <a:lnTo>
                        <a:pt x="1002" y="2253"/>
                      </a:lnTo>
                      <a:lnTo>
                        <a:pt x="1080" y="2248"/>
                      </a:lnTo>
                      <a:lnTo>
                        <a:pt x="1160" y="2248"/>
                      </a:lnTo>
                      <a:lnTo>
                        <a:pt x="1160" y="2248"/>
                      </a:lnTo>
                      <a:lnTo>
                        <a:pt x="1226" y="2248"/>
                      </a:lnTo>
                      <a:lnTo>
                        <a:pt x="1291" y="2251"/>
                      </a:lnTo>
                      <a:lnTo>
                        <a:pt x="1358" y="2256"/>
                      </a:lnTo>
                      <a:lnTo>
                        <a:pt x="1422" y="2261"/>
                      </a:lnTo>
                      <a:lnTo>
                        <a:pt x="1486" y="2269"/>
                      </a:lnTo>
                      <a:lnTo>
                        <a:pt x="1551" y="2278"/>
                      </a:lnTo>
                      <a:lnTo>
                        <a:pt x="1614" y="2288"/>
                      </a:lnTo>
                      <a:lnTo>
                        <a:pt x="1677" y="2300"/>
                      </a:lnTo>
                      <a:lnTo>
                        <a:pt x="1741" y="2313"/>
                      </a:lnTo>
                      <a:lnTo>
                        <a:pt x="1803" y="2329"/>
                      </a:lnTo>
                      <a:lnTo>
                        <a:pt x="1865" y="2345"/>
                      </a:lnTo>
                      <a:lnTo>
                        <a:pt x="1925" y="2363"/>
                      </a:lnTo>
                      <a:lnTo>
                        <a:pt x="1987" y="2384"/>
                      </a:lnTo>
                      <a:lnTo>
                        <a:pt x="2046" y="2404"/>
                      </a:lnTo>
                      <a:lnTo>
                        <a:pt x="2106" y="2427"/>
                      </a:lnTo>
                      <a:lnTo>
                        <a:pt x="2164" y="2450"/>
                      </a:lnTo>
                      <a:lnTo>
                        <a:pt x="2223" y="2475"/>
                      </a:lnTo>
                      <a:lnTo>
                        <a:pt x="2280" y="2502"/>
                      </a:lnTo>
                      <a:lnTo>
                        <a:pt x="2336" y="2530"/>
                      </a:lnTo>
                      <a:lnTo>
                        <a:pt x="2392" y="2559"/>
                      </a:lnTo>
                      <a:lnTo>
                        <a:pt x="2448" y="2590"/>
                      </a:lnTo>
                      <a:lnTo>
                        <a:pt x="2503" y="2621"/>
                      </a:lnTo>
                      <a:lnTo>
                        <a:pt x="2556" y="2655"/>
                      </a:lnTo>
                      <a:lnTo>
                        <a:pt x="2609" y="2689"/>
                      </a:lnTo>
                      <a:lnTo>
                        <a:pt x="2662" y="2724"/>
                      </a:lnTo>
                      <a:lnTo>
                        <a:pt x="2712" y="2761"/>
                      </a:lnTo>
                      <a:lnTo>
                        <a:pt x="2764" y="2798"/>
                      </a:lnTo>
                      <a:lnTo>
                        <a:pt x="2813" y="2838"/>
                      </a:lnTo>
                      <a:lnTo>
                        <a:pt x="2861" y="2878"/>
                      </a:lnTo>
                      <a:lnTo>
                        <a:pt x="2910" y="2919"/>
                      </a:lnTo>
                      <a:lnTo>
                        <a:pt x="2956" y="2962"/>
                      </a:lnTo>
                      <a:lnTo>
                        <a:pt x="3001" y="3005"/>
                      </a:lnTo>
                      <a:lnTo>
                        <a:pt x="3047" y="3049"/>
                      </a:lnTo>
                      <a:lnTo>
                        <a:pt x="3090" y="3094"/>
                      </a:lnTo>
                      <a:lnTo>
                        <a:pt x="3132" y="3140"/>
                      </a:lnTo>
                      <a:lnTo>
                        <a:pt x="3175" y="3187"/>
                      </a:lnTo>
                      <a:lnTo>
                        <a:pt x="3215" y="3236"/>
                      </a:lnTo>
                      <a:lnTo>
                        <a:pt x="3255" y="3286"/>
                      </a:lnTo>
                      <a:lnTo>
                        <a:pt x="3293" y="3336"/>
                      </a:lnTo>
                      <a:lnTo>
                        <a:pt x="3330" y="3386"/>
                      </a:lnTo>
                      <a:lnTo>
                        <a:pt x="3367" y="3439"/>
                      </a:lnTo>
                      <a:lnTo>
                        <a:pt x="3402" y="3491"/>
                      </a:lnTo>
                      <a:lnTo>
                        <a:pt x="3435" y="3546"/>
                      </a:lnTo>
                      <a:lnTo>
                        <a:pt x="3467" y="3600"/>
                      </a:lnTo>
                      <a:lnTo>
                        <a:pt x="3500" y="3655"/>
                      </a:lnTo>
                      <a:lnTo>
                        <a:pt x="3529" y="3711"/>
                      </a:lnTo>
                      <a:lnTo>
                        <a:pt x="3557" y="3768"/>
                      </a:lnTo>
                      <a:lnTo>
                        <a:pt x="3585" y="3826"/>
                      </a:lnTo>
                      <a:lnTo>
                        <a:pt x="3612" y="3885"/>
                      </a:lnTo>
                      <a:lnTo>
                        <a:pt x="3635" y="3944"/>
                      </a:lnTo>
                      <a:lnTo>
                        <a:pt x="3659" y="4003"/>
                      </a:lnTo>
                      <a:lnTo>
                        <a:pt x="3681" y="4063"/>
                      </a:lnTo>
                      <a:lnTo>
                        <a:pt x="3702" y="4124"/>
                      </a:lnTo>
                      <a:lnTo>
                        <a:pt x="3721" y="4186"/>
                      </a:lnTo>
                      <a:lnTo>
                        <a:pt x="3738" y="4247"/>
                      </a:lnTo>
                      <a:lnTo>
                        <a:pt x="3755" y="4311"/>
                      </a:lnTo>
                      <a:lnTo>
                        <a:pt x="3769" y="4374"/>
                      </a:lnTo>
                      <a:lnTo>
                        <a:pt x="3783" y="4438"/>
                      </a:lnTo>
                      <a:lnTo>
                        <a:pt x="3794" y="4503"/>
                      </a:lnTo>
                      <a:lnTo>
                        <a:pt x="3805" y="4567"/>
                      </a:lnTo>
                      <a:lnTo>
                        <a:pt x="3814" y="4632"/>
                      </a:lnTo>
                      <a:lnTo>
                        <a:pt x="3819" y="4699"/>
                      </a:lnTo>
                      <a:lnTo>
                        <a:pt x="3825" y="4765"/>
                      </a:lnTo>
                      <a:lnTo>
                        <a:pt x="3828" y="4831"/>
                      </a:lnTo>
                      <a:lnTo>
                        <a:pt x="3828" y="4831"/>
                      </a:lnTo>
                      <a:lnTo>
                        <a:pt x="3831" y="4908"/>
                      </a:lnTo>
                      <a:lnTo>
                        <a:pt x="3831" y="4985"/>
                      </a:lnTo>
                      <a:lnTo>
                        <a:pt x="3828" y="5060"/>
                      </a:lnTo>
                      <a:lnTo>
                        <a:pt x="3824" y="5134"/>
                      </a:lnTo>
                      <a:lnTo>
                        <a:pt x="3818" y="5209"/>
                      </a:lnTo>
                      <a:lnTo>
                        <a:pt x="3809" y="5281"/>
                      </a:lnTo>
                      <a:lnTo>
                        <a:pt x="3799" y="5355"/>
                      </a:lnTo>
                      <a:lnTo>
                        <a:pt x="3786" y="5427"/>
                      </a:lnTo>
                      <a:lnTo>
                        <a:pt x="3786" y="5427"/>
                      </a:lnTo>
                      <a:lnTo>
                        <a:pt x="3836" y="5408"/>
                      </a:lnTo>
                      <a:lnTo>
                        <a:pt x="3886" y="5390"/>
                      </a:lnTo>
                      <a:lnTo>
                        <a:pt x="3936" y="5369"/>
                      </a:lnTo>
                      <a:lnTo>
                        <a:pt x="3985" y="5349"/>
                      </a:lnTo>
                      <a:lnTo>
                        <a:pt x="4033" y="5327"/>
                      </a:lnTo>
                      <a:lnTo>
                        <a:pt x="4082" y="5305"/>
                      </a:lnTo>
                      <a:lnTo>
                        <a:pt x="4129" y="5281"/>
                      </a:lnTo>
                      <a:lnTo>
                        <a:pt x="4176" y="5256"/>
                      </a:lnTo>
                      <a:lnTo>
                        <a:pt x="4223" y="5231"/>
                      </a:lnTo>
                      <a:lnTo>
                        <a:pt x="4269" y="5204"/>
                      </a:lnTo>
                      <a:lnTo>
                        <a:pt x="4313" y="5178"/>
                      </a:lnTo>
                      <a:lnTo>
                        <a:pt x="4358" y="5150"/>
                      </a:lnTo>
                      <a:lnTo>
                        <a:pt x="4402" y="5122"/>
                      </a:lnTo>
                      <a:lnTo>
                        <a:pt x="4446" y="5092"/>
                      </a:lnTo>
                      <a:lnTo>
                        <a:pt x="4489" y="5061"/>
                      </a:lnTo>
                      <a:lnTo>
                        <a:pt x="4530" y="5030"/>
                      </a:lnTo>
                      <a:lnTo>
                        <a:pt x="4571" y="4998"/>
                      </a:lnTo>
                      <a:lnTo>
                        <a:pt x="4613" y="4965"/>
                      </a:lnTo>
                      <a:lnTo>
                        <a:pt x="4652" y="4932"/>
                      </a:lnTo>
                      <a:lnTo>
                        <a:pt x="4691" y="4896"/>
                      </a:lnTo>
                      <a:lnTo>
                        <a:pt x="4731" y="4861"/>
                      </a:lnTo>
                      <a:lnTo>
                        <a:pt x="4767" y="4825"/>
                      </a:lnTo>
                      <a:lnTo>
                        <a:pt x="4804" y="4789"/>
                      </a:lnTo>
                      <a:lnTo>
                        <a:pt x="4841" y="4752"/>
                      </a:lnTo>
                      <a:lnTo>
                        <a:pt x="4876" y="4713"/>
                      </a:lnTo>
                      <a:lnTo>
                        <a:pt x="4912" y="4675"/>
                      </a:lnTo>
                      <a:lnTo>
                        <a:pt x="4946" y="4635"/>
                      </a:lnTo>
                      <a:lnTo>
                        <a:pt x="4980" y="4595"/>
                      </a:lnTo>
                      <a:lnTo>
                        <a:pt x="5012" y="4554"/>
                      </a:lnTo>
                      <a:lnTo>
                        <a:pt x="5043" y="4513"/>
                      </a:lnTo>
                      <a:lnTo>
                        <a:pt x="5074" y="4470"/>
                      </a:lnTo>
                      <a:lnTo>
                        <a:pt x="5105" y="4427"/>
                      </a:lnTo>
                      <a:lnTo>
                        <a:pt x="5134" y="4383"/>
                      </a:lnTo>
                      <a:lnTo>
                        <a:pt x="5162" y="4340"/>
                      </a:lnTo>
                      <a:lnTo>
                        <a:pt x="5190" y="4295"/>
                      </a:lnTo>
                      <a:lnTo>
                        <a:pt x="5217" y="4250"/>
                      </a:lnTo>
                      <a:lnTo>
                        <a:pt x="5242" y="4203"/>
                      </a:lnTo>
                      <a:lnTo>
                        <a:pt x="5267" y="4158"/>
                      </a:lnTo>
                      <a:lnTo>
                        <a:pt x="5292" y="4110"/>
                      </a:lnTo>
                      <a:lnTo>
                        <a:pt x="5314" y="4063"/>
                      </a:lnTo>
                      <a:lnTo>
                        <a:pt x="5336" y="4014"/>
                      </a:lnTo>
                      <a:lnTo>
                        <a:pt x="5359" y="3966"/>
                      </a:lnTo>
                      <a:lnTo>
                        <a:pt x="5379" y="3917"/>
                      </a:lnTo>
                      <a:lnTo>
                        <a:pt x="5398" y="3867"/>
                      </a:lnTo>
                      <a:lnTo>
                        <a:pt x="5416" y="3817"/>
                      </a:lnTo>
                      <a:lnTo>
                        <a:pt x="5434" y="3767"/>
                      </a:lnTo>
                      <a:lnTo>
                        <a:pt x="5450" y="3715"/>
                      </a:lnTo>
                      <a:lnTo>
                        <a:pt x="5466" y="3664"/>
                      </a:lnTo>
                      <a:lnTo>
                        <a:pt x="5481" y="3612"/>
                      </a:lnTo>
                      <a:lnTo>
                        <a:pt x="5494" y="3559"/>
                      </a:lnTo>
                      <a:lnTo>
                        <a:pt x="5506" y="3507"/>
                      </a:lnTo>
                      <a:lnTo>
                        <a:pt x="5518" y="3453"/>
                      </a:lnTo>
                      <a:lnTo>
                        <a:pt x="5528" y="3400"/>
                      </a:lnTo>
                      <a:lnTo>
                        <a:pt x="5537" y="3345"/>
                      </a:lnTo>
                      <a:lnTo>
                        <a:pt x="5546" y="3291"/>
                      </a:lnTo>
                      <a:lnTo>
                        <a:pt x="5553" y="3236"/>
                      </a:lnTo>
                      <a:lnTo>
                        <a:pt x="5559" y="3181"/>
                      </a:lnTo>
                      <a:lnTo>
                        <a:pt x="5563" y="3125"/>
                      </a:lnTo>
                      <a:lnTo>
                        <a:pt x="5568" y="3069"/>
                      </a:lnTo>
                      <a:lnTo>
                        <a:pt x="5571" y="3013"/>
                      </a:lnTo>
                      <a:lnTo>
                        <a:pt x="5572" y="2957"/>
                      </a:lnTo>
                      <a:lnTo>
                        <a:pt x="5572" y="2900"/>
                      </a:lnTo>
                      <a:lnTo>
                        <a:pt x="5571" y="2842"/>
                      </a:lnTo>
                      <a:lnTo>
                        <a:pt x="5569" y="2786"/>
                      </a:lnTo>
                      <a:lnTo>
                        <a:pt x="5569" y="2786"/>
                      </a:lnTo>
                      <a:close/>
                    </a:path>
                  </a:pathLst>
                </a:custGeom>
                <a:gradFill flip="none" rotWithShape="1">
                  <a:gsLst>
                    <a:gs pos="45000">
                      <a:schemeClr val="accent5">
                        <a:lumMod val="75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  <a:gs pos="30000">
                      <a:schemeClr val="accent5">
                        <a:lumMod val="50000"/>
                      </a:schemeClr>
                    </a:gs>
                    <a:gs pos="83000">
                      <a:schemeClr val="accent5">
                        <a:lumMod val="75000"/>
                      </a:schemeClr>
                    </a:gs>
                    <a:gs pos="55000">
                      <a:schemeClr val="accent5">
                        <a:lumMod val="50000"/>
                      </a:schemeClr>
                    </a:gs>
                    <a:gs pos="69000">
                      <a:schemeClr val="accent5">
                        <a:lumMod val="50000"/>
                      </a:schemeClr>
                    </a:gs>
                  </a:gsLst>
                  <a:lin ang="258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53" name="Freeform 10">
                  <a:extLst>
                    <a:ext uri="{FF2B5EF4-FFF2-40B4-BE49-F238E27FC236}">
                      <a16:creationId xmlns:a16="http://schemas.microsoft.com/office/drawing/2014/main" xmlns="" id="{BE64BCB4-4C5B-AF43-B67F-1AA87BD5A9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42325" y="1582738"/>
                  <a:ext cx="2017713" cy="1719263"/>
                </a:xfrm>
                <a:custGeom>
                  <a:avLst/>
                  <a:gdLst/>
                  <a:ahLst/>
                  <a:cxnLst>
                    <a:cxn ang="0">
                      <a:pos x="3757" y="3095"/>
                    </a:cxn>
                    <a:cxn ang="0">
                      <a:pos x="3794" y="3057"/>
                    </a:cxn>
                    <a:cxn ang="0">
                      <a:pos x="3810" y="3002"/>
                    </a:cxn>
                    <a:cxn ang="0">
                      <a:pos x="3809" y="2896"/>
                    </a:cxn>
                    <a:cxn ang="0">
                      <a:pos x="3774" y="2695"/>
                    </a:cxn>
                    <a:cxn ang="0">
                      <a:pos x="3759" y="2585"/>
                    </a:cxn>
                    <a:cxn ang="0">
                      <a:pos x="3735" y="2321"/>
                    </a:cxn>
                    <a:cxn ang="0">
                      <a:pos x="3685" y="2064"/>
                    </a:cxn>
                    <a:cxn ang="0">
                      <a:pos x="3611" y="1817"/>
                    </a:cxn>
                    <a:cxn ang="0">
                      <a:pos x="3516" y="1579"/>
                    </a:cxn>
                    <a:cxn ang="0">
                      <a:pos x="3399" y="1354"/>
                    </a:cxn>
                    <a:cxn ang="0">
                      <a:pos x="3261" y="1140"/>
                    </a:cxn>
                    <a:cxn ang="0">
                      <a:pos x="3106" y="941"/>
                    </a:cxn>
                    <a:cxn ang="0">
                      <a:pos x="2932" y="758"/>
                    </a:cxn>
                    <a:cxn ang="0">
                      <a:pos x="2743" y="591"/>
                    </a:cxn>
                    <a:cxn ang="0">
                      <a:pos x="2540" y="442"/>
                    </a:cxn>
                    <a:cxn ang="0">
                      <a:pos x="2323" y="313"/>
                    </a:cxn>
                    <a:cxn ang="0">
                      <a:pos x="2096" y="204"/>
                    </a:cxn>
                    <a:cxn ang="0">
                      <a:pos x="1857" y="117"/>
                    </a:cxn>
                    <a:cxn ang="0">
                      <a:pos x="1608" y="53"/>
                    </a:cxn>
                    <a:cxn ang="0">
                      <a:pos x="1353" y="15"/>
                    </a:cxn>
                    <a:cxn ang="0">
                      <a:pos x="1091" y="0"/>
                    </a:cxn>
                    <a:cxn ang="0">
                      <a:pos x="902" y="7"/>
                    </a:cxn>
                    <a:cxn ang="0">
                      <a:pos x="676" y="31"/>
                    </a:cxn>
                    <a:cxn ang="0">
                      <a:pos x="480" y="69"/>
                    </a:cxn>
                    <a:cxn ang="0">
                      <a:pos x="216" y="149"/>
                    </a:cxn>
                    <a:cxn ang="0">
                      <a:pos x="41" y="229"/>
                    </a:cxn>
                    <a:cxn ang="0">
                      <a:pos x="1" y="308"/>
                    </a:cxn>
                    <a:cxn ang="0">
                      <a:pos x="37" y="667"/>
                    </a:cxn>
                    <a:cxn ang="0">
                      <a:pos x="95" y="972"/>
                    </a:cxn>
                    <a:cxn ang="0">
                      <a:pos x="166" y="1246"/>
                    </a:cxn>
                    <a:cxn ang="0">
                      <a:pos x="265" y="1536"/>
                    </a:cxn>
                    <a:cxn ang="0">
                      <a:pos x="395" y="1833"/>
                    </a:cxn>
                    <a:cxn ang="0">
                      <a:pos x="560" y="2125"/>
                    </a:cxn>
                    <a:cxn ang="0">
                      <a:pos x="762" y="2403"/>
                    </a:cxn>
                    <a:cxn ang="0">
                      <a:pos x="1007" y="2658"/>
                    </a:cxn>
                    <a:cxn ang="0">
                      <a:pos x="1145" y="2775"/>
                    </a:cxn>
                    <a:cxn ang="0">
                      <a:pos x="1297" y="2881"/>
                    </a:cxn>
                    <a:cxn ang="0">
                      <a:pos x="1461" y="2975"/>
                    </a:cxn>
                    <a:cxn ang="0">
                      <a:pos x="1637" y="3059"/>
                    </a:cxn>
                    <a:cxn ang="0">
                      <a:pos x="1828" y="3129"/>
                    </a:cxn>
                    <a:cxn ang="0">
                      <a:pos x="2031" y="3185"/>
                    </a:cxn>
                    <a:cxn ang="0">
                      <a:pos x="2249" y="3223"/>
                    </a:cxn>
                    <a:cxn ang="0">
                      <a:pos x="2484" y="3247"/>
                    </a:cxn>
                    <a:cxn ang="0">
                      <a:pos x="2731" y="3251"/>
                    </a:cxn>
                    <a:cxn ang="0">
                      <a:pos x="2997" y="3236"/>
                    </a:cxn>
                    <a:cxn ang="0">
                      <a:pos x="3277" y="3201"/>
                    </a:cxn>
                    <a:cxn ang="0">
                      <a:pos x="3575" y="3144"/>
                    </a:cxn>
                  </a:cxnLst>
                  <a:rect l="0" t="0" r="r" b="b"/>
                  <a:pathLst>
                    <a:path w="3813" h="3251">
                      <a:moveTo>
                        <a:pt x="3729" y="3105"/>
                      </a:moveTo>
                      <a:lnTo>
                        <a:pt x="3729" y="3105"/>
                      </a:lnTo>
                      <a:lnTo>
                        <a:pt x="3744" y="3101"/>
                      </a:lnTo>
                      <a:lnTo>
                        <a:pt x="3757" y="3095"/>
                      </a:lnTo>
                      <a:lnTo>
                        <a:pt x="3768" y="3087"/>
                      </a:lnTo>
                      <a:lnTo>
                        <a:pt x="3778" y="3079"/>
                      </a:lnTo>
                      <a:lnTo>
                        <a:pt x="3787" y="3068"/>
                      </a:lnTo>
                      <a:lnTo>
                        <a:pt x="3794" y="3057"/>
                      </a:lnTo>
                      <a:lnTo>
                        <a:pt x="3800" y="3045"/>
                      </a:lnTo>
                      <a:lnTo>
                        <a:pt x="3805" y="3031"/>
                      </a:lnTo>
                      <a:lnTo>
                        <a:pt x="3809" y="3017"/>
                      </a:lnTo>
                      <a:lnTo>
                        <a:pt x="3810" y="3002"/>
                      </a:lnTo>
                      <a:lnTo>
                        <a:pt x="3812" y="2986"/>
                      </a:lnTo>
                      <a:lnTo>
                        <a:pt x="3813" y="2970"/>
                      </a:lnTo>
                      <a:lnTo>
                        <a:pt x="3812" y="2934"/>
                      </a:lnTo>
                      <a:lnTo>
                        <a:pt x="3809" y="2896"/>
                      </a:lnTo>
                      <a:lnTo>
                        <a:pt x="3803" y="2857"/>
                      </a:lnTo>
                      <a:lnTo>
                        <a:pt x="3797" y="2816"/>
                      </a:lnTo>
                      <a:lnTo>
                        <a:pt x="3781" y="2735"/>
                      </a:lnTo>
                      <a:lnTo>
                        <a:pt x="3774" y="2695"/>
                      </a:lnTo>
                      <a:lnTo>
                        <a:pt x="3768" y="2657"/>
                      </a:lnTo>
                      <a:lnTo>
                        <a:pt x="3762" y="2620"/>
                      </a:lnTo>
                      <a:lnTo>
                        <a:pt x="3759" y="2585"/>
                      </a:lnTo>
                      <a:lnTo>
                        <a:pt x="3759" y="2585"/>
                      </a:lnTo>
                      <a:lnTo>
                        <a:pt x="3756" y="2518"/>
                      </a:lnTo>
                      <a:lnTo>
                        <a:pt x="3750" y="2452"/>
                      </a:lnTo>
                      <a:lnTo>
                        <a:pt x="3744" y="2386"/>
                      </a:lnTo>
                      <a:lnTo>
                        <a:pt x="3735" y="2321"/>
                      </a:lnTo>
                      <a:lnTo>
                        <a:pt x="3725" y="2256"/>
                      </a:lnTo>
                      <a:lnTo>
                        <a:pt x="3713" y="2191"/>
                      </a:lnTo>
                      <a:lnTo>
                        <a:pt x="3700" y="2128"/>
                      </a:lnTo>
                      <a:lnTo>
                        <a:pt x="3685" y="2064"/>
                      </a:lnTo>
                      <a:lnTo>
                        <a:pt x="3669" y="2001"/>
                      </a:lnTo>
                      <a:lnTo>
                        <a:pt x="3651" y="1939"/>
                      </a:lnTo>
                      <a:lnTo>
                        <a:pt x="3632" y="1877"/>
                      </a:lnTo>
                      <a:lnTo>
                        <a:pt x="3611" y="1817"/>
                      </a:lnTo>
                      <a:lnTo>
                        <a:pt x="3589" y="1756"/>
                      </a:lnTo>
                      <a:lnTo>
                        <a:pt x="3567" y="1696"/>
                      </a:lnTo>
                      <a:lnTo>
                        <a:pt x="3542" y="1637"/>
                      </a:lnTo>
                      <a:lnTo>
                        <a:pt x="3516" y="1579"/>
                      </a:lnTo>
                      <a:lnTo>
                        <a:pt x="3489" y="1522"/>
                      </a:lnTo>
                      <a:lnTo>
                        <a:pt x="3460" y="1464"/>
                      </a:lnTo>
                      <a:lnTo>
                        <a:pt x="3430" y="1408"/>
                      </a:lnTo>
                      <a:lnTo>
                        <a:pt x="3399" y="1354"/>
                      </a:lnTo>
                      <a:lnTo>
                        <a:pt x="3365" y="1299"/>
                      </a:lnTo>
                      <a:lnTo>
                        <a:pt x="3333" y="1244"/>
                      </a:lnTo>
                      <a:lnTo>
                        <a:pt x="3297" y="1191"/>
                      </a:lnTo>
                      <a:lnTo>
                        <a:pt x="3261" y="1140"/>
                      </a:lnTo>
                      <a:lnTo>
                        <a:pt x="3224" y="1090"/>
                      </a:lnTo>
                      <a:lnTo>
                        <a:pt x="3185" y="1038"/>
                      </a:lnTo>
                      <a:lnTo>
                        <a:pt x="3146" y="989"/>
                      </a:lnTo>
                      <a:lnTo>
                        <a:pt x="3106" y="941"/>
                      </a:lnTo>
                      <a:lnTo>
                        <a:pt x="3063" y="894"/>
                      </a:lnTo>
                      <a:lnTo>
                        <a:pt x="3020" y="848"/>
                      </a:lnTo>
                      <a:lnTo>
                        <a:pt x="2978" y="802"/>
                      </a:lnTo>
                      <a:lnTo>
                        <a:pt x="2932" y="758"/>
                      </a:lnTo>
                      <a:lnTo>
                        <a:pt x="2886" y="714"/>
                      </a:lnTo>
                      <a:lnTo>
                        <a:pt x="2840" y="672"/>
                      </a:lnTo>
                      <a:lnTo>
                        <a:pt x="2792" y="631"/>
                      </a:lnTo>
                      <a:lnTo>
                        <a:pt x="2743" y="591"/>
                      </a:lnTo>
                      <a:lnTo>
                        <a:pt x="2695" y="552"/>
                      </a:lnTo>
                      <a:lnTo>
                        <a:pt x="2644" y="515"/>
                      </a:lnTo>
                      <a:lnTo>
                        <a:pt x="2593" y="478"/>
                      </a:lnTo>
                      <a:lnTo>
                        <a:pt x="2540" y="442"/>
                      </a:lnTo>
                      <a:lnTo>
                        <a:pt x="2487" y="408"/>
                      </a:lnTo>
                      <a:lnTo>
                        <a:pt x="2434" y="375"/>
                      </a:lnTo>
                      <a:lnTo>
                        <a:pt x="2379" y="344"/>
                      </a:lnTo>
                      <a:lnTo>
                        <a:pt x="2323" y="313"/>
                      </a:lnTo>
                      <a:lnTo>
                        <a:pt x="2267" y="283"/>
                      </a:lnTo>
                      <a:lnTo>
                        <a:pt x="2211" y="255"/>
                      </a:lnTo>
                      <a:lnTo>
                        <a:pt x="2153" y="229"/>
                      </a:lnTo>
                      <a:lnTo>
                        <a:pt x="2096" y="204"/>
                      </a:lnTo>
                      <a:lnTo>
                        <a:pt x="2037" y="180"/>
                      </a:lnTo>
                      <a:lnTo>
                        <a:pt x="1977" y="158"/>
                      </a:lnTo>
                      <a:lnTo>
                        <a:pt x="1918" y="137"/>
                      </a:lnTo>
                      <a:lnTo>
                        <a:pt x="1857" y="117"/>
                      </a:lnTo>
                      <a:lnTo>
                        <a:pt x="1795" y="99"/>
                      </a:lnTo>
                      <a:lnTo>
                        <a:pt x="1733" y="83"/>
                      </a:lnTo>
                      <a:lnTo>
                        <a:pt x="1671" y="66"/>
                      </a:lnTo>
                      <a:lnTo>
                        <a:pt x="1608" y="53"/>
                      </a:lnTo>
                      <a:lnTo>
                        <a:pt x="1545" y="41"/>
                      </a:lnTo>
                      <a:lnTo>
                        <a:pt x="1481" y="31"/>
                      </a:lnTo>
                      <a:lnTo>
                        <a:pt x="1418" y="22"/>
                      </a:lnTo>
                      <a:lnTo>
                        <a:pt x="1353" y="15"/>
                      </a:lnTo>
                      <a:lnTo>
                        <a:pt x="1288" y="9"/>
                      </a:lnTo>
                      <a:lnTo>
                        <a:pt x="1222" y="5"/>
                      </a:lnTo>
                      <a:lnTo>
                        <a:pt x="1157" y="2"/>
                      </a:lnTo>
                      <a:lnTo>
                        <a:pt x="1091" y="0"/>
                      </a:lnTo>
                      <a:lnTo>
                        <a:pt x="1091" y="0"/>
                      </a:lnTo>
                      <a:lnTo>
                        <a:pt x="1026" y="2"/>
                      </a:lnTo>
                      <a:lnTo>
                        <a:pt x="962" y="3"/>
                      </a:lnTo>
                      <a:lnTo>
                        <a:pt x="902" y="7"/>
                      </a:lnTo>
                      <a:lnTo>
                        <a:pt x="841" y="12"/>
                      </a:lnTo>
                      <a:lnTo>
                        <a:pt x="785" y="18"/>
                      </a:lnTo>
                      <a:lnTo>
                        <a:pt x="729" y="24"/>
                      </a:lnTo>
                      <a:lnTo>
                        <a:pt x="676" y="31"/>
                      </a:lnTo>
                      <a:lnTo>
                        <a:pt x="625" y="40"/>
                      </a:lnTo>
                      <a:lnTo>
                        <a:pt x="575" y="49"/>
                      </a:lnTo>
                      <a:lnTo>
                        <a:pt x="527" y="59"/>
                      </a:lnTo>
                      <a:lnTo>
                        <a:pt x="480" y="69"/>
                      </a:lnTo>
                      <a:lnTo>
                        <a:pt x="437" y="80"/>
                      </a:lnTo>
                      <a:lnTo>
                        <a:pt x="355" y="103"/>
                      </a:lnTo>
                      <a:lnTo>
                        <a:pt x="283" y="125"/>
                      </a:lnTo>
                      <a:lnTo>
                        <a:pt x="216" y="149"/>
                      </a:lnTo>
                      <a:lnTo>
                        <a:pt x="160" y="173"/>
                      </a:lnTo>
                      <a:lnTo>
                        <a:pt x="112" y="193"/>
                      </a:lnTo>
                      <a:lnTo>
                        <a:pt x="72" y="212"/>
                      </a:lnTo>
                      <a:lnTo>
                        <a:pt x="41" y="229"/>
                      </a:lnTo>
                      <a:lnTo>
                        <a:pt x="17" y="240"/>
                      </a:lnTo>
                      <a:lnTo>
                        <a:pt x="0" y="251"/>
                      </a:lnTo>
                      <a:lnTo>
                        <a:pt x="0" y="251"/>
                      </a:lnTo>
                      <a:lnTo>
                        <a:pt x="1" y="308"/>
                      </a:lnTo>
                      <a:lnTo>
                        <a:pt x="6" y="379"/>
                      </a:lnTo>
                      <a:lnTo>
                        <a:pt x="11" y="463"/>
                      </a:lnTo>
                      <a:lnTo>
                        <a:pt x="23" y="559"/>
                      </a:lnTo>
                      <a:lnTo>
                        <a:pt x="37" y="667"/>
                      </a:lnTo>
                      <a:lnTo>
                        <a:pt x="57" y="782"/>
                      </a:lnTo>
                      <a:lnTo>
                        <a:pt x="67" y="843"/>
                      </a:lnTo>
                      <a:lnTo>
                        <a:pt x="81" y="907"/>
                      </a:lnTo>
                      <a:lnTo>
                        <a:pt x="95" y="972"/>
                      </a:lnTo>
                      <a:lnTo>
                        <a:pt x="110" y="1038"/>
                      </a:lnTo>
                      <a:lnTo>
                        <a:pt x="128" y="1106"/>
                      </a:lnTo>
                      <a:lnTo>
                        <a:pt x="147" y="1175"/>
                      </a:lnTo>
                      <a:lnTo>
                        <a:pt x="166" y="1246"/>
                      </a:lnTo>
                      <a:lnTo>
                        <a:pt x="188" y="1318"/>
                      </a:lnTo>
                      <a:lnTo>
                        <a:pt x="212" y="1390"/>
                      </a:lnTo>
                      <a:lnTo>
                        <a:pt x="238" y="1463"/>
                      </a:lnTo>
                      <a:lnTo>
                        <a:pt x="265" y="1536"/>
                      </a:lnTo>
                      <a:lnTo>
                        <a:pt x="294" y="1610"/>
                      </a:lnTo>
                      <a:lnTo>
                        <a:pt x="327" y="1684"/>
                      </a:lnTo>
                      <a:lnTo>
                        <a:pt x="359" y="1759"/>
                      </a:lnTo>
                      <a:lnTo>
                        <a:pt x="395" y="1833"/>
                      </a:lnTo>
                      <a:lnTo>
                        <a:pt x="433" y="1906"/>
                      </a:lnTo>
                      <a:lnTo>
                        <a:pt x="473" y="1980"/>
                      </a:lnTo>
                      <a:lnTo>
                        <a:pt x="514" y="2052"/>
                      </a:lnTo>
                      <a:lnTo>
                        <a:pt x="560" y="2125"/>
                      </a:lnTo>
                      <a:lnTo>
                        <a:pt x="606" y="2197"/>
                      </a:lnTo>
                      <a:lnTo>
                        <a:pt x="656" y="2266"/>
                      </a:lnTo>
                      <a:lnTo>
                        <a:pt x="707" y="2336"/>
                      </a:lnTo>
                      <a:lnTo>
                        <a:pt x="762" y="2403"/>
                      </a:lnTo>
                      <a:lnTo>
                        <a:pt x="819" y="2470"/>
                      </a:lnTo>
                      <a:lnTo>
                        <a:pt x="878" y="2535"/>
                      </a:lnTo>
                      <a:lnTo>
                        <a:pt x="940" y="2598"/>
                      </a:lnTo>
                      <a:lnTo>
                        <a:pt x="1007" y="2658"/>
                      </a:lnTo>
                      <a:lnTo>
                        <a:pt x="1040" y="2688"/>
                      </a:lnTo>
                      <a:lnTo>
                        <a:pt x="1074" y="2717"/>
                      </a:lnTo>
                      <a:lnTo>
                        <a:pt x="1110" y="2747"/>
                      </a:lnTo>
                      <a:lnTo>
                        <a:pt x="1145" y="2775"/>
                      </a:lnTo>
                      <a:lnTo>
                        <a:pt x="1182" y="2801"/>
                      </a:lnTo>
                      <a:lnTo>
                        <a:pt x="1220" y="2829"/>
                      </a:lnTo>
                      <a:lnTo>
                        <a:pt x="1257" y="2855"/>
                      </a:lnTo>
                      <a:lnTo>
                        <a:pt x="1297" y="2881"/>
                      </a:lnTo>
                      <a:lnTo>
                        <a:pt x="1337" y="2905"/>
                      </a:lnTo>
                      <a:lnTo>
                        <a:pt x="1377" y="2930"/>
                      </a:lnTo>
                      <a:lnTo>
                        <a:pt x="1418" y="2953"/>
                      </a:lnTo>
                      <a:lnTo>
                        <a:pt x="1461" y="2975"/>
                      </a:lnTo>
                      <a:lnTo>
                        <a:pt x="1503" y="2998"/>
                      </a:lnTo>
                      <a:lnTo>
                        <a:pt x="1548" y="3018"/>
                      </a:lnTo>
                      <a:lnTo>
                        <a:pt x="1592" y="3039"/>
                      </a:lnTo>
                      <a:lnTo>
                        <a:pt x="1637" y="3059"/>
                      </a:lnTo>
                      <a:lnTo>
                        <a:pt x="1683" y="3077"/>
                      </a:lnTo>
                      <a:lnTo>
                        <a:pt x="1730" y="3095"/>
                      </a:lnTo>
                      <a:lnTo>
                        <a:pt x="1779" y="3113"/>
                      </a:lnTo>
                      <a:lnTo>
                        <a:pt x="1828" y="3129"/>
                      </a:lnTo>
                      <a:lnTo>
                        <a:pt x="1878" y="3144"/>
                      </a:lnTo>
                      <a:lnTo>
                        <a:pt x="1928" y="3158"/>
                      </a:lnTo>
                      <a:lnTo>
                        <a:pt x="1980" y="3172"/>
                      </a:lnTo>
                      <a:lnTo>
                        <a:pt x="2031" y="3185"/>
                      </a:lnTo>
                      <a:lnTo>
                        <a:pt x="2084" y="3195"/>
                      </a:lnTo>
                      <a:lnTo>
                        <a:pt x="2139" y="3205"/>
                      </a:lnTo>
                      <a:lnTo>
                        <a:pt x="2193" y="3216"/>
                      </a:lnTo>
                      <a:lnTo>
                        <a:pt x="2249" y="3223"/>
                      </a:lnTo>
                      <a:lnTo>
                        <a:pt x="2307" y="3231"/>
                      </a:lnTo>
                      <a:lnTo>
                        <a:pt x="2364" y="3238"/>
                      </a:lnTo>
                      <a:lnTo>
                        <a:pt x="2423" y="3242"/>
                      </a:lnTo>
                      <a:lnTo>
                        <a:pt x="2484" y="3247"/>
                      </a:lnTo>
                      <a:lnTo>
                        <a:pt x="2544" y="3250"/>
                      </a:lnTo>
                      <a:lnTo>
                        <a:pt x="2606" y="3251"/>
                      </a:lnTo>
                      <a:lnTo>
                        <a:pt x="2668" y="3251"/>
                      </a:lnTo>
                      <a:lnTo>
                        <a:pt x="2731" y="3251"/>
                      </a:lnTo>
                      <a:lnTo>
                        <a:pt x="2796" y="3250"/>
                      </a:lnTo>
                      <a:lnTo>
                        <a:pt x="2863" y="3247"/>
                      </a:lnTo>
                      <a:lnTo>
                        <a:pt x="2929" y="3242"/>
                      </a:lnTo>
                      <a:lnTo>
                        <a:pt x="2997" y="3236"/>
                      </a:lnTo>
                      <a:lnTo>
                        <a:pt x="3065" y="3229"/>
                      </a:lnTo>
                      <a:lnTo>
                        <a:pt x="3134" y="3220"/>
                      </a:lnTo>
                      <a:lnTo>
                        <a:pt x="3205" y="3211"/>
                      </a:lnTo>
                      <a:lnTo>
                        <a:pt x="3277" y="3201"/>
                      </a:lnTo>
                      <a:lnTo>
                        <a:pt x="3349" y="3188"/>
                      </a:lnTo>
                      <a:lnTo>
                        <a:pt x="3423" y="3174"/>
                      </a:lnTo>
                      <a:lnTo>
                        <a:pt x="3498" y="3160"/>
                      </a:lnTo>
                      <a:lnTo>
                        <a:pt x="3575" y="3144"/>
                      </a:lnTo>
                      <a:lnTo>
                        <a:pt x="3651" y="3124"/>
                      </a:lnTo>
                      <a:lnTo>
                        <a:pt x="3729" y="3105"/>
                      </a:lnTo>
                      <a:lnTo>
                        <a:pt x="3729" y="3105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accent5">
                        <a:lumMod val="75000"/>
                      </a:schemeClr>
                    </a:gs>
                    <a:gs pos="3000">
                      <a:schemeClr val="accent5">
                        <a:lumMod val="5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11">
                  <a:extLst>
                    <a:ext uri="{FF2B5EF4-FFF2-40B4-BE49-F238E27FC236}">
                      <a16:creationId xmlns:a16="http://schemas.microsoft.com/office/drawing/2014/main" xmlns="" id="{692235D2-996B-8547-A51F-344D742A60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9550" y="862013"/>
                  <a:ext cx="3157538" cy="3313113"/>
                </a:xfrm>
                <a:custGeom>
                  <a:avLst/>
                  <a:gdLst/>
                  <a:ahLst/>
                  <a:cxnLst>
                    <a:cxn ang="0">
                      <a:pos x="4176" y="5653"/>
                    </a:cxn>
                    <a:cxn ang="0">
                      <a:pos x="3948" y="5836"/>
                    </a:cxn>
                    <a:cxn ang="0">
                      <a:pos x="3697" y="5989"/>
                    </a:cxn>
                    <a:cxn ang="0">
                      <a:pos x="3426" y="6110"/>
                    </a:cxn>
                    <a:cxn ang="0">
                      <a:pos x="3137" y="6199"/>
                    </a:cxn>
                    <a:cxn ang="0">
                      <a:pos x="2832" y="6249"/>
                    </a:cxn>
                    <a:cxn ang="0">
                      <a:pos x="2578" y="6262"/>
                    </a:cxn>
                    <a:cxn ang="0">
                      <a:pos x="2263" y="6243"/>
                    </a:cxn>
                    <a:cxn ang="0">
                      <a:pos x="1958" y="6184"/>
                    </a:cxn>
                    <a:cxn ang="0">
                      <a:pos x="1666" y="6091"/>
                    </a:cxn>
                    <a:cxn ang="0">
                      <a:pos x="1389" y="5964"/>
                    </a:cxn>
                    <a:cxn ang="0">
                      <a:pos x="1129" y="5806"/>
                    </a:cxn>
                    <a:cxn ang="0">
                      <a:pos x="890" y="5621"/>
                    </a:cxn>
                    <a:cxn ang="0">
                      <a:pos x="674" y="5408"/>
                    </a:cxn>
                    <a:cxn ang="0">
                      <a:pos x="484" y="5172"/>
                    </a:cxn>
                    <a:cxn ang="0">
                      <a:pos x="320" y="4916"/>
                    </a:cxn>
                    <a:cxn ang="0">
                      <a:pos x="189" y="4640"/>
                    </a:cxn>
                    <a:cxn ang="0">
                      <a:pos x="90" y="4348"/>
                    </a:cxn>
                    <a:cxn ang="0">
                      <a:pos x="25" y="4043"/>
                    </a:cxn>
                    <a:cxn ang="0">
                      <a:pos x="3" y="3791"/>
                    </a:cxn>
                    <a:cxn ang="0">
                      <a:pos x="9" y="3521"/>
                    </a:cxn>
                    <a:cxn ang="0">
                      <a:pos x="47" y="3263"/>
                    </a:cxn>
                    <a:cxn ang="0">
                      <a:pos x="113" y="3017"/>
                    </a:cxn>
                    <a:cxn ang="0">
                      <a:pos x="245" y="2686"/>
                    </a:cxn>
                    <a:cxn ang="0">
                      <a:pos x="485" y="2237"/>
                    </a:cxn>
                    <a:cxn ang="0">
                      <a:pos x="1589" y="146"/>
                    </a:cxn>
                    <a:cxn ang="0">
                      <a:pos x="1418" y="406"/>
                    </a:cxn>
                    <a:cxn ang="0">
                      <a:pos x="1277" y="684"/>
                    </a:cxn>
                    <a:cxn ang="0">
                      <a:pos x="1168" y="984"/>
                    </a:cxn>
                    <a:cxn ang="0">
                      <a:pos x="1095" y="1296"/>
                    </a:cxn>
                    <a:cxn ang="0">
                      <a:pos x="1058" y="1623"/>
                    </a:cxn>
                    <a:cxn ang="0">
                      <a:pos x="1057" y="1893"/>
                    </a:cxn>
                    <a:cxn ang="0">
                      <a:pos x="1095" y="2253"/>
                    </a:cxn>
                    <a:cxn ang="0">
                      <a:pos x="1175" y="2599"/>
                    </a:cxn>
                    <a:cxn ang="0">
                      <a:pos x="1296" y="2928"/>
                    </a:cxn>
                    <a:cxn ang="0">
                      <a:pos x="1455" y="3238"/>
                    </a:cxn>
                    <a:cxn ang="0">
                      <a:pos x="1647" y="3527"/>
                    </a:cxn>
                    <a:cxn ang="0">
                      <a:pos x="1871" y="3791"/>
                    </a:cxn>
                    <a:cxn ang="0">
                      <a:pos x="2123" y="4027"/>
                    </a:cxn>
                    <a:cxn ang="0">
                      <a:pos x="2400" y="4233"/>
                    </a:cxn>
                    <a:cxn ang="0">
                      <a:pos x="2701" y="4406"/>
                    </a:cxn>
                    <a:cxn ang="0">
                      <a:pos x="3021" y="4544"/>
                    </a:cxn>
                    <a:cxn ang="0">
                      <a:pos x="3357" y="4643"/>
                    </a:cxn>
                    <a:cxn ang="0">
                      <a:pos x="3708" y="4701"/>
                    </a:cxn>
                    <a:cxn ang="0">
                      <a:pos x="3997" y="4715"/>
                    </a:cxn>
                    <a:cxn ang="0">
                      <a:pos x="4358" y="4692"/>
                    </a:cxn>
                    <a:cxn ang="0">
                      <a:pos x="4701" y="4625"/>
                    </a:cxn>
                    <a:cxn ang="0">
                      <a:pos x="5028" y="4518"/>
                    </a:cxn>
                    <a:cxn ang="0">
                      <a:pos x="5334" y="4372"/>
                    </a:cxn>
                    <a:cxn ang="0">
                      <a:pos x="5615" y="4189"/>
                    </a:cxn>
                    <a:cxn ang="0">
                      <a:pos x="5870" y="3975"/>
                    </a:cxn>
                  </a:cxnLst>
                  <a:rect l="0" t="0" r="r" b="b"/>
                  <a:pathLst>
                    <a:path w="5965" h="6262">
                      <a:moveTo>
                        <a:pt x="4302" y="5531"/>
                      </a:moveTo>
                      <a:lnTo>
                        <a:pt x="4302" y="5531"/>
                      </a:lnTo>
                      <a:lnTo>
                        <a:pt x="4262" y="5573"/>
                      </a:lnTo>
                      <a:lnTo>
                        <a:pt x="4219" y="5613"/>
                      </a:lnTo>
                      <a:lnTo>
                        <a:pt x="4176" y="5653"/>
                      </a:lnTo>
                      <a:lnTo>
                        <a:pt x="4134" y="5693"/>
                      </a:lnTo>
                      <a:lnTo>
                        <a:pt x="4088" y="5730"/>
                      </a:lnTo>
                      <a:lnTo>
                        <a:pt x="4042" y="5767"/>
                      </a:lnTo>
                      <a:lnTo>
                        <a:pt x="3997" y="5802"/>
                      </a:lnTo>
                      <a:lnTo>
                        <a:pt x="3948" y="5836"/>
                      </a:lnTo>
                      <a:lnTo>
                        <a:pt x="3899" y="5868"/>
                      </a:lnTo>
                      <a:lnTo>
                        <a:pt x="3851" y="5901"/>
                      </a:lnTo>
                      <a:lnTo>
                        <a:pt x="3800" y="5932"/>
                      </a:lnTo>
                      <a:lnTo>
                        <a:pt x="3749" y="5961"/>
                      </a:lnTo>
                      <a:lnTo>
                        <a:pt x="3697" y="5989"/>
                      </a:lnTo>
                      <a:lnTo>
                        <a:pt x="3644" y="6016"/>
                      </a:lnTo>
                      <a:lnTo>
                        <a:pt x="3591" y="6041"/>
                      </a:lnTo>
                      <a:lnTo>
                        <a:pt x="3537" y="6066"/>
                      </a:lnTo>
                      <a:lnTo>
                        <a:pt x="3482" y="6089"/>
                      </a:lnTo>
                      <a:lnTo>
                        <a:pt x="3426" y="6110"/>
                      </a:lnTo>
                      <a:lnTo>
                        <a:pt x="3370" y="6131"/>
                      </a:lnTo>
                      <a:lnTo>
                        <a:pt x="3313" y="6150"/>
                      </a:lnTo>
                      <a:lnTo>
                        <a:pt x="3255" y="6168"/>
                      </a:lnTo>
                      <a:lnTo>
                        <a:pt x="3196" y="6184"/>
                      </a:lnTo>
                      <a:lnTo>
                        <a:pt x="3137" y="6199"/>
                      </a:lnTo>
                      <a:lnTo>
                        <a:pt x="3077" y="6212"/>
                      </a:lnTo>
                      <a:lnTo>
                        <a:pt x="3016" y="6224"/>
                      </a:lnTo>
                      <a:lnTo>
                        <a:pt x="2956" y="6234"/>
                      </a:lnTo>
                      <a:lnTo>
                        <a:pt x="2894" y="6241"/>
                      </a:lnTo>
                      <a:lnTo>
                        <a:pt x="2832" y="6249"/>
                      </a:lnTo>
                      <a:lnTo>
                        <a:pt x="2770" y="6255"/>
                      </a:lnTo>
                      <a:lnTo>
                        <a:pt x="2707" y="6259"/>
                      </a:lnTo>
                      <a:lnTo>
                        <a:pt x="2643" y="6260"/>
                      </a:lnTo>
                      <a:lnTo>
                        <a:pt x="2578" y="6262"/>
                      </a:lnTo>
                      <a:lnTo>
                        <a:pt x="2578" y="6262"/>
                      </a:lnTo>
                      <a:lnTo>
                        <a:pt x="2515" y="6260"/>
                      </a:lnTo>
                      <a:lnTo>
                        <a:pt x="2452" y="6259"/>
                      </a:lnTo>
                      <a:lnTo>
                        <a:pt x="2388" y="6255"/>
                      </a:lnTo>
                      <a:lnTo>
                        <a:pt x="2325" y="6249"/>
                      </a:lnTo>
                      <a:lnTo>
                        <a:pt x="2263" y="6243"/>
                      </a:lnTo>
                      <a:lnTo>
                        <a:pt x="2201" y="6234"/>
                      </a:lnTo>
                      <a:lnTo>
                        <a:pt x="2139" y="6224"/>
                      </a:lnTo>
                      <a:lnTo>
                        <a:pt x="2079" y="6212"/>
                      </a:lnTo>
                      <a:lnTo>
                        <a:pt x="2018" y="6199"/>
                      </a:lnTo>
                      <a:lnTo>
                        <a:pt x="1958" y="6184"/>
                      </a:lnTo>
                      <a:lnTo>
                        <a:pt x="1899" y="6168"/>
                      </a:lnTo>
                      <a:lnTo>
                        <a:pt x="1838" y="6151"/>
                      </a:lnTo>
                      <a:lnTo>
                        <a:pt x="1781" y="6132"/>
                      </a:lnTo>
                      <a:lnTo>
                        <a:pt x="1722" y="6112"/>
                      </a:lnTo>
                      <a:lnTo>
                        <a:pt x="1666" y="6091"/>
                      </a:lnTo>
                      <a:lnTo>
                        <a:pt x="1608" y="6067"/>
                      </a:lnTo>
                      <a:lnTo>
                        <a:pt x="1552" y="6044"/>
                      </a:lnTo>
                      <a:lnTo>
                        <a:pt x="1496" y="6019"/>
                      </a:lnTo>
                      <a:lnTo>
                        <a:pt x="1442" y="5992"/>
                      </a:lnTo>
                      <a:lnTo>
                        <a:pt x="1389" y="5964"/>
                      </a:lnTo>
                      <a:lnTo>
                        <a:pt x="1334" y="5935"/>
                      </a:lnTo>
                      <a:lnTo>
                        <a:pt x="1283" y="5904"/>
                      </a:lnTo>
                      <a:lnTo>
                        <a:pt x="1229" y="5873"/>
                      </a:lnTo>
                      <a:lnTo>
                        <a:pt x="1179" y="5840"/>
                      </a:lnTo>
                      <a:lnTo>
                        <a:pt x="1129" y="5806"/>
                      </a:lnTo>
                      <a:lnTo>
                        <a:pt x="1079" y="5771"/>
                      </a:lnTo>
                      <a:lnTo>
                        <a:pt x="1030" y="5734"/>
                      </a:lnTo>
                      <a:lnTo>
                        <a:pt x="983" y="5697"/>
                      </a:lnTo>
                      <a:lnTo>
                        <a:pt x="936" y="5659"/>
                      </a:lnTo>
                      <a:lnTo>
                        <a:pt x="890" y="5621"/>
                      </a:lnTo>
                      <a:lnTo>
                        <a:pt x="845" y="5579"/>
                      </a:lnTo>
                      <a:lnTo>
                        <a:pt x="800" y="5538"/>
                      </a:lnTo>
                      <a:lnTo>
                        <a:pt x="758" y="5495"/>
                      </a:lnTo>
                      <a:lnTo>
                        <a:pt x="715" y="5452"/>
                      </a:lnTo>
                      <a:lnTo>
                        <a:pt x="674" y="5408"/>
                      </a:lnTo>
                      <a:lnTo>
                        <a:pt x="634" y="5363"/>
                      </a:lnTo>
                      <a:lnTo>
                        <a:pt x="594" y="5317"/>
                      </a:lnTo>
                      <a:lnTo>
                        <a:pt x="556" y="5270"/>
                      </a:lnTo>
                      <a:lnTo>
                        <a:pt x="519" y="5221"/>
                      </a:lnTo>
                      <a:lnTo>
                        <a:pt x="484" y="5172"/>
                      </a:lnTo>
                      <a:lnTo>
                        <a:pt x="448" y="5122"/>
                      </a:lnTo>
                      <a:lnTo>
                        <a:pt x="414" y="5072"/>
                      </a:lnTo>
                      <a:lnTo>
                        <a:pt x="382" y="5020"/>
                      </a:lnTo>
                      <a:lnTo>
                        <a:pt x="351" y="4969"/>
                      </a:lnTo>
                      <a:lnTo>
                        <a:pt x="320" y="4916"/>
                      </a:lnTo>
                      <a:lnTo>
                        <a:pt x="292" y="4861"/>
                      </a:lnTo>
                      <a:lnTo>
                        <a:pt x="264" y="4808"/>
                      </a:lnTo>
                      <a:lnTo>
                        <a:pt x="237" y="4752"/>
                      </a:lnTo>
                      <a:lnTo>
                        <a:pt x="212" y="4696"/>
                      </a:lnTo>
                      <a:lnTo>
                        <a:pt x="189" y="4640"/>
                      </a:lnTo>
                      <a:lnTo>
                        <a:pt x="165" y="4583"/>
                      </a:lnTo>
                      <a:lnTo>
                        <a:pt x="144" y="4525"/>
                      </a:lnTo>
                      <a:lnTo>
                        <a:pt x="125" y="4468"/>
                      </a:lnTo>
                      <a:lnTo>
                        <a:pt x="106" y="4409"/>
                      </a:lnTo>
                      <a:lnTo>
                        <a:pt x="90" y="4348"/>
                      </a:lnTo>
                      <a:lnTo>
                        <a:pt x="74" y="4289"/>
                      </a:lnTo>
                      <a:lnTo>
                        <a:pt x="59" y="4227"/>
                      </a:lnTo>
                      <a:lnTo>
                        <a:pt x="47" y="4167"/>
                      </a:lnTo>
                      <a:lnTo>
                        <a:pt x="35" y="4105"/>
                      </a:lnTo>
                      <a:lnTo>
                        <a:pt x="25" y="4043"/>
                      </a:lnTo>
                      <a:lnTo>
                        <a:pt x="18" y="3981"/>
                      </a:lnTo>
                      <a:lnTo>
                        <a:pt x="10" y="3918"/>
                      </a:lnTo>
                      <a:lnTo>
                        <a:pt x="6" y="3854"/>
                      </a:lnTo>
                      <a:lnTo>
                        <a:pt x="3" y="3791"/>
                      </a:lnTo>
                      <a:lnTo>
                        <a:pt x="3" y="3791"/>
                      </a:lnTo>
                      <a:lnTo>
                        <a:pt x="0" y="3735"/>
                      </a:lnTo>
                      <a:lnTo>
                        <a:pt x="0" y="3682"/>
                      </a:lnTo>
                      <a:lnTo>
                        <a:pt x="1" y="3627"/>
                      </a:lnTo>
                      <a:lnTo>
                        <a:pt x="4" y="3574"/>
                      </a:lnTo>
                      <a:lnTo>
                        <a:pt x="9" y="3521"/>
                      </a:lnTo>
                      <a:lnTo>
                        <a:pt x="13" y="3468"/>
                      </a:lnTo>
                      <a:lnTo>
                        <a:pt x="21" y="3416"/>
                      </a:lnTo>
                      <a:lnTo>
                        <a:pt x="28" y="3365"/>
                      </a:lnTo>
                      <a:lnTo>
                        <a:pt x="37" y="3315"/>
                      </a:lnTo>
                      <a:lnTo>
                        <a:pt x="47" y="3263"/>
                      </a:lnTo>
                      <a:lnTo>
                        <a:pt x="59" y="3213"/>
                      </a:lnTo>
                      <a:lnTo>
                        <a:pt x="71" y="3164"/>
                      </a:lnTo>
                      <a:lnTo>
                        <a:pt x="84" y="3114"/>
                      </a:lnTo>
                      <a:lnTo>
                        <a:pt x="99" y="3065"/>
                      </a:lnTo>
                      <a:lnTo>
                        <a:pt x="113" y="3017"/>
                      </a:lnTo>
                      <a:lnTo>
                        <a:pt x="130" y="2968"/>
                      </a:lnTo>
                      <a:lnTo>
                        <a:pt x="147" y="2921"/>
                      </a:lnTo>
                      <a:lnTo>
                        <a:pt x="165" y="2874"/>
                      </a:lnTo>
                      <a:lnTo>
                        <a:pt x="203" y="2779"/>
                      </a:lnTo>
                      <a:lnTo>
                        <a:pt x="245" y="2686"/>
                      </a:lnTo>
                      <a:lnTo>
                        <a:pt x="289" y="2594"/>
                      </a:lnTo>
                      <a:lnTo>
                        <a:pt x="335" y="2504"/>
                      </a:lnTo>
                      <a:lnTo>
                        <a:pt x="383" y="2414"/>
                      </a:lnTo>
                      <a:lnTo>
                        <a:pt x="433" y="2325"/>
                      </a:lnTo>
                      <a:lnTo>
                        <a:pt x="485" y="2237"/>
                      </a:lnTo>
                      <a:lnTo>
                        <a:pt x="1706" y="0"/>
                      </a:lnTo>
                      <a:lnTo>
                        <a:pt x="1706" y="0"/>
                      </a:lnTo>
                      <a:lnTo>
                        <a:pt x="1666" y="47"/>
                      </a:lnTo>
                      <a:lnTo>
                        <a:pt x="1627" y="96"/>
                      </a:lnTo>
                      <a:lnTo>
                        <a:pt x="1589" y="146"/>
                      </a:lnTo>
                      <a:lnTo>
                        <a:pt x="1552" y="196"/>
                      </a:lnTo>
                      <a:lnTo>
                        <a:pt x="1517" y="246"/>
                      </a:lnTo>
                      <a:lnTo>
                        <a:pt x="1483" y="299"/>
                      </a:lnTo>
                      <a:lnTo>
                        <a:pt x="1449" y="351"/>
                      </a:lnTo>
                      <a:lnTo>
                        <a:pt x="1418" y="406"/>
                      </a:lnTo>
                      <a:lnTo>
                        <a:pt x="1387" y="460"/>
                      </a:lnTo>
                      <a:lnTo>
                        <a:pt x="1358" y="515"/>
                      </a:lnTo>
                      <a:lnTo>
                        <a:pt x="1330" y="571"/>
                      </a:lnTo>
                      <a:lnTo>
                        <a:pt x="1302" y="627"/>
                      </a:lnTo>
                      <a:lnTo>
                        <a:pt x="1277" y="684"/>
                      </a:lnTo>
                      <a:lnTo>
                        <a:pt x="1252" y="743"/>
                      </a:lnTo>
                      <a:lnTo>
                        <a:pt x="1229" y="802"/>
                      </a:lnTo>
                      <a:lnTo>
                        <a:pt x="1207" y="861"/>
                      </a:lnTo>
                      <a:lnTo>
                        <a:pt x="1187" y="922"/>
                      </a:lnTo>
                      <a:lnTo>
                        <a:pt x="1168" y="984"/>
                      </a:lnTo>
                      <a:lnTo>
                        <a:pt x="1151" y="1044"/>
                      </a:lnTo>
                      <a:lnTo>
                        <a:pt x="1135" y="1106"/>
                      </a:lnTo>
                      <a:lnTo>
                        <a:pt x="1120" y="1169"/>
                      </a:lnTo>
                      <a:lnTo>
                        <a:pt x="1107" y="1233"/>
                      </a:lnTo>
                      <a:lnTo>
                        <a:pt x="1095" y="1296"/>
                      </a:lnTo>
                      <a:lnTo>
                        <a:pt x="1084" y="1361"/>
                      </a:lnTo>
                      <a:lnTo>
                        <a:pt x="1075" y="1426"/>
                      </a:lnTo>
                      <a:lnTo>
                        <a:pt x="1067" y="1492"/>
                      </a:lnTo>
                      <a:lnTo>
                        <a:pt x="1063" y="1557"/>
                      </a:lnTo>
                      <a:lnTo>
                        <a:pt x="1058" y="1623"/>
                      </a:lnTo>
                      <a:lnTo>
                        <a:pt x="1056" y="1691"/>
                      </a:lnTo>
                      <a:lnTo>
                        <a:pt x="1054" y="1758"/>
                      </a:lnTo>
                      <a:lnTo>
                        <a:pt x="1054" y="1825"/>
                      </a:lnTo>
                      <a:lnTo>
                        <a:pt x="1057" y="1893"/>
                      </a:lnTo>
                      <a:lnTo>
                        <a:pt x="1057" y="1893"/>
                      </a:lnTo>
                      <a:lnTo>
                        <a:pt x="1061" y="1967"/>
                      </a:lnTo>
                      <a:lnTo>
                        <a:pt x="1066" y="2039"/>
                      </a:lnTo>
                      <a:lnTo>
                        <a:pt x="1075" y="2111"/>
                      </a:lnTo>
                      <a:lnTo>
                        <a:pt x="1084" y="2182"/>
                      </a:lnTo>
                      <a:lnTo>
                        <a:pt x="1095" y="2253"/>
                      </a:lnTo>
                      <a:lnTo>
                        <a:pt x="1107" y="2324"/>
                      </a:lnTo>
                      <a:lnTo>
                        <a:pt x="1122" y="2393"/>
                      </a:lnTo>
                      <a:lnTo>
                        <a:pt x="1138" y="2462"/>
                      </a:lnTo>
                      <a:lnTo>
                        <a:pt x="1156" y="2532"/>
                      </a:lnTo>
                      <a:lnTo>
                        <a:pt x="1175" y="2599"/>
                      </a:lnTo>
                      <a:lnTo>
                        <a:pt x="1197" y="2666"/>
                      </a:lnTo>
                      <a:lnTo>
                        <a:pt x="1219" y="2732"/>
                      </a:lnTo>
                      <a:lnTo>
                        <a:pt x="1243" y="2799"/>
                      </a:lnTo>
                      <a:lnTo>
                        <a:pt x="1269" y="2863"/>
                      </a:lnTo>
                      <a:lnTo>
                        <a:pt x="1296" y="2928"/>
                      </a:lnTo>
                      <a:lnTo>
                        <a:pt x="1325" y="2992"/>
                      </a:lnTo>
                      <a:lnTo>
                        <a:pt x="1355" y="3055"/>
                      </a:lnTo>
                      <a:lnTo>
                        <a:pt x="1387" y="3117"/>
                      </a:lnTo>
                      <a:lnTo>
                        <a:pt x="1420" y="3179"/>
                      </a:lnTo>
                      <a:lnTo>
                        <a:pt x="1455" y="3238"/>
                      </a:lnTo>
                      <a:lnTo>
                        <a:pt x="1490" y="3298"/>
                      </a:lnTo>
                      <a:lnTo>
                        <a:pt x="1527" y="3357"/>
                      </a:lnTo>
                      <a:lnTo>
                        <a:pt x="1566" y="3415"/>
                      </a:lnTo>
                      <a:lnTo>
                        <a:pt x="1605" y="3471"/>
                      </a:lnTo>
                      <a:lnTo>
                        <a:pt x="1647" y="3527"/>
                      </a:lnTo>
                      <a:lnTo>
                        <a:pt x="1689" y="3581"/>
                      </a:lnTo>
                      <a:lnTo>
                        <a:pt x="1732" y="3636"/>
                      </a:lnTo>
                      <a:lnTo>
                        <a:pt x="1776" y="3689"/>
                      </a:lnTo>
                      <a:lnTo>
                        <a:pt x="1824" y="3741"/>
                      </a:lnTo>
                      <a:lnTo>
                        <a:pt x="1871" y="3791"/>
                      </a:lnTo>
                      <a:lnTo>
                        <a:pt x="1918" y="3841"/>
                      </a:lnTo>
                      <a:lnTo>
                        <a:pt x="1968" y="3888"/>
                      </a:lnTo>
                      <a:lnTo>
                        <a:pt x="2018" y="3935"/>
                      </a:lnTo>
                      <a:lnTo>
                        <a:pt x="2070" y="3982"/>
                      </a:lnTo>
                      <a:lnTo>
                        <a:pt x="2123" y="4027"/>
                      </a:lnTo>
                      <a:lnTo>
                        <a:pt x="2176" y="4071"/>
                      </a:lnTo>
                      <a:lnTo>
                        <a:pt x="2230" y="4114"/>
                      </a:lnTo>
                      <a:lnTo>
                        <a:pt x="2286" y="4155"/>
                      </a:lnTo>
                      <a:lnTo>
                        <a:pt x="2342" y="4195"/>
                      </a:lnTo>
                      <a:lnTo>
                        <a:pt x="2400" y="4233"/>
                      </a:lnTo>
                      <a:lnTo>
                        <a:pt x="2457" y="4270"/>
                      </a:lnTo>
                      <a:lnTo>
                        <a:pt x="2518" y="4307"/>
                      </a:lnTo>
                      <a:lnTo>
                        <a:pt x="2577" y="4341"/>
                      </a:lnTo>
                      <a:lnTo>
                        <a:pt x="2639" y="4375"/>
                      </a:lnTo>
                      <a:lnTo>
                        <a:pt x="2701" y="4406"/>
                      </a:lnTo>
                      <a:lnTo>
                        <a:pt x="2763" y="4437"/>
                      </a:lnTo>
                      <a:lnTo>
                        <a:pt x="2826" y="4466"/>
                      </a:lnTo>
                      <a:lnTo>
                        <a:pt x="2889" y="4493"/>
                      </a:lnTo>
                      <a:lnTo>
                        <a:pt x="2954" y="4519"/>
                      </a:lnTo>
                      <a:lnTo>
                        <a:pt x="3021" y="4544"/>
                      </a:lnTo>
                      <a:lnTo>
                        <a:pt x="3087" y="4566"/>
                      </a:lnTo>
                      <a:lnTo>
                        <a:pt x="3153" y="4588"/>
                      </a:lnTo>
                      <a:lnTo>
                        <a:pt x="3221" y="4608"/>
                      </a:lnTo>
                      <a:lnTo>
                        <a:pt x="3289" y="4627"/>
                      </a:lnTo>
                      <a:lnTo>
                        <a:pt x="3357" y="4643"/>
                      </a:lnTo>
                      <a:lnTo>
                        <a:pt x="3426" y="4658"/>
                      </a:lnTo>
                      <a:lnTo>
                        <a:pt x="3497" y="4671"/>
                      </a:lnTo>
                      <a:lnTo>
                        <a:pt x="3566" y="4683"/>
                      </a:lnTo>
                      <a:lnTo>
                        <a:pt x="3637" y="4692"/>
                      </a:lnTo>
                      <a:lnTo>
                        <a:pt x="3708" y="4701"/>
                      </a:lnTo>
                      <a:lnTo>
                        <a:pt x="3780" y="4706"/>
                      </a:lnTo>
                      <a:lnTo>
                        <a:pt x="3852" y="4711"/>
                      </a:lnTo>
                      <a:lnTo>
                        <a:pt x="3924" y="4714"/>
                      </a:lnTo>
                      <a:lnTo>
                        <a:pt x="3997" y="4715"/>
                      </a:lnTo>
                      <a:lnTo>
                        <a:pt x="3997" y="4715"/>
                      </a:lnTo>
                      <a:lnTo>
                        <a:pt x="4070" y="4714"/>
                      </a:lnTo>
                      <a:lnTo>
                        <a:pt x="4142" y="4711"/>
                      </a:lnTo>
                      <a:lnTo>
                        <a:pt x="4215" y="4706"/>
                      </a:lnTo>
                      <a:lnTo>
                        <a:pt x="4287" y="4701"/>
                      </a:lnTo>
                      <a:lnTo>
                        <a:pt x="4358" y="4692"/>
                      </a:lnTo>
                      <a:lnTo>
                        <a:pt x="4427" y="4683"/>
                      </a:lnTo>
                      <a:lnTo>
                        <a:pt x="4498" y="4671"/>
                      </a:lnTo>
                      <a:lnTo>
                        <a:pt x="4566" y="4658"/>
                      </a:lnTo>
                      <a:lnTo>
                        <a:pt x="4635" y="4642"/>
                      </a:lnTo>
                      <a:lnTo>
                        <a:pt x="4701" y="4625"/>
                      </a:lnTo>
                      <a:lnTo>
                        <a:pt x="4769" y="4606"/>
                      </a:lnTo>
                      <a:lnTo>
                        <a:pt x="4835" y="4587"/>
                      </a:lnTo>
                      <a:lnTo>
                        <a:pt x="4900" y="4565"/>
                      </a:lnTo>
                      <a:lnTo>
                        <a:pt x="4965" y="4543"/>
                      </a:lnTo>
                      <a:lnTo>
                        <a:pt x="5028" y="4518"/>
                      </a:lnTo>
                      <a:lnTo>
                        <a:pt x="5090" y="4491"/>
                      </a:lnTo>
                      <a:lnTo>
                        <a:pt x="5152" y="4463"/>
                      </a:lnTo>
                      <a:lnTo>
                        <a:pt x="5214" y="4434"/>
                      </a:lnTo>
                      <a:lnTo>
                        <a:pt x="5275" y="4403"/>
                      </a:lnTo>
                      <a:lnTo>
                        <a:pt x="5334" y="4372"/>
                      </a:lnTo>
                      <a:lnTo>
                        <a:pt x="5391" y="4338"/>
                      </a:lnTo>
                      <a:lnTo>
                        <a:pt x="5449" y="4302"/>
                      </a:lnTo>
                      <a:lnTo>
                        <a:pt x="5505" y="4266"/>
                      </a:lnTo>
                      <a:lnTo>
                        <a:pt x="5561" y="4229"/>
                      </a:lnTo>
                      <a:lnTo>
                        <a:pt x="5615" y="4189"/>
                      </a:lnTo>
                      <a:lnTo>
                        <a:pt x="5668" y="4149"/>
                      </a:lnTo>
                      <a:lnTo>
                        <a:pt x="5720" y="4108"/>
                      </a:lnTo>
                      <a:lnTo>
                        <a:pt x="5772" y="4065"/>
                      </a:lnTo>
                      <a:lnTo>
                        <a:pt x="5822" y="4021"/>
                      </a:lnTo>
                      <a:lnTo>
                        <a:pt x="5870" y="3975"/>
                      </a:lnTo>
                      <a:lnTo>
                        <a:pt x="5917" y="3928"/>
                      </a:lnTo>
                      <a:lnTo>
                        <a:pt x="5965" y="3881"/>
                      </a:lnTo>
                      <a:lnTo>
                        <a:pt x="4302" y="5531"/>
                      </a:lnTo>
                      <a:close/>
                    </a:path>
                  </a:pathLst>
                </a:custGeom>
                <a:gradFill flip="none" rotWithShape="1">
                  <a:gsLst>
                    <a:gs pos="66000">
                      <a:schemeClr val="accent5">
                        <a:lumMod val="60000"/>
                        <a:lumOff val="40000"/>
                      </a:schemeClr>
                    </a:gs>
                    <a:gs pos="30000">
                      <a:schemeClr val="accent5">
                        <a:lumMod val="50000"/>
                      </a:schemeClr>
                    </a:gs>
                    <a:gs pos="57000">
                      <a:schemeClr val="accent5">
                        <a:lumMod val="75000"/>
                      </a:schemeClr>
                    </a:gs>
                    <a:gs pos="96000">
                      <a:schemeClr val="accent5">
                        <a:lumMod val="40000"/>
                        <a:lumOff val="60000"/>
                      </a:schemeClr>
                    </a:gs>
                  </a:gsLst>
                  <a:lin ang="13260000" scaled="0"/>
                  <a:tileRect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55" name="Freeform 12">
                  <a:extLst>
                    <a:ext uri="{FF2B5EF4-FFF2-40B4-BE49-F238E27FC236}">
                      <a16:creationId xmlns:a16="http://schemas.microsoft.com/office/drawing/2014/main" xmlns="" id="{0C0914DE-610C-7649-ADD8-6750BA0255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5062" y="407988"/>
                  <a:ext cx="2586038" cy="2505075"/>
                </a:xfrm>
                <a:custGeom>
                  <a:avLst/>
                  <a:gdLst/>
                  <a:ahLst/>
                  <a:cxnLst>
                    <a:cxn ang="0">
                      <a:pos x="372" y="914"/>
                    </a:cxn>
                    <a:cxn ang="0">
                      <a:pos x="605" y="734"/>
                    </a:cxn>
                    <a:cxn ang="0">
                      <a:pos x="857" y="586"/>
                    </a:cxn>
                    <a:cxn ang="0">
                      <a:pos x="1125" y="471"/>
                    </a:cxn>
                    <a:cxn ang="0">
                      <a:pos x="1407" y="389"/>
                    </a:cxn>
                    <a:cxn ang="0">
                      <a:pos x="1702" y="343"/>
                    </a:cxn>
                    <a:cxn ang="0">
                      <a:pos x="1943" y="331"/>
                    </a:cxn>
                    <a:cxn ang="0">
                      <a:pos x="2263" y="351"/>
                    </a:cxn>
                    <a:cxn ang="0">
                      <a:pos x="2573" y="410"/>
                    </a:cxn>
                    <a:cxn ang="0">
                      <a:pos x="2868" y="505"/>
                    </a:cxn>
                    <a:cxn ang="0">
                      <a:pos x="3149" y="634"/>
                    </a:cxn>
                    <a:cxn ang="0">
                      <a:pos x="3412" y="793"/>
                    </a:cxn>
                    <a:cxn ang="0">
                      <a:pos x="3653" y="982"/>
                    </a:cxn>
                    <a:cxn ang="0">
                      <a:pos x="3873" y="1197"/>
                    </a:cxn>
                    <a:cxn ang="0">
                      <a:pos x="4066" y="1436"/>
                    </a:cxn>
                    <a:cxn ang="0">
                      <a:pos x="4231" y="1695"/>
                    </a:cxn>
                    <a:cxn ang="0">
                      <a:pos x="4364" y="1974"/>
                    </a:cxn>
                    <a:cxn ang="0">
                      <a:pos x="4466" y="2270"/>
                    </a:cxn>
                    <a:cxn ang="0">
                      <a:pos x="4529" y="2578"/>
                    </a:cxn>
                    <a:cxn ang="0">
                      <a:pos x="4553" y="2835"/>
                    </a:cxn>
                    <a:cxn ang="0">
                      <a:pos x="4548" y="3125"/>
                    </a:cxn>
                    <a:cxn ang="0">
                      <a:pos x="4511" y="3408"/>
                    </a:cxn>
                    <a:cxn ang="0">
                      <a:pos x="4442" y="3683"/>
                    </a:cxn>
                    <a:cxn ang="0">
                      <a:pos x="4340" y="3944"/>
                    </a:cxn>
                    <a:cxn ang="0">
                      <a:pos x="4208" y="4191"/>
                    </a:cxn>
                    <a:cxn ang="0">
                      <a:pos x="4046" y="4423"/>
                    </a:cxn>
                    <a:cxn ang="0">
                      <a:pos x="4256" y="4688"/>
                    </a:cxn>
                    <a:cxn ang="0">
                      <a:pos x="4445" y="4436"/>
                    </a:cxn>
                    <a:cxn ang="0">
                      <a:pos x="4603" y="4162"/>
                    </a:cxn>
                    <a:cxn ang="0">
                      <a:pos x="4728" y="3867"/>
                    </a:cxn>
                    <a:cxn ang="0">
                      <a:pos x="4819" y="3556"/>
                    </a:cxn>
                    <a:cxn ang="0">
                      <a:pos x="4873" y="3229"/>
                    </a:cxn>
                    <a:cxn ang="0">
                      <a:pos x="4887" y="2889"/>
                    </a:cxn>
                    <a:cxn ang="0">
                      <a:pos x="4867" y="2603"/>
                    </a:cxn>
                    <a:cxn ang="0">
                      <a:pos x="4803" y="2251"/>
                    </a:cxn>
                    <a:cxn ang="0">
                      <a:pos x="4699" y="1915"/>
                    </a:cxn>
                    <a:cxn ang="0">
                      <a:pos x="4554" y="1598"/>
                    </a:cxn>
                    <a:cxn ang="0">
                      <a:pos x="4376" y="1300"/>
                    </a:cxn>
                    <a:cxn ang="0">
                      <a:pos x="4165" y="1026"/>
                    </a:cxn>
                    <a:cxn ang="0">
                      <a:pos x="3923" y="778"/>
                    </a:cxn>
                    <a:cxn ang="0">
                      <a:pos x="3655" y="560"/>
                    </a:cxn>
                    <a:cxn ang="0">
                      <a:pos x="3364" y="373"/>
                    </a:cxn>
                    <a:cxn ang="0">
                      <a:pos x="3052" y="221"/>
                    </a:cxn>
                    <a:cxn ang="0">
                      <a:pos x="2720" y="106"/>
                    </a:cxn>
                    <a:cxn ang="0">
                      <a:pos x="2375" y="32"/>
                    </a:cxn>
                    <a:cxn ang="0">
                      <a:pos x="2017" y="0"/>
                    </a:cxn>
                    <a:cxn ang="0">
                      <a:pos x="1730" y="7"/>
                    </a:cxn>
                    <a:cxn ang="0">
                      <a:pos x="1383" y="56"/>
                    </a:cxn>
                    <a:cxn ang="0">
                      <a:pos x="1054" y="144"/>
                    </a:cxn>
                    <a:cxn ang="0">
                      <a:pos x="745" y="272"/>
                    </a:cxn>
                    <a:cxn ang="0">
                      <a:pos x="456" y="435"/>
                    </a:cxn>
                    <a:cxn ang="0">
                      <a:pos x="192" y="631"/>
                    </a:cxn>
                    <a:cxn ang="0">
                      <a:pos x="244" y="1036"/>
                    </a:cxn>
                  </a:cxnLst>
                  <a:rect l="0" t="0" r="r" b="b"/>
                  <a:pathLst>
                    <a:path w="4887" h="4735">
                      <a:moveTo>
                        <a:pt x="244" y="1036"/>
                      </a:moveTo>
                      <a:lnTo>
                        <a:pt x="244" y="1036"/>
                      </a:lnTo>
                      <a:lnTo>
                        <a:pt x="285" y="993"/>
                      </a:lnTo>
                      <a:lnTo>
                        <a:pt x="329" y="954"/>
                      </a:lnTo>
                      <a:lnTo>
                        <a:pt x="372" y="914"/>
                      </a:lnTo>
                      <a:lnTo>
                        <a:pt x="417" y="875"/>
                      </a:lnTo>
                      <a:lnTo>
                        <a:pt x="463" y="837"/>
                      </a:lnTo>
                      <a:lnTo>
                        <a:pt x="509" y="802"/>
                      </a:lnTo>
                      <a:lnTo>
                        <a:pt x="556" y="768"/>
                      </a:lnTo>
                      <a:lnTo>
                        <a:pt x="605" y="734"/>
                      </a:lnTo>
                      <a:lnTo>
                        <a:pt x="653" y="701"/>
                      </a:lnTo>
                      <a:lnTo>
                        <a:pt x="703" y="670"/>
                      </a:lnTo>
                      <a:lnTo>
                        <a:pt x="754" y="641"/>
                      </a:lnTo>
                      <a:lnTo>
                        <a:pt x="805" y="613"/>
                      </a:lnTo>
                      <a:lnTo>
                        <a:pt x="857" y="586"/>
                      </a:lnTo>
                      <a:lnTo>
                        <a:pt x="908" y="560"/>
                      </a:lnTo>
                      <a:lnTo>
                        <a:pt x="961" y="536"/>
                      </a:lnTo>
                      <a:lnTo>
                        <a:pt x="1016" y="513"/>
                      </a:lnTo>
                      <a:lnTo>
                        <a:pt x="1071" y="491"/>
                      </a:lnTo>
                      <a:lnTo>
                        <a:pt x="1125" y="471"/>
                      </a:lnTo>
                      <a:lnTo>
                        <a:pt x="1180" y="452"/>
                      </a:lnTo>
                      <a:lnTo>
                        <a:pt x="1236" y="435"/>
                      </a:lnTo>
                      <a:lnTo>
                        <a:pt x="1293" y="418"/>
                      </a:lnTo>
                      <a:lnTo>
                        <a:pt x="1349" y="402"/>
                      </a:lnTo>
                      <a:lnTo>
                        <a:pt x="1407" y="389"/>
                      </a:lnTo>
                      <a:lnTo>
                        <a:pt x="1466" y="377"/>
                      </a:lnTo>
                      <a:lnTo>
                        <a:pt x="1523" y="367"/>
                      </a:lnTo>
                      <a:lnTo>
                        <a:pt x="1582" y="356"/>
                      </a:lnTo>
                      <a:lnTo>
                        <a:pt x="1643" y="349"/>
                      </a:lnTo>
                      <a:lnTo>
                        <a:pt x="1702" y="343"/>
                      </a:lnTo>
                      <a:lnTo>
                        <a:pt x="1762" y="337"/>
                      </a:lnTo>
                      <a:lnTo>
                        <a:pt x="1822" y="334"/>
                      </a:lnTo>
                      <a:lnTo>
                        <a:pt x="1883" y="331"/>
                      </a:lnTo>
                      <a:lnTo>
                        <a:pt x="1943" y="331"/>
                      </a:lnTo>
                      <a:lnTo>
                        <a:pt x="1943" y="331"/>
                      </a:lnTo>
                      <a:lnTo>
                        <a:pt x="2008" y="331"/>
                      </a:lnTo>
                      <a:lnTo>
                        <a:pt x="2073" y="334"/>
                      </a:lnTo>
                      <a:lnTo>
                        <a:pt x="2136" y="339"/>
                      </a:lnTo>
                      <a:lnTo>
                        <a:pt x="2200" y="345"/>
                      </a:lnTo>
                      <a:lnTo>
                        <a:pt x="2263" y="351"/>
                      </a:lnTo>
                      <a:lnTo>
                        <a:pt x="2327" y="359"/>
                      </a:lnTo>
                      <a:lnTo>
                        <a:pt x="2388" y="370"/>
                      </a:lnTo>
                      <a:lnTo>
                        <a:pt x="2450" y="382"/>
                      </a:lnTo>
                      <a:lnTo>
                        <a:pt x="2511" y="395"/>
                      </a:lnTo>
                      <a:lnTo>
                        <a:pt x="2573" y="410"/>
                      </a:lnTo>
                      <a:lnTo>
                        <a:pt x="2632" y="426"/>
                      </a:lnTo>
                      <a:lnTo>
                        <a:pt x="2692" y="443"/>
                      </a:lnTo>
                      <a:lnTo>
                        <a:pt x="2751" y="463"/>
                      </a:lnTo>
                      <a:lnTo>
                        <a:pt x="2810" y="483"/>
                      </a:lnTo>
                      <a:lnTo>
                        <a:pt x="2868" y="505"/>
                      </a:lnTo>
                      <a:lnTo>
                        <a:pt x="2925" y="527"/>
                      </a:lnTo>
                      <a:lnTo>
                        <a:pt x="2983" y="553"/>
                      </a:lnTo>
                      <a:lnTo>
                        <a:pt x="3039" y="578"/>
                      </a:lnTo>
                      <a:lnTo>
                        <a:pt x="3095" y="606"/>
                      </a:lnTo>
                      <a:lnTo>
                        <a:pt x="3149" y="634"/>
                      </a:lnTo>
                      <a:lnTo>
                        <a:pt x="3202" y="663"/>
                      </a:lnTo>
                      <a:lnTo>
                        <a:pt x="3257" y="694"/>
                      </a:lnTo>
                      <a:lnTo>
                        <a:pt x="3308" y="727"/>
                      </a:lnTo>
                      <a:lnTo>
                        <a:pt x="3360" y="759"/>
                      </a:lnTo>
                      <a:lnTo>
                        <a:pt x="3412" y="793"/>
                      </a:lnTo>
                      <a:lnTo>
                        <a:pt x="3462" y="828"/>
                      </a:lnTo>
                      <a:lnTo>
                        <a:pt x="3510" y="865"/>
                      </a:lnTo>
                      <a:lnTo>
                        <a:pt x="3559" y="903"/>
                      </a:lnTo>
                      <a:lnTo>
                        <a:pt x="3608" y="942"/>
                      </a:lnTo>
                      <a:lnTo>
                        <a:pt x="3653" y="982"/>
                      </a:lnTo>
                      <a:lnTo>
                        <a:pt x="3699" y="1023"/>
                      </a:lnTo>
                      <a:lnTo>
                        <a:pt x="3745" y="1066"/>
                      </a:lnTo>
                      <a:lnTo>
                        <a:pt x="3788" y="1108"/>
                      </a:lnTo>
                      <a:lnTo>
                        <a:pt x="3830" y="1153"/>
                      </a:lnTo>
                      <a:lnTo>
                        <a:pt x="3873" y="1197"/>
                      </a:lnTo>
                      <a:lnTo>
                        <a:pt x="3913" y="1243"/>
                      </a:lnTo>
                      <a:lnTo>
                        <a:pt x="3953" y="1290"/>
                      </a:lnTo>
                      <a:lnTo>
                        <a:pt x="3992" y="1337"/>
                      </a:lnTo>
                      <a:lnTo>
                        <a:pt x="4029" y="1386"/>
                      </a:lnTo>
                      <a:lnTo>
                        <a:pt x="4066" y="1436"/>
                      </a:lnTo>
                      <a:lnTo>
                        <a:pt x="4102" y="1486"/>
                      </a:lnTo>
                      <a:lnTo>
                        <a:pt x="4135" y="1537"/>
                      </a:lnTo>
                      <a:lnTo>
                        <a:pt x="4168" y="1589"/>
                      </a:lnTo>
                      <a:lnTo>
                        <a:pt x="4200" y="1642"/>
                      </a:lnTo>
                      <a:lnTo>
                        <a:pt x="4231" y="1695"/>
                      </a:lnTo>
                      <a:lnTo>
                        <a:pt x="4259" y="1750"/>
                      </a:lnTo>
                      <a:lnTo>
                        <a:pt x="4289" y="1806"/>
                      </a:lnTo>
                      <a:lnTo>
                        <a:pt x="4315" y="1860"/>
                      </a:lnTo>
                      <a:lnTo>
                        <a:pt x="4340" y="1918"/>
                      </a:lnTo>
                      <a:lnTo>
                        <a:pt x="4364" y="1974"/>
                      </a:lnTo>
                      <a:lnTo>
                        <a:pt x="4388" y="2033"/>
                      </a:lnTo>
                      <a:lnTo>
                        <a:pt x="4410" y="2090"/>
                      </a:lnTo>
                      <a:lnTo>
                        <a:pt x="4429" y="2149"/>
                      </a:lnTo>
                      <a:lnTo>
                        <a:pt x="4448" y="2210"/>
                      </a:lnTo>
                      <a:lnTo>
                        <a:pt x="4466" y="2270"/>
                      </a:lnTo>
                      <a:lnTo>
                        <a:pt x="4480" y="2331"/>
                      </a:lnTo>
                      <a:lnTo>
                        <a:pt x="4495" y="2391"/>
                      </a:lnTo>
                      <a:lnTo>
                        <a:pt x="4508" y="2453"/>
                      </a:lnTo>
                      <a:lnTo>
                        <a:pt x="4520" y="2516"/>
                      </a:lnTo>
                      <a:lnTo>
                        <a:pt x="4529" y="2578"/>
                      </a:lnTo>
                      <a:lnTo>
                        <a:pt x="4538" y="2642"/>
                      </a:lnTo>
                      <a:lnTo>
                        <a:pt x="4545" y="2705"/>
                      </a:lnTo>
                      <a:lnTo>
                        <a:pt x="4550" y="2770"/>
                      </a:lnTo>
                      <a:lnTo>
                        <a:pt x="4553" y="2835"/>
                      </a:lnTo>
                      <a:lnTo>
                        <a:pt x="4553" y="2835"/>
                      </a:lnTo>
                      <a:lnTo>
                        <a:pt x="4556" y="2892"/>
                      </a:lnTo>
                      <a:lnTo>
                        <a:pt x="4556" y="2951"/>
                      </a:lnTo>
                      <a:lnTo>
                        <a:pt x="4554" y="3010"/>
                      </a:lnTo>
                      <a:lnTo>
                        <a:pt x="4553" y="3068"/>
                      </a:lnTo>
                      <a:lnTo>
                        <a:pt x="4548" y="3125"/>
                      </a:lnTo>
                      <a:lnTo>
                        <a:pt x="4544" y="3183"/>
                      </a:lnTo>
                      <a:lnTo>
                        <a:pt x="4538" y="3240"/>
                      </a:lnTo>
                      <a:lnTo>
                        <a:pt x="4531" y="3296"/>
                      </a:lnTo>
                      <a:lnTo>
                        <a:pt x="4522" y="3352"/>
                      </a:lnTo>
                      <a:lnTo>
                        <a:pt x="4511" y="3408"/>
                      </a:lnTo>
                      <a:lnTo>
                        <a:pt x="4500" y="3464"/>
                      </a:lnTo>
                      <a:lnTo>
                        <a:pt x="4488" y="3519"/>
                      </a:lnTo>
                      <a:lnTo>
                        <a:pt x="4473" y="3574"/>
                      </a:lnTo>
                      <a:lnTo>
                        <a:pt x="4458" y="3628"/>
                      </a:lnTo>
                      <a:lnTo>
                        <a:pt x="4442" y="3683"/>
                      </a:lnTo>
                      <a:lnTo>
                        <a:pt x="4424" y="3736"/>
                      </a:lnTo>
                      <a:lnTo>
                        <a:pt x="4405" y="3789"/>
                      </a:lnTo>
                      <a:lnTo>
                        <a:pt x="4385" y="3840"/>
                      </a:lnTo>
                      <a:lnTo>
                        <a:pt x="4362" y="3894"/>
                      </a:lnTo>
                      <a:lnTo>
                        <a:pt x="4340" y="3944"/>
                      </a:lnTo>
                      <a:lnTo>
                        <a:pt x="4317" y="3995"/>
                      </a:lnTo>
                      <a:lnTo>
                        <a:pt x="4290" y="4045"/>
                      </a:lnTo>
                      <a:lnTo>
                        <a:pt x="4264" y="4094"/>
                      </a:lnTo>
                      <a:lnTo>
                        <a:pt x="4237" y="4143"/>
                      </a:lnTo>
                      <a:lnTo>
                        <a:pt x="4208" y="4191"/>
                      </a:lnTo>
                      <a:lnTo>
                        <a:pt x="4178" y="4239"/>
                      </a:lnTo>
                      <a:lnTo>
                        <a:pt x="4147" y="4286"/>
                      </a:lnTo>
                      <a:lnTo>
                        <a:pt x="4115" y="4333"/>
                      </a:lnTo>
                      <a:lnTo>
                        <a:pt x="4081" y="4377"/>
                      </a:lnTo>
                      <a:lnTo>
                        <a:pt x="4046" y="4423"/>
                      </a:lnTo>
                      <a:lnTo>
                        <a:pt x="4010" y="4467"/>
                      </a:lnTo>
                      <a:lnTo>
                        <a:pt x="3973" y="4510"/>
                      </a:lnTo>
                      <a:lnTo>
                        <a:pt x="4215" y="4735"/>
                      </a:lnTo>
                      <a:lnTo>
                        <a:pt x="4215" y="4735"/>
                      </a:lnTo>
                      <a:lnTo>
                        <a:pt x="4256" y="4688"/>
                      </a:lnTo>
                      <a:lnTo>
                        <a:pt x="4296" y="4640"/>
                      </a:lnTo>
                      <a:lnTo>
                        <a:pt x="4336" y="4589"/>
                      </a:lnTo>
                      <a:lnTo>
                        <a:pt x="4373" y="4539"/>
                      </a:lnTo>
                      <a:lnTo>
                        <a:pt x="4410" y="4488"/>
                      </a:lnTo>
                      <a:lnTo>
                        <a:pt x="4445" y="4436"/>
                      </a:lnTo>
                      <a:lnTo>
                        <a:pt x="4479" y="4383"/>
                      </a:lnTo>
                      <a:lnTo>
                        <a:pt x="4511" y="4328"/>
                      </a:lnTo>
                      <a:lnTo>
                        <a:pt x="4544" y="4274"/>
                      </a:lnTo>
                      <a:lnTo>
                        <a:pt x="4575" y="4218"/>
                      </a:lnTo>
                      <a:lnTo>
                        <a:pt x="4603" y="4162"/>
                      </a:lnTo>
                      <a:lnTo>
                        <a:pt x="4631" y="4104"/>
                      </a:lnTo>
                      <a:lnTo>
                        <a:pt x="4657" y="4045"/>
                      </a:lnTo>
                      <a:lnTo>
                        <a:pt x="4682" y="3986"/>
                      </a:lnTo>
                      <a:lnTo>
                        <a:pt x="4706" y="3927"/>
                      </a:lnTo>
                      <a:lnTo>
                        <a:pt x="4728" y="3867"/>
                      </a:lnTo>
                      <a:lnTo>
                        <a:pt x="4750" y="3807"/>
                      </a:lnTo>
                      <a:lnTo>
                        <a:pt x="4769" y="3745"/>
                      </a:lnTo>
                      <a:lnTo>
                        <a:pt x="4787" y="3681"/>
                      </a:lnTo>
                      <a:lnTo>
                        <a:pt x="4803" y="3619"/>
                      </a:lnTo>
                      <a:lnTo>
                        <a:pt x="4819" y="3556"/>
                      </a:lnTo>
                      <a:lnTo>
                        <a:pt x="4833" y="3491"/>
                      </a:lnTo>
                      <a:lnTo>
                        <a:pt x="4845" y="3426"/>
                      </a:lnTo>
                      <a:lnTo>
                        <a:pt x="4856" y="3361"/>
                      </a:lnTo>
                      <a:lnTo>
                        <a:pt x="4865" y="3295"/>
                      </a:lnTo>
                      <a:lnTo>
                        <a:pt x="4873" y="3229"/>
                      </a:lnTo>
                      <a:lnTo>
                        <a:pt x="4878" y="3162"/>
                      </a:lnTo>
                      <a:lnTo>
                        <a:pt x="4883" y="3094"/>
                      </a:lnTo>
                      <a:lnTo>
                        <a:pt x="4886" y="3027"/>
                      </a:lnTo>
                      <a:lnTo>
                        <a:pt x="4887" y="2959"/>
                      </a:lnTo>
                      <a:lnTo>
                        <a:pt x="4887" y="2889"/>
                      </a:lnTo>
                      <a:lnTo>
                        <a:pt x="4884" y="2820"/>
                      </a:lnTo>
                      <a:lnTo>
                        <a:pt x="4884" y="2820"/>
                      </a:lnTo>
                      <a:lnTo>
                        <a:pt x="4880" y="2748"/>
                      </a:lnTo>
                      <a:lnTo>
                        <a:pt x="4875" y="2676"/>
                      </a:lnTo>
                      <a:lnTo>
                        <a:pt x="4867" y="2603"/>
                      </a:lnTo>
                      <a:lnTo>
                        <a:pt x="4858" y="2531"/>
                      </a:lnTo>
                      <a:lnTo>
                        <a:pt x="4846" y="2460"/>
                      </a:lnTo>
                      <a:lnTo>
                        <a:pt x="4834" y="2391"/>
                      </a:lnTo>
                      <a:lnTo>
                        <a:pt x="4819" y="2320"/>
                      </a:lnTo>
                      <a:lnTo>
                        <a:pt x="4803" y="2251"/>
                      </a:lnTo>
                      <a:lnTo>
                        <a:pt x="4786" y="2183"/>
                      </a:lnTo>
                      <a:lnTo>
                        <a:pt x="4766" y="2115"/>
                      </a:lnTo>
                      <a:lnTo>
                        <a:pt x="4744" y="2048"/>
                      </a:lnTo>
                      <a:lnTo>
                        <a:pt x="4722" y="1981"/>
                      </a:lnTo>
                      <a:lnTo>
                        <a:pt x="4699" y="1915"/>
                      </a:lnTo>
                      <a:lnTo>
                        <a:pt x="4672" y="1850"/>
                      </a:lnTo>
                      <a:lnTo>
                        <a:pt x="4646" y="1785"/>
                      </a:lnTo>
                      <a:lnTo>
                        <a:pt x="4616" y="1722"/>
                      </a:lnTo>
                      <a:lnTo>
                        <a:pt x="4587" y="1660"/>
                      </a:lnTo>
                      <a:lnTo>
                        <a:pt x="4554" y="1598"/>
                      </a:lnTo>
                      <a:lnTo>
                        <a:pt x="4522" y="1536"/>
                      </a:lnTo>
                      <a:lnTo>
                        <a:pt x="4486" y="1476"/>
                      </a:lnTo>
                      <a:lnTo>
                        <a:pt x="4451" y="1417"/>
                      </a:lnTo>
                      <a:lnTo>
                        <a:pt x="4414" y="1358"/>
                      </a:lnTo>
                      <a:lnTo>
                        <a:pt x="4376" y="1300"/>
                      </a:lnTo>
                      <a:lnTo>
                        <a:pt x="4336" y="1243"/>
                      </a:lnTo>
                      <a:lnTo>
                        <a:pt x="4295" y="1187"/>
                      </a:lnTo>
                      <a:lnTo>
                        <a:pt x="4252" y="1132"/>
                      </a:lnTo>
                      <a:lnTo>
                        <a:pt x="4209" y="1079"/>
                      </a:lnTo>
                      <a:lnTo>
                        <a:pt x="4165" y="1026"/>
                      </a:lnTo>
                      <a:lnTo>
                        <a:pt x="4118" y="974"/>
                      </a:lnTo>
                      <a:lnTo>
                        <a:pt x="4071" y="924"/>
                      </a:lnTo>
                      <a:lnTo>
                        <a:pt x="4023" y="874"/>
                      </a:lnTo>
                      <a:lnTo>
                        <a:pt x="3973" y="825"/>
                      </a:lnTo>
                      <a:lnTo>
                        <a:pt x="3923" y="778"/>
                      </a:lnTo>
                      <a:lnTo>
                        <a:pt x="3872" y="732"/>
                      </a:lnTo>
                      <a:lnTo>
                        <a:pt x="3818" y="687"/>
                      </a:lnTo>
                      <a:lnTo>
                        <a:pt x="3765" y="644"/>
                      </a:lnTo>
                      <a:lnTo>
                        <a:pt x="3711" y="601"/>
                      </a:lnTo>
                      <a:lnTo>
                        <a:pt x="3655" y="560"/>
                      </a:lnTo>
                      <a:lnTo>
                        <a:pt x="3599" y="520"/>
                      </a:lnTo>
                      <a:lnTo>
                        <a:pt x="3541" y="482"/>
                      </a:lnTo>
                      <a:lnTo>
                        <a:pt x="3484" y="443"/>
                      </a:lnTo>
                      <a:lnTo>
                        <a:pt x="3423" y="408"/>
                      </a:lnTo>
                      <a:lnTo>
                        <a:pt x="3364" y="373"/>
                      </a:lnTo>
                      <a:lnTo>
                        <a:pt x="3303" y="340"/>
                      </a:lnTo>
                      <a:lnTo>
                        <a:pt x="3241" y="308"/>
                      </a:lnTo>
                      <a:lnTo>
                        <a:pt x="3179" y="277"/>
                      </a:lnTo>
                      <a:lnTo>
                        <a:pt x="3115" y="249"/>
                      </a:lnTo>
                      <a:lnTo>
                        <a:pt x="3052" y="221"/>
                      </a:lnTo>
                      <a:lnTo>
                        <a:pt x="2987" y="194"/>
                      </a:lnTo>
                      <a:lnTo>
                        <a:pt x="2921" y="171"/>
                      </a:lnTo>
                      <a:lnTo>
                        <a:pt x="2854" y="147"/>
                      </a:lnTo>
                      <a:lnTo>
                        <a:pt x="2788" y="126"/>
                      </a:lnTo>
                      <a:lnTo>
                        <a:pt x="2720" y="106"/>
                      </a:lnTo>
                      <a:lnTo>
                        <a:pt x="2652" y="88"/>
                      </a:lnTo>
                      <a:lnTo>
                        <a:pt x="2585" y="72"/>
                      </a:lnTo>
                      <a:lnTo>
                        <a:pt x="2515" y="57"/>
                      </a:lnTo>
                      <a:lnTo>
                        <a:pt x="2445" y="44"/>
                      </a:lnTo>
                      <a:lnTo>
                        <a:pt x="2375" y="32"/>
                      </a:lnTo>
                      <a:lnTo>
                        <a:pt x="2304" y="22"/>
                      </a:lnTo>
                      <a:lnTo>
                        <a:pt x="2234" y="14"/>
                      </a:lnTo>
                      <a:lnTo>
                        <a:pt x="2161" y="7"/>
                      </a:lnTo>
                      <a:lnTo>
                        <a:pt x="2089" y="3"/>
                      </a:lnTo>
                      <a:lnTo>
                        <a:pt x="2017" y="0"/>
                      </a:lnTo>
                      <a:lnTo>
                        <a:pt x="1943" y="0"/>
                      </a:lnTo>
                      <a:lnTo>
                        <a:pt x="1943" y="0"/>
                      </a:lnTo>
                      <a:lnTo>
                        <a:pt x="1873" y="0"/>
                      </a:lnTo>
                      <a:lnTo>
                        <a:pt x="1800" y="3"/>
                      </a:lnTo>
                      <a:lnTo>
                        <a:pt x="1730" y="7"/>
                      </a:lnTo>
                      <a:lnTo>
                        <a:pt x="1659" y="13"/>
                      </a:lnTo>
                      <a:lnTo>
                        <a:pt x="1589" y="22"/>
                      </a:lnTo>
                      <a:lnTo>
                        <a:pt x="1520" y="31"/>
                      </a:lnTo>
                      <a:lnTo>
                        <a:pt x="1452" y="42"/>
                      </a:lnTo>
                      <a:lnTo>
                        <a:pt x="1383" y="56"/>
                      </a:lnTo>
                      <a:lnTo>
                        <a:pt x="1317" y="70"/>
                      </a:lnTo>
                      <a:lnTo>
                        <a:pt x="1250" y="87"/>
                      </a:lnTo>
                      <a:lnTo>
                        <a:pt x="1184" y="104"/>
                      </a:lnTo>
                      <a:lnTo>
                        <a:pt x="1119" y="123"/>
                      </a:lnTo>
                      <a:lnTo>
                        <a:pt x="1054" y="144"/>
                      </a:lnTo>
                      <a:lnTo>
                        <a:pt x="991" y="168"/>
                      </a:lnTo>
                      <a:lnTo>
                        <a:pt x="928" y="191"/>
                      </a:lnTo>
                      <a:lnTo>
                        <a:pt x="866" y="216"/>
                      </a:lnTo>
                      <a:lnTo>
                        <a:pt x="805" y="243"/>
                      </a:lnTo>
                      <a:lnTo>
                        <a:pt x="745" y="272"/>
                      </a:lnTo>
                      <a:lnTo>
                        <a:pt x="684" y="302"/>
                      </a:lnTo>
                      <a:lnTo>
                        <a:pt x="627" y="333"/>
                      </a:lnTo>
                      <a:lnTo>
                        <a:pt x="569" y="365"/>
                      </a:lnTo>
                      <a:lnTo>
                        <a:pt x="512" y="399"/>
                      </a:lnTo>
                      <a:lnTo>
                        <a:pt x="456" y="435"/>
                      </a:lnTo>
                      <a:lnTo>
                        <a:pt x="401" y="471"/>
                      </a:lnTo>
                      <a:lnTo>
                        <a:pt x="348" y="510"/>
                      </a:lnTo>
                      <a:lnTo>
                        <a:pt x="295" y="548"/>
                      </a:lnTo>
                      <a:lnTo>
                        <a:pt x="244" y="589"/>
                      </a:lnTo>
                      <a:lnTo>
                        <a:pt x="192" y="631"/>
                      </a:lnTo>
                      <a:lnTo>
                        <a:pt x="143" y="673"/>
                      </a:lnTo>
                      <a:lnTo>
                        <a:pt x="95" y="718"/>
                      </a:lnTo>
                      <a:lnTo>
                        <a:pt x="46" y="763"/>
                      </a:lnTo>
                      <a:lnTo>
                        <a:pt x="0" y="809"/>
                      </a:lnTo>
                      <a:lnTo>
                        <a:pt x="244" y="1036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86000">
                      <a:srgbClr val="CFCFCF"/>
                    </a:gs>
                    <a:gs pos="0">
                      <a:srgbClr val="A6A6A6"/>
                    </a:gs>
                    <a:gs pos="35000">
                      <a:srgbClr val="262626"/>
                    </a:gs>
                    <a:gs pos="66000">
                      <a:srgbClr val="454545"/>
                    </a:gs>
                    <a:gs pos="46000">
                      <a:srgbClr val="616161"/>
                    </a:gs>
                    <a:gs pos="100000">
                      <a:srgbClr val="A6A6A6"/>
                    </a:gs>
                  </a:gsLst>
                  <a:lin ang="1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56" name="Freeform 13">
                  <a:extLst>
                    <a:ext uri="{FF2B5EF4-FFF2-40B4-BE49-F238E27FC236}">
                      <a16:creationId xmlns:a16="http://schemas.microsoft.com/office/drawing/2014/main" xmlns="" id="{72D6F51C-50AB-3F42-97E4-FE3DFBADA2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385175" y="374650"/>
                  <a:ext cx="2987675" cy="2986088"/>
                </a:xfrm>
                <a:custGeom>
                  <a:avLst/>
                  <a:gdLst/>
                  <a:ahLst/>
                  <a:cxnLst>
                    <a:cxn ang="0">
                      <a:pos x="3147" y="371"/>
                    </a:cxn>
                    <a:cxn ang="0">
                      <a:pos x="3686" y="529"/>
                    </a:cxn>
                    <a:cxn ang="0">
                      <a:pos x="4171" y="794"/>
                    </a:cxn>
                    <a:cxn ang="0">
                      <a:pos x="4591" y="1153"/>
                    </a:cxn>
                    <a:cxn ang="0">
                      <a:pos x="4927" y="1591"/>
                    </a:cxn>
                    <a:cxn ang="0">
                      <a:pos x="5169" y="2092"/>
                    </a:cxn>
                    <a:cxn ang="0">
                      <a:pos x="5297" y="2643"/>
                    </a:cxn>
                    <a:cxn ang="0">
                      <a:pos x="5307" y="3142"/>
                    </a:cxn>
                    <a:cxn ang="0">
                      <a:pos x="5204" y="3672"/>
                    </a:cxn>
                    <a:cxn ang="0">
                      <a:pos x="4987" y="4159"/>
                    </a:cxn>
                    <a:cxn ang="0">
                      <a:pos x="4663" y="4587"/>
                    </a:cxn>
                    <a:cxn ang="0">
                      <a:pos x="4299" y="4896"/>
                    </a:cxn>
                    <a:cxn ang="0">
                      <a:pos x="3829" y="5145"/>
                    </a:cxn>
                    <a:cxn ang="0">
                      <a:pos x="3310" y="5284"/>
                    </a:cxn>
                    <a:cxn ang="0">
                      <a:pos x="2814" y="5308"/>
                    </a:cxn>
                    <a:cxn ang="0">
                      <a:pos x="2256" y="5215"/>
                    </a:cxn>
                    <a:cxn ang="0">
                      <a:pos x="1738" y="5008"/>
                    </a:cxn>
                    <a:cxn ang="0">
                      <a:pos x="1280" y="4699"/>
                    </a:cxn>
                    <a:cxn ang="0">
                      <a:pos x="895" y="4303"/>
                    </a:cxn>
                    <a:cxn ang="0">
                      <a:pos x="599" y="3836"/>
                    </a:cxn>
                    <a:cxn ang="0">
                      <a:pos x="407" y="3311"/>
                    </a:cxn>
                    <a:cxn ang="0">
                      <a:pos x="335" y="2807"/>
                    </a:cxn>
                    <a:cxn ang="0">
                      <a:pos x="370" y="2260"/>
                    </a:cxn>
                    <a:cxn ang="0">
                      <a:pos x="525" y="1747"/>
                    </a:cxn>
                    <a:cxn ang="0">
                      <a:pos x="790" y="1285"/>
                    </a:cxn>
                    <a:cxn ang="0">
                      <a:pos x="1115" y="929"/>
                    </a:cxn>
                    <a:cxn ang="0">
                      <a:pos x="1549" y="620"/>
                    </a:cxn>
                    <a:cxn ang="0">
                      <a:pos x="2043" y="421"/>
                    </a:cxn>
                    <a:cxn ang="0">
                      <a:pos x="2580" y="334"/>
                    </a:cxn>
                    <a:cxn ang="0">
                      <a:pos x="2345" y="23"/>
                    </a:cxn>
                    <a:cxn ang="0">
                      <a:pos x="1741" y="171"/>
                    </a:cxn>
                    <a:cxn ang="0">
                      <a:pos x="1202" y="445"/>
                    </a:cxn>
                    <a:cxn ang="0">
                      <a:pos x="745" y="827"/>
                    </a:cxn>
                    <a:cxn ang="0">
                      <a:pos x="382" y="1300"/>
                    </a:cxn>
                    <a:cxn ang="0">
                      <a:pos x="133" y="1852"/>
                    </a:cxn>
                    <a:cxn ang="0">
                      <a:pos x="10" y="2462"/>
                    </a:cxn>
                    <a:cxn ang="0">
                      <a:pos x="21" y="3038"/>
                    </a:cxn>
                    <a:cxn ang="0">
                      <a:pos x="165" y="3659"/>
                    </a:cxn>
                    <a:cxn ang="0">
                      <a:pos x="436" y="4225"/>
                    </a:cxn>
                    <a:cxn ang="0">
                      <a:pos x="817" y="4718"/>
                    </a:cxn>
                    <a:cxn ang="0">
                      <a:pos x="1288" y="5122"/>
                    </a:cxn>
                    <a:cxn ang="0">
                      <a:pos x="1835" y="5420"/>
                    </a:cxn>
                    <a:cxn ang="0">
                      <a:pos x="2443" y="5598"/>
                    </a:cxn>
                    <a:cxn ang="0">
                      <a:pos x="3016" y="5641"/>
                    </a:cxn>
                    <a:cxn ang="0">
                      <a:pos x="3644" y="5554"/>
                    </a:cxn>
                    <a:cxn ang="0">
                      <a:pos x="4215" y="5333"/>
                    </a:cxn>
                    <a:cxn ang="0">
                      <a:pos x="4710" y="4998"/>
                    </a:cxn>
                    <a:cxn ang="0">
                      <a:pos x="5117" y="4563"/>
                    </a:cxn>
                    <a:cxn ang="0">
                      <a:pos x="5418" y="4044"/>
                    </a:cxn>
                    <a:cxn ang="0">
                      <a:pos x="5599" y="3459"/>
                    </a:cxn>
                    <a:cxn ang="0">
                      <a:pos x="5643" y="2820"/>
                    </a:cxn>
                    <a:cxn ang="0">
                      <a:pos x="5562" y="2253"/>
                    </a:cxn>
                    <a:cxn ang="0">
                      <a:pos x="5346" y="1660"/>
                    </a:cxn>
                    <a:cxn ang="0">
                      <a:pos x="5012" y="1134"/>
                    </a:cxn>
                    <a:cxn ang="0">
                      <a:pos x="4579" y="688"/>
                    </a:cxn>
                    <a:cxn ang="0">
                      <a:pos x="4061" y="340"/>
                    </a:cxn>
                    <a:cxn ang="0">
                      <a:pos x="3481" y="107"/>
                    </a:cxn>
                    <a:cxn ang="0">
                      <a:pos x="2848" y="4"/>
                    </a:cxn>
                  </a:cxnLst>
                  <a:rect l="0" t="0" r="r" b="b"/>
                  <a:pathLst>
                    <a:path w="5646" h="5642">
                      <a:moveTo>
                        <a:pt x="2704" y="331"/>
                      </a:moveTo>
                      <a:lnTo>
                        <a:pt x="2704" y="331"/>
                      </a:lnTo>
                      <a:lnTo>
                        <a:pt x="2767" y="333"/>
                      </a:lnTo>
                      <a:lnTo>
                        <a:pt x="2832" y="334"/>
                      </a:lnTo>
                      <a:lnTo>
                        <a:pt x="2895" y="339"/>
                      </a:lnTo>
                      <a:lnTo>
                        <a:pt x="2959" y="345"/>
                      </a:lnTo>
                      <a:lnTo>
                        <a:pt x="3022" y="352"/>
                      </a:lnTo>
                      <a:lnTo>
                        <a:pt x="3086" y="361"/>
                      </a:lnTo>
                      <a:lnTo>
                        <a:pt x="3147" y="371"/>
                      </a:lnTo>
                      <a:lnTo>
                        <a:pt x="3209" y="383"/>
                      </a:lnTo>
                      <a:lnTo>
                        <a:pt x="3270" y="396"/>
                      </a:lnTo>
                      <a:lnTo>
                        <a:pt x="3332" y="411"/>
                      </a:lnTo>
                      <a:lnTo>
                        <a:pt x="3392" y="427"/>
                      </a:lnTo>
                      <a:lnTo>
                        <a:pt x="3451" y="445"/>
                      </a:lnTo>
                      <a:lnTo>
                        <a:pt x="3510" y="464"/>
                      </a:lnTo>
                      <a:lnTo>
                        <a:pt x="3569" y="483"/>
                      </a:lnTo>
                      <a:lnTo>
                        <a:pt x="3628" y="505"/>
                      </a:lnTo>
                      <a:lnTo>
                        <a:pt x="3686" y="529"/>
                      </a:lnTo>
                      <a:lnTo>
                        <a:pt x="3742" y="553"/>
                      </a:lnTo>
                      <a:lnTo>
                        <a:pt x="3798" y="579"/>
                      </a:lnTo>
                      <a:lnTo>
                        <a:pt x="3854" y="606"/>
                      </a:lnTo>
                      <a:lnTo>
                        <a:pt x="3908" y="634"/>
                      </a:lnTo>
                      <a:lnTo>
                        <a:pt x="3963" y="663"/>
                      </a:lnTo>
                      <a:lnTo>
                        <a:pt x="4016" y="694"/>
                      </a:lnTo>
                      <a:lnTo>
                        <a:pt x="4067" y="727"/>
                      </a:lnTo>
                      <a:lnTo>
                        <a:pt x="4120" y="761"/>
                      </a:lnTo>
                      <a:lnTo>
                        <a:pt x="4171" y="794"/>
                      </a:lnTo>
                      <a:lnTo>
                        <a:pt x="4221" y="830"/>
                      </a:lnTo>
                      <a:lnTo>
                        <a:pt x="4271" y="867"/>
                      </a:lnTo>
                      <a:lnTo>
                        <a:pt x="4318" y="904"/>
                      </a:lnTo>
                      <a:lnTo>
                        <a:pt x="4367" y="943"/>
                      </a:lnTo>
                      <a:lnTo>
                        <a:pt x="4412" y="983"/>
                      </a:lnTo>
                      <a:lnTo>
                        <a:pt x="4458" y="1024"/>
                      </a:lnTo>
                      <a:lnTo>
                        <a:pt x="4504" y="1066"/>
                      </a:lnTo>
                      <a:lnTo>
                        <a:pt x="4546" y="1108"/>
                      </a:lnTo>
                      <a:lnTo>
                        <a:pt x="4591" y="1153"/>
                      </a:lnTo>
                      <a:lnTo>
                        <a:pt x="4632" y="1198"/>
                      </a:lnTo>
                      <a:lnTo>
                        <a:pt x="4673" y="1244"/>
                      </a:lnTo>
                      <a:lnTo>
                        <a:pt x="4712" y="1290"/>
                      </a:lnTo>
                      <a:lnTo>
                        <a:pt x="4751" y="1338"/>
                      </a:lnTo>
                      <a:lnTo>
                        <a:pt x="4788" y="1387"/>
                      </a:lnTo>
                      <a:lnTo>
                        <a:pt x="4825" y="1436"/>
                      </a:lnTo>
                      <a:lnTo>
                        <a:pt x="4861" y="1487"/>
                      </a:lnTo>
                      <a:lnTo>
                        <a:pt x="4894" y="1538"/>
                      </a:lnTo>
                      <a:lnTo>
                        <a:pt x="4927" y="1591"/>
                      </a:lnTo>
                      <a:lnTo>
                        <a:pt x="4959" y="1642"/>
                      </a:lnTo>
                      <a:lnTo>
                        <a:pt x="4990" y="1697"/>
                      </a:lnTo>
                      <a:lnTo>
                        <a:pt x="5020" y="1751"/>
                      </a:lnTo>
                      <a:lnTo>
                        <a:pt x="5048" y="1806"/>
                      </a:lnTo>
                      <a:lnTo>
                        <a:pt x="5074" y="1862"/>
                      </a:lnTo>
                      <a:lnTo>
                        <a:pt x="5099" y="1918"/>
                      </a:lnTo>
                      <a:lnTo>
                        <a:pt x="5124" y="1975"/>
                      </a:lnTo>
                      <a:lnTo>
                        <a:pt x="5146" y="2033"/>
                      </a:lnTo>
                      <a:lnTo>
                        <a:pt x="5169" y="2092"/>
                      </a:lnTo>
                      <a:lnTo>
                        <a:pt x="5188" y="2151"/>
                      </a:lnTo>
                      <a:lnTo>
                        <a:pt x="5207" y="2210"/>
                      </a:lnTo>
                      <a:lnTo>
                        <a:pt x="5225" y="2270"/>
                      </a:lnTo>
                      <a:lnTo>
                        <a:pt x="5241" y="2331"/>
                      </a:lnTo>
                      <a:lnTo>
                        <a:pt x="5254" y="2393"/>
                      </a:lnTo>
                      <a:lnTo>
                        <a:pt x="5267" y="2455"/>
                      </a:lnTo>
                      <a:lnTo>
                        <a:pt x="5279" y="2517"/>
                      </a:lnTo>
                      <a:lnTo>
                        <a:pt x="5288" y="2580"/>
                      </a:lnTo>
                      <a:lnTo>
                        <a:pt x="5297" y="2643"/>
                      </a:lnTo>
                      <a:lnTo>
                        <a:pt x="5304" y="2707"/>
                      </a:lnTo>
                      <a:lnTo>
                        <a:pt x="5309" y="2770"/>
                      </a:lnTo>
                      <a:lnTo>
                        <a:pt x="5313" y="2835"/>
                      </a:lnTo>
                      <a:lnTo>
                        <a:pt x="5313" y="2835"/>
                      </a:lnTo>
                      <a:lnTo>
                        <a:pt x="5315" y="2897"/>
                      </a:lnTo>
                      <a:lnTo>
                        <a:pt x="5315" y="2959"/>
                      </a:lnTo>
                      <a:lnTo>
                        <a:pt x="5313" y="3021"/>
                      </a:lnTo>
                      <a:lnTo>
                        <a:pt x="5312" y="3081"/>
                      </a:lnTo>
                      <a:lnTo>
                        <a:pt x="5307" y="3142"/>
                      </a:lnTo>
                      <a:lnTo>
                        <a:pt x="5301" y="3202"/>
                      </a:lnTo>
                      <a:lnTo>
                        <a:pt x="5294" y="3263"/>
                      </a:lnTo>
                      <a:lnTo>
                        <a:pt x="5285" y="3323"/>
                      </a:lnTo>
                      <a:lnTo>
                        <a:pt x="5276" y="3382"/>
                      </a:lnTo>
                      <a:lnTo>
                        <a:pt x="5264" y="3441"/>
                      </a:lnTo>
                      <a:lnTo>
                        <a:pt x="5251" y="3500"/>
                      </a:lnTo>
                      <a:lnTo>
                        <a:pt x="5238" y="3557"/>
                      </a:lnTo>
                      <a:lnTo>
                        <a:pt x="5222" y="3615"/>
                      </a:lnTo>
                      <a:lnTo>
                        <a:pt x="5204" y="3672"/>
                      </a:lnTo>
                      <a:lnTo>
                        <a:pt x="5186" y="3728"/>
                      </a:lnTo>
                      <a:lnTo>
                        <a:pt x="5166" y="3785"/>
                      </a:lnTo>
                      <a:lnTo>
                        <a:pt x="5145" y="3841"/>
                      </a:lnTo>
                      <a:lnTo>
                        <a:pt x="5121" y="3895"/>
                      </a:lnTo>
                      <a:lnTo>
                        <a:pt x="5098" y="3948"/>
                      </a:lnTo>
                      <a:lnTo>
                        <a:pt x="5073" y="4003"/>
                      </a:lnTo>
                      <a:lnTo>
                        <a:pt x="5045" y="4056"/>
                      </a:lnTo>
                      <a:lnTo>
                        <a:pt x="5017" y="4107"/>
                      </a:lnTo>
                      <a:lnTo>
                        <a:pt x="4987" y="4159"/>
                      </a:lnTo>
                      <a:lnTo>
                        <a:pt x="4956" y="4209"/>
                      </a:lnTo>
                      <a:lnTo>
                        <a:pt x="4924" y="4259"/>
                      </a:lnTo>
                      <a:lnTo>
                        <a:pt x="4891" y="4309"/>
                      </a:lnTo>
                      <a:lnTo>
                        <a:pt x="4856" y="4357"/>
                      </a:lnTo>
                      <a:lnTo>
                        <a:pt x="4819" y="4405"/>
                      </a:lnTo>
                      <a:lnTo>
                        <a:pt x="4782" y="4452"/>
                      </a:lnTo>
                      <a:lnTo>
                        <a:pt x="4744" y="4498"/>
                      </a:lnTo>
                      <a:lnTo>
                        <a:pt x="4704" y="4542"/>
                      </a:lnTo>
                      <a:lnTo>
                        <a:pt x="4663" y="4587"/>
                      </a:lnTo>
                      <a:lnTo>
                        <a:pt x="4663" y="4587"/>
                      </a:lnTo>
                      <a:lnTo>
                        <a:pt x="4620" y="4631"/>
                      </a:lnTo>
                      <a:lnTo>
                        <a:pt x="4576" y="4672"/>
                      </a:lnTo>
                      <a:lnTo>
                        <a:pt x="4532" y="4713"/>
                      </a:lnTo>
                      <a:lnTo>
                        <a:pt x="4488" y="4752"/>
                      </a:lnTo>
                      <a:lnTo>
                        <a:pt x="4442" y="4790"/>
                      </a:lnTo>
                      <a:lnTo>
                        <a:pt x="4395" y="4827"/>
                      </a:lnTo>
                      <a:lnTo>
                        <a:pt x="4346" y="4862"/>
                      </a:lnTo>
                      <a:lnTo>
                        <a:pt x="4299" y="4896"/>
                      </a:lnTo>
                      <a:lnTo>
                        <a:pt x="4249" y="4930"/>
                      </a:lnTo>
                      <a:lnTo>
                        <a:pt x="4199" y="4961"/>
                      </a:lnTo>
                      <a:lnTo>
                        <a:pt x="4148" y="4992"/>
                      </a:lnTo>
                      <a:lnTo>
                        <a:pt x="4097" y="5022"/>
                      </a:lnTo>
                      <a:lnTo>
                        <a:pt x="4044" y="5048"/>
                      </a:lnTo>
                      <a:lnTo>
                        <a:pt x="3991" y="5075"/>
                      </a:lnTo>
                      <a:lnTo>
                        <a:pt x="3938" y="5100"/>
                      </a:lnTo>
                      <a:lnTo>
                        <a:pt x="3883" y="5123"/>
                      </a:lnTo>
                      <a:lnTo>
                        <a:pt x="3829" y="5145"/>
                      </a:lnTo>
                      <a:lnTo>
                        <a:pt x="3773" y="5166"/>
                      </a:lnTo>
                      <a:lnTo>
                        <a:pt x="3717" y="5187"/>
                      </a:lnTo>
                      <a:lnTo>
                        <a:pt x="3660" y="5204"/>
                      </a:lnTo>
                      <a:lnTo>
                        <a:pt x="3603" y="5221"/>
                      </a:lnTo>
                      <a:lnTo>
                        <a:pt x="3546" y="5237"/>
                      </a:lnTo>
                      <a:lnTo>
                        <a:pt x="3487" y="5250"/>
                      </a:lnTo>
                      <a:lnTo>
                        <a:pt x="3428" y="5263"/>
                      </a:lnTo>
                      <a:lnTo>
                        <a:pt x="3369" y="5274"/>
                      </a:lnTo>
                      <a:lnTo>
                        <a:pt x="3310" y="5284"/>
                      </a:lnTo>
                      <a:lnTo>
                        <a:pt x="3249" y="5291"/>
                      </a:lnTo>
                      <a:lnTo>
                        <a:pt x="3189" y="5299"/>
                      </a:lnTo>
                      <a:lnTo>
                        <a:pt x="3128" y="5303"/>
                      </a:lnTo>
                      <a:lnTo>
                        <a:pt x="3066" y="5308"/>
                      </a:lnTo>
                      <a:lnTo>
                        <a:pt x="3004" y="5309"/>
                      </a:lnTo>
                      <a:lnTo>
                        <a:pt x="2943" y="5311"/>
                      </a:lnTo>
                      <a:lnTo>
                        <a:pt x="2943" y="5311"/>
                      </a:lnTo>
                      <a:lnTo>
                        <a:pt x="2879" y="5309"/>
                      </a:lnTo>
                      <a:lnTo>
                        <a:pt x="2814" y="5308"/>
                      </a:lnTo>
                      <a:lnTo>
                        <a:pt x="2751" y="5303"/>
                      </a:lnTo>
                      <a:lnTo>
                        <a:pt x="2688" y="5297"/>
                      </a:lnTo>
                      <a:lnTo>
                        <a:pt x="2624" y="5290"/>
                      </a:lnTo>
                      <a:lnTo>
                        <a:pt x="2561" y="5281"/>
                      </a:lnTo>
                      <a:lnTo>
                        <a:pt x="2499" y="5271"/>
                      </a:lnTo>
                      <a:lnTo>
                        <a:pt x="2437" y="5259"/>
                      </a:lnTo>
                      <a:lnTo>
                        <a:pt x="2376" y="5246"/>
                      </a:lnTo>
                      <a:lnTo>
                        <a:pt x="2315" y="5231"/>
                      </a:lnTo>
                      <a:lnTo>
                        <a:pt x="2256" y="5215"/>
                      </a:lnTo>
                      <a:lnTo>
                        <a:pt x="2195" y="5197"/>
                      </a:lnTo>
                      <a:lnTo>
                        <a:pt x="2136" y="5178"/>
                      </a:lnTo>
                      <a:lnTo>
                        <a:pt x="2077" y="5159"/>
                      </a:lnTo>
                      <a:lnTo>
                        <a:pt x="2020" y="5137"/>
                      </a:lnTo>
                      <a:lnTo>
                        <a:pt x="1962" y="5113"/>
                      </a:lnTo>
                      <a:lnTo>
                        <a:pt x="1905" y="5089"/>
                      </a:lnTo>
                      <a:lnTo>
                        <a:pt x="1849" y="5063"/>
                      </a:lnTo>
                      <a:lnTo>
                        <a:pt x="1793" y="5036"/>
                      </a:lnTo>
                      <a:lnTo>
                        <a:pt x="1738" y="5008"/>
                      </a:lnTo>
                      <a:lnTo>
                        <a:pt x="1685" y="4979"/>
                      </a:lnTo>
                      <a:lnTo>
                        <a:pt x="1631" y="4948"/>
                      </a:lnTo>
                      <a:lnTo>
                        <a:pt x="1579" y="4915"/>
                      </a:lnTo>
                      <a:lnTo>
                        <a:pt x="1527" y="4881"/>
                      </a:lnTo>
                      <a:lnTo>
                        <a:pt x="1476" y="4848"/>
                      </a:lnTo>
                      <a:lnTo>
                        <a:pt x="1426" y="4812"/>
                      </a:lnTo>
                      <a:lnTo>
                        <a:pt x="1377" y="4775"/>
                      </a:lnTo>
                      <a:lnTo>
                        <a:pt x="1328" y="4738"/>
                      </a:lnTo>
                      <a:lnTo>
                        <a:pt x="1280" y="4699"/>
                      </a:lnTo>
                      <a:lnTo>
                        <a:pt x="1234" y="4659"/>
                      </a:lnTo>
                      <a:lnTo>
                        <a:pt x="1188" y="4618"/>
                      </a:lnTo>
                      <a:lnTo>
                        <a:pt x="1143" y="4576"/>
                      </a:lnTo>
                      <a:lnTo>
                        <a:pt x="1100" y="4534"/>
                      </a:lnTo>
                      <a:lnTo>
                        <a:pt x="1057" y="4489"/>
                      </a:lnTo>
                      <a:lnTo>
                        <a:pt x="1014" y="4444"/>
                      </a:lnTo>
                      <a:lnTo>
                        <a:pt x="974" y="4398"/>
                      </a:lnTo>
                      <a:lnTo>
                        <a:pt x="935" y="4352"/>
                      </a:lnTo>
                      <a:lnTo>
                        <a:pt x="895" y="4303"/>
                      </a:lnTo>
                      <a:lnTo>
                        <a:pt x="858" y="4255"/>
                      </a:lnTo>
                      <a:lnTo>
                        <a:pt x="821" y="4206"/>
                      </a:lnTo>
                      <a:lnTo>
                        <a:pt x="786" y="4155"/>
                      </a:lnTo>
                      <a:lnTo>
                        <a:pt x="752" y="4104"/>
                      </a:lnTo>
                      <a:lnTo>
                        <a:pt x="719" y="4051"/>
                      </a:lnTo>
                      <a:lnTo>
                        <a:pt x="687" y="4000"/>
                      </a:lnTo>
                      <a:lnTo>
                        <a:pt x="656" y="3945"/>
                      </a:lnTo>
                      <a:lnTo>
                        <a:pt x="628" y="3891"/>
                      </a:lnTo>
                      <a:lnTo>
                        <a:pt x="599" y="3836"/>
                      </a:lnTo>
                      <a:lnTo>
                        <a:pt x="572" y="3780"/>
                      </a:lnTo>
                      <a:lnTo>
                        <a:pt x="547" y="3724"/>
                      </a:lnTo>
                      <a:lnTo>
                        <a:pt x="523" y="3667"/>
                      </a:lnTo>
                      <a:lnTo>
                        <a:pt x="500" y="3609"/>
                      </a:lnTo>
                      <a:lnTo>
                        <a:pt x="478" y="3550"/>
                      </a:lnTo>
                      <a:lnTo>
                        <a:pt x="459" y="3491"/>
                      </a:lnTo>
                      <a:lnTo>
                        <a:pt x="439" y="3432"/>
                      </a:lnTo>
                      <a:lnTo>
                        <a:pt x="422" y="3372"/>
                      </a:lnTo>
                      <a:lnTo>
                        <a:pt x="407" y="3311"/>
                      </a:lnTo>
                      <a:lnTo>
                        <a:pt x="392" y="3249"/>
                      </a:lnTo>
                      <a:lnTo>
                        <a:pt x="379" y="3187"/>
                      </a:lnTo>
                      <a:lnTo>
                        <a:pt x="367" y="3125"/>
                      </a:lnTo>
                      <a:lnTo>
                        <a:pt x="358" y="3062"/>
                      </a:lnTo>
                      <a:lnTo>
                        <a:pt x="349" y="2999"/>
                      </a:lnTo>
                      <a:lnTo>
                        <a:pt x="342" y="2935"/>
                      </a:lnTo>
                      <a:lnTo>
                        <a:pt x="338" y="2872"/>
                      </a:lnTo>
                      <a:lnTo>
                        <a:pt x="335" y="2807"/>
                      </a:lnTo>
                      <a:lnTo>
                        <a:pt x="335" y="2807"/>
                      </a:lnTo>
                      <a:lnTo>
                        <a:pt x="332" y="2745"/>
                      </a:lnTo>
                      <a:lnTo>
                        <a:pt x="332" y="2683"/>
                      </a:lnTo>
                      <a:lnTo>
                        <a:pt x="333" y="2621"/>
                      </a:lnTo>
                      <a:lnTo>
                        <a:pt x="336" y="2561"/>
                      </a:lnTo>
                      <a:lnTo>
                        <a:pt x="339" y="2500"/>
                      </a:lnTo>
                      <a:lnTo>
                        <a:pt x="345" y="2438"/>
                      </a:lnTo>
                      <a:lnTo>
                        <a:pt x="352" y="2379"/>
                      </a:lnTo>
                      <a:lnTo>
                        <a:pt x="361" y="2319"/>
                      </a:lnTo>
                      <a:lnTo>
                        <a:pt x="370" y="2260"/>
                      </a:lnTo>
                      <a:lnTo>
                        <a:pt x="382" y="2201"/>
                      </a:lnTo>
                      <a:lnTo>
                        <a:pt x="395" y="2142"/>
                      </a:lnTo>
                      <a:lnTo>
                        <a:pt x="410" y="2085"/>
                      </a:lnTo>
                      <a:lnTo>
                        <a:pt x="425" y="2027"/>
                      </a:lnTo>
                      <a:lnTo>
                        <a:pt x="442" y="1970"/>
                      </a:lnTo>
                      <a:lnTo>
                        <a:pt x="461" y="1913"/>
                      </a:lnTo>
                      <a:lnTo>
                        <a:pt x="481" y="1857"/>
                      </a:lnTo>
                      <a:lnTo>
                        <a:pt x="503" y="1801"/>
                      </a:lnTo>
                      <a:lnTo>
                        <a:pt x="525" y="1747"/>
                      </a:lnTo>
                      <a:lnTo>
                        <a:pt x="548" y="1694"/>
                      </a:lnTo>
                      <a:lnTo>
                        <a:pt x="575" y="1639"/>
                      </a:lnTo>
                      <a:lnTo>
                        <a:pt x="602" y="1586"/>
                      </a:lnTo>
                      <a:lnTo>
                        <a:pt x="630" y="1535"/>
                      </a:lnTo>
                      <a:lnTo>
                        <a:pt x="659" y="1483"/>
                      </a:lnTo>
                      <a:lnTo>
                        <a:pt x="690" y="1433"/>
                      </a:lnTo>
                      <a:lnTo>
                        <a:pt x="722" y="1383"/>
                      </a:lnTo>
                      <a:lnTo>
                        <a:pt x="756" y="1333"/>
                      </a:lnTo>
                      <a:lnTo>
                        <a:pt x="790" y="1285"/>
                      </a:lnTo>
                      <a:lnTo>
                        <a:pt x="827" y="1237"/>
                      </a:lnTo>
                      <a:lnTo>
                        <a:pt x="864" y="1190"/>
                      </a:lnTo>
                      <a:lnTo>
                        <a:pt x="902" y="1144"/>
                      </a:lnTo>
                      <a:lnTo>
                        <a:pt x="944" y="1100"/>
                      </a:lnTo>
                      <a:lnTo>
                        <a:pt x="985" y="1055"/>
                      </a:lnTo>
                      <a:lnTo>
                        <a:pt x="985" y="1055"/>
                      </a:lnTo>
                      <a:lnTo>
                        <a:pt x="1026" y="1011"/>
                      </a:lnTo>
                      <a:lnTo>
                        <a:pt x="1070" y="970"/>
                      </a:lnTo>
                      <a:lnTo>
                        <a:pt x="1115" y="929"/>
                      </a:lnTo>
                      <a:lnTo>
                        <a:pt x="1159" y="890"/>
                      </a:lnTo>
                      <a:lnTo>
                        <a:pt x="1206" y="852"/>
                      </a:lnTo>
                      <a:lnTo>
                        <a:pt x="1252" y="815"/>
                      </a:lnTo>
                      <a:lnTo>
                        <a:pt x="1300" y="780"/>
                      </a:lnTo>
                      <a:lnTo>
                        <a:pt x="1349" y="746"/>
                      </a:lnTo>
                      <a:lnTo>
                        <a:pt x="1398" y="712"/>
                      </a:lnTo>
                      <a:lnTo>
                        <a:pt x="1448" y="681"/>
                      </a:lnTo>
                      <a:lnTo>
                        <a:pt x="1498" y="650"/>
                      </a:lnTo>
                      <a:lnTo>
                        <a:pt x="1549" y="620"/>
                      </a:lnTo>
                      <a:lnTo>
                        <a:pt x="1602" y="594"/>
                      </a:lnTo>
                      <a:lnTo>
                        <a:pt x="1656" y="567"/>
                      </a:lnTo>
                      <a:lnTo>
                        <a:pt x="1709" y="542"/>
                      </a:lnTo>
                      <a:lnTo>
                        <a:pt x="1763" y="519"/>
                      </a:lnTo>
                      <a:lnTo>
                        <a:pt x="1818" y="497"/>
                      </a:lnTo>
                      <a:lnTo>
                        <a:pt x="1874" y="474"/>
                      </a:lnTo>
                      <a:lnTo>
                        <a:pt x="1930" y="455"/>
                      </a:lnTo>
                      <a:lnTo>
                        <a:pt x="1986" y="438"/>
                      </a:lnTo>
                      <a:lnTo>
                        <a:pt x="2043" y="421"/>
                      </a:lnTo>
                      <a:lnTo>
                        <a:pt x="2101" y="405"/>
                      </a:lnTo>
                      <a:lnTo>
                        <a:pt x="2160" y="392"/>
                      </a:lnTo>
                      <a:lnTo>
                        <a:pt x="2219" y="379"/>
                      </a:lnTo>
                      <a:lnTo>
                        <a:pt x="2278" y="368"/>
                      </a:lnTo>
                      <a:lnTo>
                        <a:pt x="2337" y="358"/>
                      </a:lnTo>
                      <a:lnTo>
                        <a:pt x="2397" y="351"/>
                      </a:lnTo>
                      <a:lnTo>
                        <a:pt x="2458" y="343"/>
                      </a:lnTo>
                      <a:lnTo>
                        <a:pt x="2518" y="339"/>
                      </a:lnTo>
                      <a:lnTo>
                        <a:pt x="2580" y="334"/>
                      </a:lnTo>
                      <a:lnTo>
                        <a:pt x="2642" y="333"/>
                      </a:lnTo>
                      <a:lnTo>
                        <a:pt x="2704" y="331"/>
                      </a:lnTo>
                      <a:close/>
                      <a:moveTo>
                        <a:pt x="2704" y="0"/>
                      </a:moveTo>
                      <a:lnTo>
                        <a:pt x="2704" y="0"/>
                      </a:lnTo>
                      <a:lnTo>
                        <a:pt x="2630" y="1"/>
                      </a:lnTo>
                      <a:lnTo>
                        <a:pt x="2558" y="4"/>
                      </a:lnTo>
                      <a:lnTo>
                        <a:pt x="2487" y="9"/>
                      </a:lnTo>
                      <a:lnTo>
                        <a:pt x="2415" y="14"/>
                      </a:lnTo>
                      <a:lnTo>
                        <a:pt x="2345" y="23"/>
                      </a:lnTo>
                      <a:lnTo>
                        <a:pt x="2275" y="32"/>
                      </a:lnTo>
                      <a:lnTo>
                        <a:pt x="2205" y="44"/>
                      </a:lnTo>
                      <a:lnTo>
                        <a:pt x="2138" y="57"/>
                      </a:lnTo>
                      <a:lnTo>
                        <a:pt x="2070" y="72"/>
                      </a:lnTo>
                      <a:lnTo>
                        <a:pt x="2002" y="88"/>
                      </a:lnTo>
                      <a:lnTo>
                        <a:pt x="1936" y="107"/>
                      </a:lnTo>
                      <a:lnTo>
                        <a:pt x="1869" y="127"/>
                      </a:lnTo>
                      <a:lnTo>
                        <a:pt x="1804" y="149"/>
                      </a:lnTo>
                      <a:lnTo>
                        <a:pt x="1741" y="171"/>
                      </a:lnTo>
                      <a:lnTo>
                        <a:pt x="1678" y="196"/>
                      </a:lnTo>
                      <a:lnTo>
                        <a:pt x="1614" y="222"/>
                      </a:lnTo>
                      <a:lnTo>
                        <a:pt x="1552" y="249"/>
                      </a:lnTo>
                      <a:lnTo>
                        <a:pt x="1492" y="278"/>
                      </a:lnTo>
                      <a:lnTo>
                        <a:pt x="1433" y="308"/>
                      </a:lnTo>
                      <a:lnTo>
                        <a:pt x="1373" y="340"/>
                      </a:lnTo>
                      <a:lnTo>
                        <a:pt x="1315" y="374"/>
                      </a:lnTo>
                      <a:lnTo>
                        <a:pt x="1258" y="408"/>
                      </a:lnTo>
                      <a:lnTo>
                        <a:pt x="1202" y="445"/>
                      </a:lnTo>
                      <a:lnTo>
                        <a:pt x="1147" y="482"/>
                      </a:lnTo>
                      <a:lnTo>
                        <a:pt x="1092" y="520"/>
                      </a:lnTo>
                      <a:lnTo>
                        <a:pt x="1039" y="560"/>
                      </a:lnTo>
                      <a:lnTo>
                        <a:pt x="988" y="601"/>
                      </a:lnTo>
                      <a:lnTo>
                        <a:pt x="936" y="644"/>
                      </a:lnTo>
                      <a:lnTo>
                        <a:pt x="886" y="688"/>
                      </a:lnTo>
                      <a:lnTo>
                        <a:pt x="837" y="732"/>
                      </a:lnTo>
                      <a:lnTo>
                        <a:pt x="790" y="778"/>
                      </a:lnTo>
                      <a:lnTo>
                        <a:pt x="745" y="827"/>
                      </a:lnTo>
                      <a:lnTo>
                        <a:pt x="699" y="874"/>
                      </a:lnTo>
                      <a:lnTo>
                        <a:pt x="655" y="924"/>
                      </a:lnTo>
                      <a:lnTo>
                        <a:pt x="612" y="974"/>
                      </a:lnTo>
                      <a:lnTo>
                        <a:pt x="571" y="1026"/>
                      </a:lnTo>
                      <a:lnTo>
                        <a:pt x="531" y="1079"/>
                      </a:lnTo>
                      <a:lnTo>
                        <a:pt x="491" y="1134"/>
                      </a:lnTo>
                      <a:lnTo>
                        <a:pt x="454" y="1188"/>
                      </a:lnTo>
                      <a:lnTo>
                        <a:pt x="417" y="1244"/>
                      </a:lnTo>
                      <a:lnTo>
                        <a:pt x="382" y="1300"/>
                      </a:lnTo>
                      <a:lnTo>
                        <a:pt x="349" y="1358"/>
                      </a:lnTo>
                      <a:lnTo>
                        <a:pt x="317" y="1417"/>
                      </a:lnTo>
                      <a:lnTo>
                        <a:pt x="286" y="1476"/>
                      </a:lnTo>
                      <a:lnTo>
                        <a:pt x="257" y="1536"/>
                      </a:lnTo>
                      <a:lnTo>
                        <a:pt x="229" y="1598"/>
                      </a:lnTo>
                      <a:lnTo>
                        <a:pt x="202" y="1660"/>
                      </a:lnTo>
                      <a:lnTo>
                        <a:pt x="177" y="1723"/>
                      </a:lnTo>
                      <a:lnTo>
                        <a:pt x="155" y="1787"/>
                      </a:lnTo>
                      <a:lnTo>
                        <a:pt x="133" y="1852"/>
                      </a:lnTo>
                      <a:lnTo>
                        <a:pt x="112" y="1916"/>
                      </a:lnTo>
                      <a:lnTo>
                        <a:pt x="94" y="1983"/>
                      </a:lnTo>
                      <a:lnTo>
                        <a:pt x="77" y="2049"/>
                      </a:lnTo>
                      <a:lnTo>
                        <a:pt x="62" y="2115"/>
                      </a:lnTo>
                      <a:lnTo>
                        <a:pt x="47" y="2183"/>
                      </a:lnTo>
                      <a:lnTo>
                        <a:pt x="35" y="2253"/>
                      </a:lnTo>
                      <a:lnTo>
                        <a:pt x="25" y="2322"/>
                      </a:lnTo>
                      <a:lnTo>
                        <a:pt x="16" y="2391"/>
                      </a:lnTo>
                      <a:lnTo>
                        <a:pt x="10" y="2462"/>
                      </a:lnTo>
                      <a:lnTo>
                        <a:pt x="4" y="2533"/>
                      </a:lnTo>
                      <a:lnTo>
                        <a:pt x="2" y="2604"/>
                      </a:lnTo>
                      <a:lnTo>
                        <a:pt x="0" y="2676"/>
                      </a:lnTo>
                      <a:lnTo>
                        <a:pt x="0" y="2748"/>
                      </a:lnTo>
                      <a:lnTo>
                        <a:pt x="3" y="2820"/>
                      </a:lnTo>
                      <a:lnTo>
                        <a:pt x="3" y="2820"/>
                      </a:lnTo>
                      <a:lnTo>
                        <a:pt x="7" y="2894"/>
                      </a:lnTo>
                      <a:lnTo>
                        <a:pt x="12" y="2966"/>
                      </a:lnTo>
                      <a:lnTo>
                        <a:pt x="21" y="3038"/>
                      </a:lnTo>
                      <a:lnTo>
                        <a:pt x="30" y="3109"/>
                      </a:lnTo>
                      <a:lnTo>
                        <a:pt x="41" y="3180"/>
                      </a:lnTo>
                      <a:lnTo>
                        <a:pt x="53" y="3251"/>
                      </a:lnTo>
                      <a:lnTo>
                        <a:pt x="68" y="3320"/>
                      </a:lnTo>
                      <a:lnTo>
                        <a:pt x="84" y="3389"/>
                      </a:lnTo>
                      <a:lnTo>
                        <a:pt x="102" y="3459"/>
                      </a:lnTo>
                      <a:lnTo>
                        <a:pt x="121" y="3526"/>
                      </a:lnTo>
                      <a:lnTo>
                        <a:pt x="143" y="3593"/>
                      </a:lnTo>
                      <a:lnTo>
                        <a:pt x="165" y="3659"/>
                      </a:lnTo>
                      <a:lnTo>
                        <a:pt x="189" y="3726"/>
                      </a:lnTo>
                      <a:lnTo>
                        <a:pt x="215" y="3790"/>
                      </a:lnTo>
                      <a:lnTo>
                        <a:pt x="242" y="3855"/>
                      </a:lnTo>
                      <a:lnTo>
                        <a:pt x="271" y="3919"/>
                      </a:lnTo>
                      <a:lnTo>
                        <a:pt x="301" y="3982"/>
                      </a:lnTo>
                      <a:lnTo>
                        <a:pt x="333" y="4044"/>
                      </a:lnTo>
                      <a:lnTo>
                        <a:pt x="366" y="4106"/>
                      </a:lnTo>
                      <a:lnTo>
                        <a:pt x="401" y="4165"/>
                      </a:lnTo>
                      <a:lnTo>
                        <a:pt x="436" y="4225"/>
                      </a:lnTo>
                      <a:lnTo>
                        <a:pt x="473" y="4284"/>
                      </a:lnTo>
                      <a:lnTo>
                        <a:pt x="512" y="4342"/>
                      </a:lnTo>
                      <a:lnTo>
                        <a:pt x="551" y="4398"/>
                      </a:lnTo>
                      <a:lnTo>
                        <a:pt x="593" y="4454"/>
                      </a:lnTo>
                      <a:lnTo>
                        <a:pt x="635" y="4508"/>
                      </a:lnTo>
                      <a:lnTo>
                        <a:pt x="678" y="4563"/>
                      </a:lnTo>
                      <a:lnTo>
                        <a:pt x="722" y="4616"/>
                      </a:lnTo>
                      <a:lnTo>
                        <a:pt x="770" y="4668"/>
                      </a:lnTo>
                      <a:lnTo>
                        <a:pt x="817" y="4718"/>
                      </a:lnTo>
                      <a:lnTo>
                        <a:pt x="864" y="4768"/>
                      </a:lnTo>
                      <a:lnTo>
                        <a:pt x="914" y="4815"/>
                      </a:lnTo>
                      <a:lnTo>
                        <a:pt x="964" y="4862"/>
                      </a:lnTo>
                      <a:lnTo>
                        <a:pt x="1016" y="4909"/>
                      </a:lnTo>
                      <a:lnTo>
                        <a:pt x="1069" y="4954"/>
                      </a:lnTo>
                      <a:lnTo>
                        <a:pt x="1122" y="4998"/>
                      </a:lnTo>
                      <a:lnTo>
                        <a:pt x="1176" y="5041"/>
                      </a:lnTo>
                      <a:lnTo>
                        <a:pt x="1232" y="5082"/>
                      </a:lnTo>
                      <a:lnTo>
                        <a:pt x="1288" y="5122"/>
                      </a:lnTo>
                      <a:lnTo>
                        <a:pt x="1346" y="5160"/>
                      </a:lnTo>
                      <a:lnTo>
                        <a:pt x="1403" y="5197"/>
                      </a:lnTo>
                      <a:lnTo>
                        <a:pt x="1464" y="5234"/>
                      </a:lnTo>
                      <a:lnTo>
                        <a:pt x="1523" y="5268"/>
                      </a:lnTo>
                      <a:lnTo>
                        <a:pt x="1585" y="5302"/>
                      </a:lnTo>
                      <a:lnTo>
                        <a:pt x="1647" y="5333"/>
                      </a:lnTo>
                      <a:lnTo>
                        <a:pt x="1709" y="5364"/>
                      </a:lnTo>
                      <a:lnTo>
                        <a:pt x="1772" y="5393"/>
                      </a:lnTo>
                      <a:lnTo>
                        <a:pt x="1835" y="5420"/>
                      </a:lnTo>
                      <a:lnTo>
                        <a:pt x="1900" y="5446"/>
                      </a:lnTo>
                      <a:lnTo>
                        <a:pt x="1967" y="5471"/>
                      </a:lnTo>
                      <a:lnTo>
                        <a:pt x="2033" y="5493"/>
                      </a:lnTo>
                      <a:lnTo>
                        <a:pt x="2099" y="5515"/>
                      </a:lnTo>
                      <a:lnTo>
                        <a:pt x="2167" y="5535"/>
                      </a:lnTo>
                      <a:lnTo>
                        <a:pt x="2235" y="5554"/>
                      </a:lnTo>
                      <a:lnTo>
                        <a:pt x="2303" y="5570"/>
                      </a:lnTo>
                      <a:lnTo>
                        <a:pt x="2372" y="5585"/>
                      </a:lnTo>
                      <a:lnTo>
                        <a:pt x="2443" y="5598"/>
                      </a:lnTo>
                      <a:lnTo>
                        <a:pt x="2512" y="5610"/>
                      </a:lnTo>
                      <a:lnTo>
                        <a:pt x="2583" y="5619"/>
                      </a:lnTo>
                      <a:lnTo>
                        <a:pt x="2654" y="5628"/>
                      </a:lnTo>
                      <a:lnTo>
                        <a:pt x="2726" y="5633"/>
                      </a:lnTo>
                      <a:lnTo>
                        <a:pt x="2798" y="5638"/>
                      </a:lnTo>
                      <a:lnTo>
                        <a:pt x="2870" y="5641"/>
                      </a:lnTo>
                      <a:lnTo>
                        <a:pt x="2943" y="5642"/>
                      </a:lnTo>
                      <a:lnTo>
                        <a:pt x="2943" y="5642"/>
                      </a:lnTo>
                      <a:lnTo>
                        <a:pt x="3016" y="5641"/>
                      </a:lnTo>
                      <a:lnTo>
                        <a:pt x="3088" y="5638"/>
                      </a:lnTo>
                      <a:lnTo>
                        <a:pt x="3159" y="5633"/>
                      </a:lnTo>
                      <a:lnTo>
                        <a:pt x="3231" y="5628"/>
                      </a:lnTo>
                      <a:lnTo>
                        <a:pt x="3302" y="5619"/>
                      </a:lnTo>
                      <a:lnTo>
                        <a:pt x="3372" y="5610"/>
                      </a:lnTo>
                      <a:lnTo>
                        <a:pt x="3441" y="5598"/>
                      </a:lnTo>
                      <a:lnTo>
                        <a:pt x="3509" y="5585"/>
                      </a:lnTo>
                      <a:lnTo>
                        <a:pt x="3578" y="5570"/>
                      </a:lnTo>
                      <a:lnTo>
                        <a:pt x="3644" y="5554"/>
                      </a:lnTo>
                      <a:lnTo>
                        <a:pt x="3711" y="5535"/>
                      </a:lnTo>
                      <a:lnTo>
                        <a:pt x="3777" y="5515"/>
                      </a:lnTo>
                      <a:lnTo>
                        <a:pt x="3842" y="5493"/>
                      </a:lnTo>
                      <a:lnTo>
                        <a:pt x="3905" y="5471"/>
                      </a:lnTo>
                      <a:lnTo>
                        <a:pt x="3969" y="5446"/>
                      </a:lnTo>
                      <a:lnTo>
                        <a:pt x="4032" y="5420"/>
                      </a:lnTo>
                      <a:lnTo>
                        <a:pt x="4094" y="5393"/>
                      </a:lnTo>
                      <a:lnTo>
                        <a:pt x="4154" y="5364"/>
                      </a:lnTo>
                      <a:lnTo>
                        <a:pt x="4215" y="5333"/>
                      </a:lnTo>
                      <a:lnTo>
                        <a:pt x="4274" y="5302"/>
                      </a:lnTo>
                      <a:lnTo>
                        <a:pt x="4331" y="5268"/>
                      </a:lnTo>
                      <a:lnTo>
                        <a:pt x="4389" y="5234"/>
                      </a:lnTo>
                      <a:lnTo>
                        <a:pt x="4445" y="5197"/>
                      </a:lnTo>
                      <a:lnTo>
                        <a:pt x="4499" y="5160"/>
                      </a:lnTo>
                      <a:lnTo>
                        <a:pt x="4554" y="5122"/>
                      </a:lnTo>
                      <a:lnTo>
                        <a:pt x="4607" y="5082"/>
                      </a:lnTo>
                      <a:lnTo>
                        <a:pt x="4659" y="5041"/>
                      </a:lnTo>
                      <a:lnTo>
                        <a:pt x="4710" y="4998"/>
                      </a:lnTo>
                      <a:lnTo>
                        <a:pt x="4760" y="4954"/>
                      </a:lnTo>
                      <a:lnTo>
                        <a:pt x="4809" y="4909"/>
                      </a:lnTo>
                      <a:lnTo>
                        <a:pt x="4856" y="4862"/>
                      </a:lnTo>
                      <a:lnTo>
                        <a:pt x="4903" y="4815"/>
                      </a:lnTo>
                      <a:lnTo>
                        <a:pt x="4947" y="4768"/>
                      </a:lnTo>
                      <a:lnTo>
                        <a:pt x="4992" y="4718"/>
                      </a:lnTo>
                      <a:lnTo>
                        <a:pt x="5034" y="4668"/>
                      </a:lnTo>
                      <a:lnTo>
                        <a:pt x="5076" y="4616"/>
                      </a:lnTo>
                      <a:lnTo>
                        <a:pt x="5117" y="4563"/>
                      </a:lnTo>
                      <a:lnTo>
                        <a:pt x="5155" y="4508"/>
                      </a:lnTo>
                      <a:lnTo>
                        <a:pt x="5194" y="4454"/>
                      </a:lnTo>
                      <a:lnTo>
                        <a:pt x="5229" y="4398"/>
                      </a:lnTo>
                      <a:lnTo>
                        <a:pt x="5264" y="4342"/>
                      </a:lnTo>
                      <a:lnTo>
                        <a:pt x="5298" y="4284"/>
                      </a:lnTo>
                      <a:lnTo>
                        <a:pt x="5329" y="4225"/>
                      </a:lnTo>
                      <a:lnTo>
                        <a:pt x="5360" y="4165"/>
                      </a:lnTo>
                      <a:lnTo>
                        <a:pt x="5390" y="4106"/>
                      </a:lnTo>
                      <a:lnTo>
                        <a:pt x="5418" y="4044"/>
                      </a:lnTo>
                      <a:lnTo>
                        <a:pt x="5444" y="3982"/>
                      </a:lnTo>
                      <a:lnTo>
                        <a:pt x="5469" y="3919"/>
                      </a:lnTo>
                      <a:lnTo>
                        <a:pt x="5493" y="3855"/>
                      </a:lnTo>
                      <a:lnTo>
                        <a:pt x="5514" y="3790"/>
                      </a:lnTo>
                      <a:lnTo>
                        <a:pt x="5534" y="3726"/>
                      </a:lnTo>
                      <a:lnTo>
                        <a:pt x="5553" y="3659"/>
                      </a:lnTo>
                      <a:lnTo>
                        <a:pt x="5570" y="3593"/>
                      </a:lnTo>
                      <a:lnTo>
                        <a:pt x="5584" y="3526"/>
                      </a:lnTo>
                      <a:lnTo>
                        <a:pt x="5599" y="3459"/>
                      </a:lnTo>
                      <a:lnTo>
                        <a:pt x="5611" y="3389"/>
                      </a:lnTo>
                      <a:lnTo>
                        <a:pt x="5621" y="3320"/>
                      </a:lnTo>
                      <a:lnTo>
                        <a:pt x="5630" y="3251"/>
                      </a:lnTo>
                      <a:lnTo>
                        <a:pt x="5636" y="3180"/>
                      </a:lnTo>
                      <a:lnTo>
                        <a:pt x="5642" y="3109"/>
                      </a:lnTo>
                      <a:lnTo>
                        <a:pt x="5645" y="3038"/>
                      </a:lnTo>
                      <a:lnTo>
                        <a:pt x="5646" y="2966"/>
                      </a:lnTo>
                      <a:lnTo>
                        <a:pt x="5646" y="2894"/>
                      </a:lnTo>
                      <a:lnTo>
                        <a:pt x="5643" y="2820"/>
                      </a:lnTo>
                      <a:lnTo>
                        <a:pt x="5643" y="2820"/>
                      </a:lnTo>
                      <a:lnTo>
                        <a:pt x="5640" y="2748"/>
                      </a:lnTo>
                      <a:lnTo>
                        <a:pt x="5634" y="2676"/>
                      </a:lnTo>
                      <a:lnTo>
                        <a:pt x="5627" y="2604"/>
                      </a:lnTo>
                      <a:lnTo>
                        <a:pt x="5617" y="2533"/>
                      </a:lnTo>
                      <a:lnTo>
                        <a:pt x="5606" y="2462"/>
                      </a:lnTo>
                      <a:lnTo>
                        <a:pt x="5593" y="2391"/>
                      </a:lnTo>
                      <a:lnTo>
                        <a:pt x="5578" y="2322"/>
                      </a:lnTo>
                      <a:lnTo>
                        <a:pt x="5562" y="2253"/>
                      </a:lnTo>
                      <a:lnTo>
                        <a:pt x="5545" y="2183"/>
                      </a:lnTo>
                      <a:lnTo>
                        <a:pt x="5525" y="2115"/>
                      </a:lnTo>
                      <a:lnTo>
                        <a:pt x="5505" y="2049"/>
                      </a:lnTo>
                      <a:lnTo>
                        <a:pt x="5481" y="1983"/>
                      </a:lnTo>
                      <a:lnTo>
                        <a:pt x="5458" y="1916"/>
                      </a:lnTo>
                      <a:lnTo>
                        <a:pt x="5431" y="1852"/>
                      </a:lnTo>
                      <a:lnTo>
                        <a:pt x="5404" y="1787"/>
                      </a:lnTo>
                      <a:lnTo>
                        <a:pt x="5375" y="1723"/>
                      </a:lnTo>
                      <a:lnTo>
                        <a:pt x="5346" y="1660"/>
                      </a:lnTo>
                      <a:lnTo>
                        <a:pt x="5313" y="1598"/>
                      </a:lnTo>
                      <a:lnTo>
                        <a:pt x="5281" y="1536"/>
                      </a:lnTo>
                      <a:lnTo>
                        <a:pt x="5247" y="1476"/>
                      </a:lnTo>
                      <a:lnTo>
                        <a:pt x="5210" y="1417"/>
                      </a:lnTo>
                      <a:lnTo>
                        <a:pt x="5173" y="1358"/>
                      </a:lnTo>
                      <a:lnTo>
                        <a:pt x="5135" y="1300"/>
                      </a:lnTo>
                      <a:lnTo>
                        <a:pt x="5095" y="1244"/>
                      </a:lnTo>
                      <a:lnTo>
                        <a:pt x="5054" y="1188"/>
                      </a:lnTo>
                      <a:lnTo>
                        <a:pt x="5012" y="1134"/>
                      </a:lnTo>
                      <a:lnTo>
                        <a:pt x="4968" y="1079"/>
                      </a:lnTo>
                      <a:lnTo>
                        <a:pt x="4924" y="1026"/>
                      </a:lnTo>
                      <a:lnTo>
                        <a:pt x="4878" y="974"/>
                      </a:lnTo>
                      <a:lnTo>
                        <a:pt x="4831" y="924"/>
                      </a:lnTo>
                      <a:lnTo>
                        <a:pt x="4782" y="874"/>
                      </a:lnTo>
                      <a:lnTo>
                        <a:pt x="4732" y="827"/>
                      </a:lnTo>
                      <a:lnTo>
                        <a:pt x="4682" y="778"/>
                      </a:lnTo>
                      <a:lnTo>
                        <a:pt x="4631" y="732"/>
                      </a:lnTo>
                      <a:lnTo>
                        <a:pt x="4579" y="688"/>
                      </a:lnTo>
                      <a:lnTo>
                        <a:pt x="4524" y="644"/>
                      </a:lnTo>
                      <a:lnTo>
                        <a:pt x="4470" y="601"/>
                      </a:lnTo>
                      <a:lnTo>
                        <a:pt x="4415" y="560"/>
                      </a:lnTo>
                      <a:lnTo>
                        <a:pt x="4358" y="520"/>
                      </a:lnTo>
                      <a:lnTo>
                        <a:pt x="4300" y="482"/>
                      </a:lnTo>
                      <a:lnTo>
                        <a:pt x="4243" y="445"/>
                      </a:lnTo>
                      <a:lnTo>
                        <a:pt x="4184" y="408"/>
                      </a:lnTo>
                      <a:lnTo>
                        <a:pt x="4123" y="374"/>
                      </a:lnTo>
                      <a:lnTo>
                        <a:pt x="4061" y="340"/>
                      </a:lnTo>
                      <a:lnTo>
                        <a:pt x="4001" y="308"/>
                      </a:lnTo>
                      <a:lnTo>
                        <a:pt x="3938" y="278"/>
                      </a:lnTo>
                      <a:lnTo>
                        <a:pt x="3874" y="249"/>
                      </a:lnTo>
                      <a:lnTo>
                        <a:pt x="3811" y="222"/>
                      </a:lnTo>
                      <a:lnTo>
                        <a:pt x="3746" y="196"/>
                      </a:lnTo>
                      <a:lnTo>
                        <a:pt x="3680" y="171"/>
                      </a:lnTo>
                      <a:lnTo>
                        <a:pt x="3615" y="149"/>
                      </a:lnTo>
                      <a:lnTo>
                        <a:pt x="3547" y="127"/>
                      </a:lnTo>
                      <a:lnTo>
                        <a:pt x="3481" y="107"/>
                      </a:lnTo>
                      <a:lnTo>
                        <a:pt x="3411" y="88"/>
                      </a:lnTo>
                      <a:lnTo>
                        <a:pt x="3344" y="72"/>
                      </a:lnTo>
                      <a:lnTo>
                        <a:pt x="3274" y="57"/>
                      </a:lnTo>
                      <a:lnTo>
                        <a:pt x="3205" y="44"/>
                      </a:lnTo>
                      <a:lnTo>
                        <a:pt x="3134" y="32"/>
                      </a:lnTo>
                      <a:lnTo>
                        <a:pt x="3063" y="23"/>
                      </a:lnTo>
                      <a:lnTo>
                        <a:pt x="2993" y="14"/>
                      </a:lnTo>
                      <a:lnTo>
                        <a:pt x="2920" y="9"/>
                      </a:lnTo>
                      <a:lnTo>
                        <a:pt x="2848" y="4"/>
                      </a:lnTo>
                      <a:lnTo>
                        <a:pt x="2776" y="1"/>
                      </a:lnTo>
                      <a:lnTo>
                        <a:pt x="2704" y="0"/>
                      </a:lnTo>
                      <a:lnTo>
                        <a:pt x="270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57" name="Freeform 16">
                  <a:extLst>
                    <a:ext uri="{FF2B5EF4-FFF2-40B4-BE49-F238E27FC236}">
                      <a16:creationId xmlns:a16="http://schemas.microsoft.com/office/drawing/2014/main" xmlns="" id="{0B4641F8-FE48-7640-A5CF-153B89A9A2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13750" y="404813"/>
                  <a:ext cx="2928938" cy="2925763"/>
                </a:xfrm>
                <a:custGeom>
                  <a:avLst/>
                  <a:gdLst/>
                  <a:ahLst/>
                  <a:cxnLst>
                    <a:cxn ang="0">
                      <a:pos x="3124" y="135"/>
                    </a:cxn>
                    <a:cxn ang="0">
                      <a:pos x="3699" y="303"/>
                    </a:cxn>
                    <a:cxn ang="0">
                      <a:pos x="4218" y="588"/>
                    </a:cxn>
                    <a:cxn ang="0">
                      <a:pos x="4666" y="971"/>
                    </a:cxn>
                    <a:cxn ang="0">
                      <a:pos x="5027" y="1439"/>
                    </a:cxn>
                    <a:cxn ang="0">
                      <a:pos x="5285" y="1974"/>
                    </a:cxn>
                    <a:cxn ang="0">
                      <a:pos x="5422" y="2564"/>
                    </a:cxn>
                    <a:cxn ang="0">
                      <a:pos x="5433" y="3100"/>
                    </a:cxn>
                    <a:cxn ang="0">
                      <a:pos x="5322" y="3670"/>
                    </a:cxn>
                    <a:cxn ang="0">
                      <a:pos x="5088" y="4194"/>
                    </a:cxn>
                    <a:cxn ang="0">
                      <a:pos x="4737" y="4656"/>
                    </a:cxn>
                    <a:cxn ang="0">
                      <a:pos x="4345" y="4991"/>
                    </a:cxn>
                    <a:cxn ang="0">
                      <a:pos x="3839" y="5259"/>
                    </a:cxn>
                    <a:cxn ang="0">
                      <a:pos x="3279" y="5408"/>
                    </a:cxn>
                    <a:cxn ang="0">
                      <a:pos x="2748" y="5433"/>
                    </a:cxn>
                    <a:cxn ang="0">
                      <a:pos x="2149" y="5336"/>
                    </a:cxn>
                    <a:cxn ang="0">
                      <a:pos x="1597" y="5113"/>
                    </a:cxn>
                    <a:cxn ang="0">
                      <a:pos x="1107" y="4784"/>
                    </a:cxn>
                    <a:cxn ang="0">
                      <a:pos x="696" y="4361"/>
                    </a:cxn>
                    <a:cxn ang="0">
                      <a:pos x="379" y="3861"/>
                    </a:cxn>
                    <a:cxn ang="0">
                      <a:pos x="173" y="3299"/>
                    </a:cxn>
                    <a:cxn ang="0">
                      <a:pos x="96" y="2761"/>
                    </a:cxn>
                    <a:cxn ang="0">
                      <a:pos x="136" y="2172"/>
                    </a:cxn>
                    <a:cxn ang="0">
                      <a:pos x="302" y="1620"/>
                    </a:cxn>
                    <a:cxn ang="0">
                      <a:pos x="588" y="1122"/>
                    </a:cxn>
                    <a:cxn ang="0">
                      <a:pos x="938" y="738"/>
                    </a:cxn>
                    <a:cxn ang="0">
                      <a:pos x="1408" y="405"/>
                    </a:cxn>
                    <a:cxn ang="0">
                      <a:pos x="1939" y="190"/>
                    </a:cxn>
                    <a:cxn ang="0">
                      <a:pos x="2517" y="96"/>
                    </a:cxn>
                    <a:cxn ang="0">
                      <a:pos x="2298" y="22"/>
                    </a:cxn>
                    <a:cxn ang="0">
                      <a:pos x="1706" y="168"/>
                    </a:cxn>
                    <a:cxn ang="0">
                      <a:pos x="1178" y="436"/>
                    </a:cxn>
                    <a:cxn ang="0">
                      <a:pos x="730" y="811"/>
                    </a:cxn>
                    <a:cxn ang="0">
                      <a:pos x="374" y="1275"/>
                    </a:cxn>
                    <a:cxn ang="0">
                      <a:pos x="130" y="1815"/>
                    </a:cxn>
                    <a:cxn ang="0">
                      <a:pos x="10" y="2413"/>
                    </a:cxn>
                    <a:cxn ang="0">
                      <a:pos x="21" y="2978"/>
                    </a:cxn>
                    <a:cxn ang="0">
                      <a:pos x="162" y="3587"/>
                    </a:cxn>
                    <a:cxn ang="0">
                      <a:pos x="428" y="4141"/>
                    </a:cxn>
                    <a:cxn ang="0">
                      <a:pos x="801" y="4623"/>
                    </a:cxn>
                    <a:cxn ang="0">
                      <a:pos x="1263" y="5020"/>
                    </a:cxn>
                    <a:cxn ang="0">
                      <a:pos x="1800" y="5312"/>
                    </a:cxn>
                    <a:cxn ang="0">
                      <a:pos x="2394" y="5486"/>
                    </a:cxn>
                    <a:cxn ang="0">
                      <a:pos x="2956" y="5529"/>
                    </a:cxn>
                    <a:cxn ang="0">
                      <a:pos x="3572" y="5443"/>
                    </a:cxn>
                    <a:cxn ang="0">
                      <a:pos x="4131" y="5228"/>
                    </a:cxn>
                    <a:cxn ang="0">
                      <a:pos x="4616" y="4898"/>
                    </a:cxn>
                    <a:cxn ang="0">
                      <a:pos x="5015" y="4472"/>
                    </a:cxn>
                    <a:cxn ang="0">
                      <a:pos x="5310" y="3963"/>
                    </a:cxn>
                    <a:cxn ang="0">
                      <a:pos x="5487" y="3389"/>
                    </a:cxn>
                    <a:cxn ang="0">
                      <a:pos x="5531" y="2764"/>
                    </a:cxn>
                    <a:cxn ang="0">
                      <a:pos x="5452" y="2208"/>
                    </a:cxn>
                    <a:cxn ang="0">
                      <a:pos x="5239" y="1627"/>
                    </a:cxn>
                    <a:cxn ang="0">
                      <a:pos x="4912" y="1111"/>
                    </a:cxn>
                    <a:cxn ang="0">
                      <a:pos x="4488" y="675"/>
                    </a:cxn>
                    <a:cxn ang="0">
                      <a:pos x="3982" y="334"/>
                    </a:cxn>
                    <a:cxn ang="0">
                      <a:pos x="3411" y="104"/>
                    </a:cxn>
                    <a:cxn ang="0">
                      <a:pos x="2792" y="4"/>
                    </a:cxn>
                  </a:cxnLst>
                  <a:rect l="0" t="0" r="r" b="b"/>
                  <a:pathLst>
                    <a:path w="5534" h="5530">
                      <a:moveTo>
                        <a:pt x="2649" y="93"/>
                      </a:moveTo>
                      <a:lnTo>
                        <a:pt x="2649" y="93"/>
                      </a:lnTo>
                      <a:lnTo>
                        <a:pt x="2718" y="94"/>
                      </a:lnTo>
                      <a:lnTo>
                        <a:pt x="2788" y="97"/>
                      </a:lnTo>
                      <a:lnTo>
                        <a:pt x="2856" y="101"/>
                      </a:lnTo>
                      <a:lnTo>
                        <a:pt x="2923" y="107"/>
                      </a:lnTo>
                      <a:lnTo>
                        <a:pt x="2991" y="115"/>
                      </a:lnTo>
                      <a:lnTo>
                        <a:pt x="3058" y="124"/>
                      </a:lnTo>
                      <a:lnTo>
                        <a:pt x="3124" y="135"/>
                      </a:lnTo>
                      <a:lnTo>
                        <a:pt x="3190" y="147"/>
                      </a:lnTo>
                      <a:lnTo>
                        <a:pt x="3257" y="162"/>
                      </a:lnTo>
                      <a:lnTo>
                        <a:pt x="3321" y="178"/>
                      </a:lnTo>
                      <a:lnTo>
                        <a:pt x="3385" y="194"/>
                      </a:lnTo>
                      <a:lnTo>
                        <a:pt x="3450" y="214"/>
                      </a:lnTo>
                      <a:lnTo>
                        <a:pt x="3513" y="234"/>
                      </a:lnTo>
                      <a:lnTo>
                        <a:pt x="3575" y="256"/>
                      </a:lnTo>
                      <a:lnTo>
                        <a:pt x="3637" y="278"/>
                      </a:lnTo>
                      <a:lnTo>
                        <a:pt x="3699" y="303"/>
                      </a:lnTo>
                      <a:lnTo>
                        <a:pt x="3759" y="330"/>
                      </a:lnTo>
                      <a:lnTo>
                        <a:pt x="3820" y="358"/>
                      </a:lnTo>
                      <a:lnTo>
                        <a:pt x="3879" y="386"/>
                      </a:lnTo>
                      <a:lnTo>
                        <a:pt x="3938" y="417"/>
                      </a:lnTo>
                      <a:lnTo>
                        <a:pt x="3995" y="448"/>
                      </a:lnTo>
                      <a:lnTo>
                        <a:pt x="4053" y="480"/>
                      </a:lnTo>
                      <a:lnTo>
                        <a:pt x="4109" y="516"/>
                      </a:lnTo>
                      <a:lnTo>
                        <a:pt x="4163" y="551"/>
                      </a:lnTo>
                      <a:lnTo>
                        <a:pt x="4218" y="588"/>
                      </a:lnTo>
                      <a:lnTo>
                        <a:pt x="4272" y="625"/>
                      </a:lnTo>
                      <a:lnTo>
                        <a:pt x="4325" y="665"/>
                      </a:lnTo>
                      <a:lnTo>
                        <a:pt x="4377" y="705"/>
                      </a:lnTo>
                      <a:lnTo>
                        <a:pt x="4427" y="746"/>
                      </a:lnTo>
                      <a:lnTo>
                        <a:pt x="4477" y="789"/>
                      </a:lnTo>
                      <a:lnTo>
                        <a:pt x="4526" y="833"/>
                      </a:lnTo>
                      <a:lnTo>
                        <a:pt x="4575" y="877"/>
                      </a:lnTo>
                      <a:lnTo>
                        <a:pt x="4620" y="924"/>
                      </a:lnTo>
                      <a:lnTo>
                        <a:pt x="4666" y="971"/>
                      </a:lnTo>
                      <a:lnTo>
                        <a:pt x="4712" y="1019"/>
                      </a:lnTo>
                      <a:lnTo>
                        <a:pt x="4754" y="1067"/>
                      </a:lnTo>
                      <a:lnTo>
                        <a:pt x="4797" y="1117"/>
                      </a:lnTo>
                      <a:lnTo>
                        <a:pt x="4838" y="1169"/>
                      </a:lnTo>
                      <a:lnTo>
                        <a:pt x="4878" y="1221"/>
                      </a:lnTo>
                      <a:lnTo>
                        <a:pt x="4918" y="1274"/>
                      </a:lnTo>
                      <a:lnTo>
                        <a:pt x="4955" y="1328"/>
                      </a:lnTo>
                      <a:lnTo>
                        <a:pt x="4992" y="1383"/>
                      </a:lnTo>
                      <a:lnTo>
                        <a:pt x="5027" y="1439"/>
                      </a:lnTo>
                      <a:lnTo>
                        <a:pt x="5061" y="1495"/>
                      </a:lnTo>
                      <a:lnTo>
                        <a:pt x="5093" y="1552"/>
                      </a:lnTo>
                      <a:lnTo>
                        <a:pt x="5126" y="1610"/>
                      </a:lnTo>
                      <a:lnTo>
                        <a:pt x="5155" y="1669"/>
                      </a:lnTo>
                      <a:lnTo>
                        <a:pt x="5183" y="1728"/>
                      </a:lnTo>
                      <a:lnTo>
                        <a:pt x="5211" y="1788"/>
                      </a:lnTo>
                      <a:lnTo>
                        <a:pt x="5236" y="1850"/>
                      </a:lnTo>
                      <a:lnTo>
                        <a:pt x="5262" y="1912"/>
                      </a:lnTo>
                      <a:lnTo>
                        <a:pt x="5285" y="1974"/>
                      </a:lnTo>
                      <a:lnTo>
                        <a:pt x="5306" y="2037"/>
                      </a:lnTo>
                      <a:lnTo>
                        <a:pt x="5326" y="2101"/>
                      </a:lnTo>
                      <a:lnTo>
                        <a:pt x="5344" y="2166"/>
                      </a:lnTo>
                      <a:lnTo>
                        <a:pt x="5362" y="2231"/>
                      </a:lnTo>
                      <a:lnTo>
                        <a:pt x="5376" y="2295"/>
                      </a:lnTo>
                      <a:lnTo>
                        <a:pt x="5391" y="2362"/>
                      </a:lnTo>
                      <a:lnTo>
                        <a:pt x="5403" y="2428"/>
                      </a:lnTo>
                      <a:lnTo>
                        <a:pt x="5413" y="2496"/>
                      </a:lnTo>
                      <a:lnTo>
                        <a:pt x="5422" y="2564"/>
                      </a:lnTo>
                      <a:lnTo>
                        <a:pt x="5430" y="2632"/>
                      </a:lnTo>
                      <a:lnTo>
                        <a:pt x="5435" y="2699"/>
                      </a:lnTo>
                      <a:lnTo>
                        <a:pt x="5438" y="2769"/>
                      </a:lnTo>
                      <a:lnTo>
                        <a:pt x="5438" y="2769"/>
                      </a:lnTo>
                      <a:lnTo>
                        <a:pt x="5441" y="2835"/>
                      </a:lnTo>
                      <a:lnTo>
                        <a:pt x="5441" y="2903"/>
                      </a:lnTo>
                      <a:lnTo>
                        <a:pt x="5440" y="2968"/>
                      </a:lnTo>
                      <a:lnTo>
                        <a:pt x="5437" y="3034"/>
                      </a:lnTo>
                      <a:lnTo>
                        <a:pt x="5433" y="3100"/>
                      </a:lnTo>
                      <a:lnTo>
                        <a:pt x="5427" y="3165"/>
                      </a:lnTo>
                      <a:lnTo>
                        <a:pt x="5419" y="3230"/>
                      </a:lnTo>
                      <a:lnTo>
                        <a:pt x="5410" y="3294"/>
                      </a:lnTo>
                      <a:lnTo>
                        <a:pt x="5399" y="3358"/>
                      </a:lnTo>
                      <a:lnTo>
                        <a:pt x="5387" y="3422"/>
                      </a:lnTo>
                      <a:lnTo>
                        <a:pt x="5374" y="3484"/>
                      </a:lnTo>
                      <a:lnTo>
                        <a:pt x="5357" y="3547"/>
                      </a:lnTo>
                      <a:lnTo>
                        <a:pt x="5341" y="3609"/>
                      </a:lnTo>
                      <a:lnTo>
                        <a:pt x="5322" y="3670"/>
                      </a:lnTo>
                      <a:lnTo>
                        <a:pt x="5303" y="3731"/>
                      </a:lnTo>
                      <a:lnTo>
                        <a:pt x="5281" y="3792"/>
                      </a:lnTo>
                      <a:lnTo>
                        <a:pt x="5257" y="3851"/>
                      </a:lnTo>
                      <a:lnTo>
                        <a:pt x="5233" y="3910"/>
                      </a:lnTo>
                      <a:lnTo>
                        <a:pt x="5207" y="3969"/>
                      </a:lnTo>
                      <a:lnTo>
                        <a:pt x="5179" y="4026"/>
                      </a:lnTo>
                      <a:lnTo>
                        <a:pt x="5151" y="4082"/>
                      </a:lnTo>
                      <a:lnTo>
                        <a:pt x="5120" y="4140"/>
                      </a:lnTo>
                      <a:lnTo>
                        <a:pt x="5088" y="4194"/>
                      </a:lnTo>
                      <a:lnTo>
                        <a:pt x="5055" y="4249"/>
                      </a:lnTo>
                      <a:lnTo>
                        <a:pt x="5020" y="4304"/>
                      </a:lnTo>
                      <a:lnTo>
                        <a:pt x="4984" y="4357"/>
                      </a:lnTo>
                      <a:lnTo>
                        <a:pt x="4946" y="4408"/>
                      </a:lnTo>
                      <a:lnTo>
                        <a:pt x="4908" y="4460"/>
                      </a:lnTo>
                      <a:lnTo>
                        <a:pt x="4866" y="4510"/>
                      </a:lnTo>
                      <a:lnTo>
                        <a:pt x="4825" y="4560"/>
                      </a:lnTo>
                      <a:lnTo>
                        <a:pt x="4782" y="4609"/>
                      </a:lnTo>
                      <a:lnTo>
                        <a:pt x="4737" y="4656"/>
                      </a:lnTo>
                      <a:lnTo>
                        <a:pt x="4737" y="4656"/>
                      </a:lnTo>
                      <a:lnTo>
                        <a:pt x="4691" y="4703"/>
                      </a:lnTo>
                      <a:lnTo>
                        <a:pt x="4645" y="4749"/>
                      </a:lnTo>
                      <a:lnTo>
                        <a:pt x="4597" y="4792"/>
                      </a:lnTo>
                      <a:lnTo>
                        <a:pt x="4548" y="4834"/>
                      </a:lnTo>
                      <a:lnTo>
                        <a:pt x="4499" y="4876"/>
                      </a:lnTo>
                      <a:lnTo>
                        <a:pt x="4448" y="4915"/>
                      </a:lnTo>
                      <a:lnTo>
                        <a:pt x="4398" y="4954"/>
                      </a:lnTo>
                      <a:lnTo>
                        <a:pt x="4345" y="4991"/>
                      </a:lnTo>
                      <a:lnTo>
                        <a:pt x="4291" y="5026"/>
                      </a:lnTo>
                      <a:lnTo>
                        <a:pt x="4237" y="5060"/>
                      </a:lnTo>
                      <a:lnTo>
                        <a:pt x="4182" y="5094"/>
                      </a:lnTo>
                      <a:lnTo>
                        <a:pt x="4128" y="5125"/>
                      </a:lnTo>
                      <a:lnTo>
                        <a:pt x="4070" y="5154"/>
                      </a:lnTo>
                      <a:lnTo>
                        <a:pt x="4014" y="5182"/>
                      </a:lnTo>
                      <a:lnTo>
                        <a:pt x="3955" y="5210"/>
                      </a:lnTo>
                      <a:lnTo>
                        <a:pt x="3898" y="5235"/>
                      </a:lnTo>
                      <a:lnTo>
                        <a:pt x="3839" y="5259"/>
                      </a:lnTo>
                      <a:lnTo>
                        <a:pt x="3778" y="5283"/>
                      </a:lnTo>
                      <a:lnTo>
                        <a:pt x="3718" y="5303"/>
                      </a:lnTo>
                      <a:lnTo>
                        <a:pt x="3658" y="5322"/>
                      </a:lnTo>
                      <a:lnTo>
                        <a:pt x="3596" y="5340"/>
                      </a:lnTo>
                      <a:lnTo>
                        <a:pt x="3534" y="5358"/>
                      </a:lnTo>
                      <a:lnTo>
                        <a:pt x="3470" y="5372"/>
                      </a:lnTo>
                      <a:lnTo>
                        <a:pt x="3407" y="5386"/>
                      </a:lnTo>
                      <a:lnTo>
                        <a:pt x="3344" y="5398"/>
                      </a:lnTo>
                      <a:lnTo>
                        <a:pt x="3279" y="5408"/>
                      </a:lnTo>
                      <a:lnTo>
                        <a:pt x="3214" y="5417"/>
                      </a:lnTo>
                      <a:lnTo>
                        <a:pt x="3149" y="5424"/>
                      </a:lnTo>
                      <a:lnTo>
                        <a:pt x="3084" y="5430"/>
                      </a:lnTo>
                      <a:lnTo>
                        <a:pt x="3018" y="5433"/>
                      </a:lnTo>
                      <a:lnTo>
                        <a:pt x="2951" y="5436"/>
                      </a:lnTo>
                      <a:lnTo>
                        <a:pt x="2885" y="5437"/>
                      </a:lnTo>
                      <a:lnTo>
                        <a:pt x="2885" y="5437"/>
                      </a:lnTo>
                      <a:lnTo>
                        <a:pt x="2816" y="5436"/>
                      </a:lnTo>
                      <a:lnTo>
                        <a:pt x="2748" y="5433"/>
                      </a:lnTo>
                      <a:lnTo>
                        <a:pt x="2679" y="5428"/>
                      </a:lnTo>
                      <a:lnTo>
                        <a:pt x="2611" y="5423"/>
                      </a:lnTo>
                      <a:lnTo>
                        <a:pt x="2543" y="5415"/>
                      </a:lnTo>
                      <a:lnTo>
                        <a:pt x="2477" y="5406"/>
                      </a:lnTo>
                      <a:lnTo>
                        <a:pt x="2410" y="5395"/>
                      </a:lnTo>
                      <a:lnTo>
                        <a:pt x="2344" y="5383"/>
                      </a:lnTo>
                      <a:lnTo>
                        <a:pt x="2279" y="5368"/>
                      </a:lnTo>
                      <a:lnTo>
                        <a:pt x="2213" y="5352"/>
                      </a:lnTo>
                      <a:lnTo>
                        <a:pt x="2149" y="5336"/>
                      </a:lnTo>
                      <a:lnTo>
                        <a:pt x="2085" y="5316"/>
                      </a:lnTo>
                      <a:lnTo>
                        <a:pt x="2021" y="5296"/>
                      </a:lnTo>
                      <a:lnTo>
                        <a:pt x="1959" y="5274"/>
                      </a:lnTo>
                      <a:lnTo>
                        <a:pt x="1897" y="5252"/>
                      </a:lnTo>
                      <a:lnTo>
                        <a:pt x="1835" y="5226"/>
                      </a:lnTo>
                      <a:lnTo>
                        <a:pt x="1775" y="5200"/>
                      </a:lnTo>
                      <a:lnTo>
                        <a:pt x="1715" y="5172"/>
                      </a:lnTo>
                      <a:lnTo>
                        <a:pt x="1656" y="5144"/>
                      </a:lnTo>
                      <a:lnTo>
                        <a:pt x="1597" y="5113"/>
                      </a:lnTo>
                      <a:lnTo>
                        <a:pt x="1539" y="5082"/>
                      </a:lnTo>
                      <a:lnTo>
                        <a:pt x="1482" y="5050"/>
                      </a:lnTo>
                      <a:lnTo>
                        <a:pt x="1426" y="5014"/>
                      </a:lnTo>
                      <a:lnTo>
                        <a:pt x="1371" y="4979"/>
                      </a:lnTo>
                      <a:lnTo>
                        <a:pt x="1317" y="4942"/>
                      </a:lnTo>
                      <a:lnTo>
                        <a:pt x="1262" y="4905"/>
                      </a:lnTo>
                      <a:lnTo>
                        <a:pt x="1210" y="4865"/>
                      </a:lnTo>
                      <a:lnTo>
                        <a:pt x="1159" y="4825"/>
                      </a:lnTo>
                      <a:lnTo>
                        <a:pt x="1107" y="4784"/>
                      </a:lnTo>
                      <a:lnTo>
                        <a:pt x="1057" y="4741"/>
                      </a:lnTo>
                      <a:lnTo>
                        <a:pt x="1008" y="4697"/>
                      </a:lnTo>
                      <a:lnTo>
                        <a:pt x="961" y="4651"/>
                      </a:lnTo>
                      <a:lnTo>
                        <a:pt x="914" y="4606"/>
                      </a:lnTo>
                      <a:lnTo>
                        <a:pt x="868" y="4559"/>
                      </a:lnTo>
                      <a:lnTo>
                        <a:pt x="823" y="4511"/>
                      </a:lnTo>
                      <a:lnTo>
                        <a:pt x="780" y="4463"/>
                      </a:lnTo>
                      <a:lnTo>
                        <a:pt x="737" y="4413"/>
                      </a:lnTo>
                      <a:lnTo>
                        <a:pt x="696" y="4361"/>
                      </a:lnTo>
                      <a:lnTo>
                        <a:pt x="656" y="4309"/>
                      </a:lnTo>
                      <a:lnTo>
                        <a:pt x="616" y="4256"/>
                      </a:lnTo>
                      <a:lnTo>
                        <a:pt x="579" y="4202"/>
                      </a:lnTo>
                      <a:lnTo>
                        <a:pt x="543" y="4147"/>
                      </a:lnTo>
                      <a:lnTo>
                        <a:pt x="507" y="4091"/>
                      </a:lnTo>
                      <a:lnTo>
                        <a:pt x="473" y="4035"/>
                      </a:lnTo>
                      <a:lnTo>
                        <a:pt x="441" y="3978"/>
                      </a:lnTo>
                      <a:lnTo>
                        <a:pt x="410" y="3920"/>
                      </a:lnTo>
                      <a:lnTo>
                        <a:pt x="379" y="3861"/>
                      </a:lnTo>
                      <a:lnTo>
                        <a:pt x="351" y="3802"/>
                      </a:lnTo>
                      <a:lnTo>
                        <a:pt x="323" y="3742"/>
                      </a:lnTo>
                      <a:lnTo>
                        <a:pt x="298" y="3680"/>
                      </a:lnTo>
                      <a:lnTo>
                        <a:pt x="273" y="3618"/>
                      </a:lnTo>
                      <a:lnTo>
                        <a:pt x="251" y="3556"/>
                      </a:lnTo>
                      <a:lnTo>
                        <a:pt x="229" y="3493"/>
                      </a:lnTo>
                      <a:lnTo>
                        <a:pt x="208" y="3429"/>
                      </a:lnTo>
                      <a:lnTo>
                        <a:pt x="190" y="3364"/>
                      </a:lnTo>
                      <a:lnTo>
                        <a:pt x="173" y="3299"/>
                      </a:lnTo>
                      <a:lnTo>
                        <a:pt x="158" y="3235"/>
                      </a:lnTo>
                      <a:lnTo>
                        <a:pt x="145" y="3168"/>
                      </a:lnTo>
                      <a:lnTo>
                        <a:pt x="131" y="3102"/>
                      </a:lnTo>
                      <a:lnTo>
                        <a:pt x="121" y="3034"/>
                      </a:lnTo>
                      <a:lnTo>
                        <a:pt x="112" y="2966"/>
                      </a:lnTo>
                      <a:lnTo>
                        <a:pt x="105" y="2898"/>
                      </a:lnTo>
                      <a:lnTo>
                        <a:pt x="99" y="2831"/>
                      </a:lnTo>
                      <a:lnTo>
                        <a:pt x="96" y="2761"/>
                      </a:lnTo>
                      <a:lnTo>
                        <a:pt x="96" y="2761"/>
                      </a:lnTo>
                      <a:lnTo>
                        <a:pt x="93" y="2695"/>
                      </a:lnTo>
                      <a:lnTo>
                        <a:pt x="93" y="2627"/>
                      </a:lnTo>
                      <a:lnTo>
                        <a:pt x="94" y="2562"/>
                      </a:lnTo>
                      <a:lnTo>
                        <a:pt x="97" y="2496"/>
                      </a:lnTo>
                      <a:lnTo>
                        <a:pt x="102" y="2430"/>
                      </a:lnTo>
                      <a:lnTo>
                        <a:pt x="108" y="2365"/>
                      </a:lnTo>
                      <a:lnTo>
                        <a:pt x="115" y="2300"/>
                      </a:lnTo>
                      <a:lnTo>
                        <a:pt x="124" y="2236"/>
                      </a:lnTo>
                      <a:lnTo>
                        <a:pt x="136" y="2172"/>
                      </a:lnTo>
                      <a:lnTo>
                        <a:pt x="147" y="2108"/>
                      </a:lnTo>
                      <a:lnTo>
                        <a:pt x="162" y="2046"/>
                      </a:lnTo>
                      <a:lnTo>
                        <a:pt x="177" y="1983"/>
                      </a:lnTo>
                      <a:lnTo>
                        <a:pt x="195" y="1921"/>
                      </a:lnTo>
                      <a:lnTo>
                        <a:pt x="212" y="1859"/>
                      </a:lnTo>
                      <a:lnTo>
                        <a:pt x="233" y="1799"/>
                      </a:lnTo>
                      <a:lnTo>
                        <a:pt x="254" y="1738"/>
                      </a:lnTo>
                      <a:lnTo>
                        <a:pt x="277" y="1679"/>
                      </a:lnTo>
                      <a:lnTo>
                        <a:pt x="302" y="1620"/>
                      </a:lnTo>
                      <a:lnTo>
                        <a:pt x="327" y="1561"/>
                      </a:lnTo>
                      <a:lnTo>
                        <a:pt x="355" y="1504"/>
                      </a:lnTo>
                      <a:lnTo>
                        <a:pt x="383" y="1448"/>
                      </a:lnTo>
                      <a:lnTo>
                        <a:pt x="414" y="1390"/>
                      </a:lnTo>
                      <a:lnTo>
                        <a:pt x="447" y="1336"/>
                      </a:lnTo>
                      <a:lnTo>
                        <a:pt x="479" y="1281"/>
                      </a:lnTo>
                      <a:lnTo>
                        <a:pt x="515" y="1226"/>
                      </a:lnTo>
                      <a:lnTo>
                        <a:pt x="550" y="1173"/>
                      </a:lnTo>
                      <a:lnTo>
                        <a:pt x="588" y="1122"/>
                      </a:lnTo>
                      <a:lnTo>
                        <a:pt x="627" y="1070"/>
                      </a:lnTo>
                      <a:lnTo>
                        <a:pt x="668" y="1020"/>
                      </a:lnTo>
                      <a:lnTo>
                        <a:pt x="709" y="970"/>
                      </a:lnTo>
                      <a:lnTo>
                        <a:pt x="753" y="921"/>
                      </a:lnTo>
                      <a:lnTo>
                        <a:pt x="798" y="874"/>
                      </a:lnTo>
                      <a:lnTo>
                        <a:pt x="798" y="874"/>
                      </a:lnTo>
                      <a:lnTo>
                        <a:pt x="843" y="827"/>
                      </a:lnTo>
                      <a:lnTo>
                        <a:pt x="889" y="781"/>
                      </a:lnTo>
                      <a:lnTo>
                        <a:pt x="938" y="738"/>
                      </a:lnTo>
                      <a:lnTo>
                        <a:pt x="986" y="696"/>
                      </a:lnTo>
                      <a:lnTo>
                        <a:pt x="1035" y="654"/>
                      </a:lnTo>
                      <a:lnTo>
                        <a:pt x="1087" y="615"/>
                      </a:lnTo>
                      <a:lnTo>
                        <a:pt x="1138" y="576"/>
                      </a:lnTo>
                      <a:lnTo>
                        <a:pt x="1190" y="539"/>
                      </a:lnTo>
                      <a:lnTo>
                        <a:pt x="1243" y="504"/>
                      </a:lnTo>
                      <a:lnTo>
                        <a:pt x="1297" y="470"/>
                      </a:lnTo>
                      <a:lnTo>
                        <a:pt x="1352" y="436"/>
                      </a:lnTo>
                      <a:lnTo>
                        <a:pt x="1408" y="405"/>
                      </a:lnTo>
                      <a:lnTo>
                        <a:pt x="1464" y="376"/>
                      </a:lnTo>
                      <a:lnTo>
                        <a:pt x="1521" y="348"/>
                      </a:lnTo>
                      <a:lnTo>
                        <a:pt x="1579" y="320"/>
                      </a:lnTo>
                      <a:lnTo>
                        <a:pt x="1636" y="295"/>
                      </a:lnTo>
                      <a:lnTo>
                        <a:pt x="1697" y="271"/>
                      </a:lnTo>
                      <a:lnTo>
                        <a:pt x="1756" y="247"/>
                      </a:lnTo>
                      <a:lnTo>
                        <a:pt x="1816" y="227"/>
                      </a:lnTo>
                      <a:lnTo>
                        <a:pt x="1878" y="208"/>
                      </a:lnTo>
                      <a:lnTo>
                        <a:pt x="1939" y="190"/>
                      </a:lnTo>
                      <a:lnTo>
                        <a:pt x="2002" y="172"/>
                      </a:lnTo>
                      <a:lnTo>
                        <a:pt x="2064" y="158"/>
                      </a:lnTo>
                      <a:lnTo>
                        <a:pt x="2127" y="144"/>
                      </a:lnTo>
                      <a:lnTo>
                        <a:pt x="2191" y="132"/>
                      </a:lnTo>
                      <a:lnTo>
                        <a:pt x="2256" y="122"/>
                      </a:lnTo>
                      <a:lnTo>
                        <a:pt x="2320" y="113"/>
                      </a:lnTo>
                      <a:lnTo>
                        <a:pt x="2385" y="106"/>
                      </a:lnTo>
                      <a:lnTo>
                        <a:pt x="2450" y="100"/>
                      </a:lnTo>
                      <a:lnTo>
                        <a:pt x="2517" y="96"/>
                      </a:lnTo>
                      <a:lnTo>
                        <a:pt x="2583" y="94"/>
                      </a:lnTo>
                      <a:lnTo>
                        <a:pt x="2649" y="93"/>
                      </a:lnTo>
                      <a:close/>
                      <a:moveTo>
                        <a:pt x="2649" y="0"/>
                      </a:moveTo>
                      <a:lnTo>
                        <a:pt x="2649" y="0"/>
                      </a:lnTo>
                      <a:lnTo>
                        <a:pt x="2578" y="1"/>
                      </a:lnTo>
                      <a:lnTo>
                        <a:pt x="2508" y="4"/>
                      </a:lnTo>
                      <a:lnTo>
                        <a:pt x="2437" y="9"/>
                      </a:lnTo>
                      <a:lnTo>
                        <a:pt x="2368" y="14"/>
                      </a:lnTo>
                      <a:lnTo>
                        <a:pt x="2298" y="22"/>
                      </a:lnTo>
                      <a:lnTo>
                        <a:pt x="2231" y="32"/>
                      </a:lnTo>
                      <a:lnTo>
                        <a:pt x="2163" y="44"/>
                      </a:lnTo>
                      <a:lnTo>
                        <a:pt x="2095" y="56"/>
                      </a:lnTo>
                      <a:lnTo>
                        <a:pt x="2029" y="71"/>
                      </a:lnTo>
                      <a:lnTo>
                        <a:pt x="1962" y="87"/>
                      </a:lnTo>
                      <a:lnTo>
                        <a:pt x="1897" y="104"/>
                      </a:lnTo>
                      <a:lnTo>
                        <a:pt x="1832" y="125"/>
                      </a:lnTo>
                      <a:lnTo>
                        <a:pt x="1769" y="146"/>
                      </a:lnTo>
                      <a:lnTo>
                        <a:pt x="1706" y="168"/>
                      </a:lnTo>
                      <a:lnTo>
                        <a:pt x="1644" y="191"/>
                      </a:lnTo>
                      <a:lnTo>
                        <a:pt x="1583" y="218"/>
                      </a:lnTo>
                      <a:lnTo>
                        <a:pt x="1523" y="244"/>
                      </a:lnTo>
                      <a:lnTo>
                        <a:pt x="1462" y="273"/>
                      </a:lnTo>
                      <a:lnTo>
                        <a:pt x="1403" y="302"/>
                      </a:lnTo>
                      <a:lnTo>
                        <a:pt x="1346" y="334"/>
                      </a:lnTo>
                      <a:lnTo>
                        <a:pt x="1289" y="367"/>
                      </a:lnTo>
                      <a:lnTo>
                        <a:pt x="1232" y="401"/>
                      </a:lnTo>
                      <a:lnTo>
                        <a:pt x="1178" y="436"/>
                      </a:lnTo>
                      <a:lnTo>
                        <a:pt x="1123" y="473"/>
                      </a:lnTo>
                      <a:lnTo>
                        <a:pt x="1070" y="510"/>
                      </a:lnTo>
                      <a:lnTo>
                        <a:pt x="1019" y="550"/>
                      </a:lnTo>
                      <a:lnTo>
                        <a:pt x="969" y="590"/>
                      </a:lnTo>
                      <a:lnTo>
                        <a:pt x="918" y="631"/>
                      </a:lnTo>
                      <a:lnTo>
                        <a:pt x="870" y="675"/>
                      </a:lnTo>
                      <a:lnTo>
                        <a:pt x="821" y="718"/>
                      </a:lnTo>
                      <a:lnTo>
                        <a:pt x="775" y="763"/>
                      </a:lnTo>
                      <a:lnTo>
                        <a:pt x="730" y="811"/>
                      </a:lnTo>
                      <a:lnTo>
                        <a:pt x="686" y="858"/>
                      </a:lnTo>
                      <a:lnTo>
                        <a:pt x="641" y="906"/>
                      </a:lnTo>
                      <a:lnTo>
                        <a:pt x="600" y="955"/>
                      </a:lnTo>
                      <a:lnTo>
                        <a:pt x="559" y="1007"/>
                      </a:lnTo>
                      <a:lnTo>
                        <a:pt x="520" y="1058"/>
                      </a:lnTo>
                      <a:lnTo>
                        <a:pt x="482" y="1111"/>
                      </a:lnTo>
                      <a:lnTo>
                        <a:pt x="445" y="1165"/>
                      </a:lnTo>
                      <a:lnTo>
                        <a:pt x="410" y="1219"/>
                      </a:lnTo>
                      <a:lnTo>
                        <a:pt x="374" y="1275"/>
                      </a:lnTo>
                      <a:lnTo>
                        <a:pt x="342" y="1331"/>
                      </a:lnTo>
                      <a:lnTo>
                        <a:pt x="311" y="1389"/>
                      </a:lnTo>
                      <a:lnTo>
                        <a:pt x="280" y="1448"/>
                      </a:lnTo>
                      <a:lnTo>
                        <a:pt x="252" y="1507"/>
                      </a:lnTo>
                      <a:lnTo>
                        <a:pt x="224" y="1567"/>
                      </a:lnTo>
                      <a:lnTo>
                        <a:pt x="199" y="1627"/>
                      </a:lnTo>
                      <a:lnTo>
                        <a:pt x="174" y="1689"/>
                      </a:lnTo>
                      <a:lnTo>
                        <a:pt x="152" y="1751"/>
                      </a:lnTo>
                      <a:lnTo>
                        <a:pt x="130" y="1815"/>
                      </a:lnTo>
                      <a:lnTo>
                        <a:pt x="111" y="1878"/>
                      </a:lnTo>
                      <a:lnTo>
                        <a:pt x="91" y="1943"/>
                      </a:lnTo>
                      <a:lnTo>
                        <a:pt x="75" y="2008"/>
                      </a:lnTo>
                      <a:lnTo>
                        <a:pt x="60" y="2074"/>
                      </a:lnTo>
                      <a:lnTo>
                        <a:pt x="47" y="2141"/>
                      </a:lnTo>
                      <a:lnTo>
                        <a:pt x="35" y="2208"/>
                      </a:lnTo>
                      <a:lnTo>
                        <a:pt x="25" y="2276"/>
                      </a:lnTo>
                      <a:lnTo>
                        <a:pt x="16" y="2344"/>
                      </a:lnTo>
                      <a:lnTo>
                        <a:pt x="10" y="2413"/>
                      </a:lnTo>
                      <a:lnTo>
                        <a:pt x="4" y="2483"/>
                      </a:lnTo>
                      <a:lnTo>
                        <a:pt x="2" y="2552"/>
                      </a:lnTo>
                      <a:lnTo>
                        <a:pt x="0" y="2623"/>
                      </a:lnTo>
                      <a:lnTo>
                        <a:pt x="0" y="2693"/>
                      </a:lnTo>
                      <a:lnTo>
                        <a:pt x="3" y="2764"/>
                      </a:lnTo>
                      <a:lnTo>
                        <a:pt x="3" y="2764"/>
                      </a:lnTo>
                      <a:lnTo>
                        <a:pt x="7" y="2836"/>
                      </a:lnTo>
                      <a:lnTo>
                        <a:pt x="12" y="2907"/>
                      </a:lnTo>
                      <a:lnTo>
                        <a:pt x="21" y="2978"/>
                      </a:lnTo>
                      <a:lnTo>
                        <a:pt x="30" y="3047"/>
                      </a:lnTo>
                      <a:lnTo>
                        <a:pt x="40" y="3117"/>
                      </a:lnTo>
                      <a:lnTo>
                        <a:pt x="53" y="3186"/>
                      </a:lnTo>
                      <a:lnTo>
                        <a:pt x="66" y="3254"/>
                      </a:lnTo>
                      <a:lnTo>
                        <a:pt x="83" y="3322"/>
                      </a:lnTo>
                      <a:lnTo>
                        <a:pt x="100" y="3389"/>
                      </a:lnTo>
                      <a:lnTo>
                        <a:pt x="119" y="3456"/>
                      </a:lnTo>
                      <a:lnTo>
                        <a:pt x="140" y="3522"/>
                      </a:lnTo>
                      <a:lnTo>
                        <a:pt x="162" y="3587"/>
                      </a:lnTo>
                      <a:lnTo>
                        <a:pt x="186" y="3652"/>
                      </a:lnTo>
                      <a:lnTo>
                        <a:pt x="211" y="3715"/>
                      </a:lnTo>
                      <a:lnTo>
                        <a:pt x="237" y="3779"/>
                      </a:lnTo>
                      <a:lnTo>
                        <a:pt x="265" y="3841"/>
                      </a:lnTo>
                      <a:lnTo>
                        <a:pt x="295" y="3902"/>
                      </a:lnTo>
                      <a:lnTo>
                        <a:pt x="326" y="3963"/>
                      </a:lnTo>
                      <a:lnTo>
                        <a:pt x="358" y="4023"/>
                      </a:lnTo>
                      <a:lnTo>
                        <a:pt x="392" y="4082"/>
                      </a:lnTo>
                      <a:lnTo>
                        <a:pt x="428" y="4141"/>
                      </a:lnTo>
                      <a:lnTo>
                        <a:pt x="464" y="4199"/>
                      </a:lnTo>
                      <a:lnTo>
                        <a:pt x="501" y="4255"/>
                      </a:lnTo>
                      <a:lnTo>
                        <a:pt x="541" y="4311"/>
                      </a:lnTo>
                      <a:lnTo>
                        <a:pt x="581" y="4365"/>
                      </a:lnTo>
                      <a:lnTo>
                        <a:pt x="622" y="4419"/>
                      </a:lnTo>
                      <a:lnTo>
                        <a:pt x="665" y="4472"/>
                      </a:lnTo>
                      <a:lnTo>
                        <a:pt x="709" y="4523"/>
                      </a:lnTo>
                      <a:lnTo>
                        <a:pt x="753" y="4575"/>
                      </a:lnTo>
                      <a:lnTo>
                        <a:pt x="801" y="4623"/>
                      </a:lnTo>
                      <a:lnTo>
                        <a:pt x="848" y="4672"/>
                      </a:lnTo>
                      <a:lnTo>
                        <a:pt x="896" y="4719"/>
                      </a:lnTo>
                      <a:lnTo>
                        <a:pt x="945" y="4766"/>
                      </a:lnTo>
                      <a:lnTo>
                        <a:pt x="995" y="4812"/>
                      </a:lnTo>
                      <a:lnTo>
                        <a:pt x="1047" y="4855"/>
                      </a:lnTo>
                      <a:lnTo>
                        <a:pt x="1100" y="4898"/>
                      </a:lnTo>
                      <a:lnTo>
                        <a:pt x="1153" y="4940"/>
                      </a:lnTo>
                      <a:lnTo>
                        <a:pt x="1207" y="4980"/>
                      </a:lnTo>
                      <a:lnTo>
                        <a:pt x="1263" y="5020"/>
                      </a:lnTo>
                      <a:lnTo>
                        <a:pt x="1319" y="5057"/>
                      </a:lnTo>
                      <a:lnTo>
                        <a:pt x="1377" y="5094"/>
                      </a:lnTo>
                      <a:lnTo>
                        <a:pt x="1434" y="5129"/>
                      </a:lnTo>
                      <a:lnTo>
                        <a:pt x="1493" y="5163"/>
                      </a:lnTo>
                      <a:lnTo>
                        <a:pt x="1552" y="5196"/>
                      </a:lnTo>
                      <a:lnTo>
                        <a:pt x="1613" y="5228"/>
                      </a:lnTo>
                      <a:lnTo>
                        <a:pt x="1675" y="5257"/>
                      </a:lnTo>
                      <a:lnTo>
                        <a:pt x="1737" y="5285"/>
                      </a:lnTo>
                      <a:lnTo>
                        <a:pt x="1800" y="5312"/>
                      </a:lnTo>
                      <a:lnTo>
                        <a:pt x="1863" y="5339"/>
                      </a:lnTo>
                      <a:lnTo>
                        <a:pt x="1927" y="5362"/>
                      </a:lnTo>
                      <a:lnTo>
                        <a:pt x="1992" y="5384"/>
                      </a:lnTo>
                      <a:lnTo>
                        <a:pt x="2058" y="5405"/>
                      </a:lnTo>
                      <a:lnTo>
                        <a:pt x="2123" y="5426"/>
                      </a:lnTo>
                      <a:lnTo>
                        <a:pt x="2191" y="5443"/>
                      </a:lnTo>
                      <a:lnTo>
                        <a:pt x="2257" y="5459"/>
                      </a:lnTo>
                      <a:lnTo>
                        <a:pt x="2325" y="5474"/>
                      </a:lnTo>
                      <a:lnTo>
                        <a:pt x="2394" y="5486"/>
                      </a:lnTo>
                      <a:lnTo>
                        <a:pt x="2462" y="5498"/>
                      </a:lnTo>
                      <a:lnTo>
                        <a:pt x="2531" y="5508"/>
                      </a:lnTo>
                      <a:lnTo>
                        <a:pt x="2602" y="5515"/>
                      </a:lnTo>
                      <a:lnTo>
                        <a:pt x="2671" y="5521"/>
                      </a:lnTo>
                      <a:lnTo>
                        <a:pt x="2742" y="5526"/>
                      </a:lnTo>
                      <a:lnTo>
                        <a:pt x="2813" y="5529"/>
                      </a:lnTo>
                      <a:lnTo>
                        <a:pt x="2885" y="5530"/>
                      </a:lnTo>
                      <a:lnTo>
                        <a:pt x="2885" y="5530"/>
                      </a:lnTo>
                      <a:lnTo>
                        <a:pt x="2956" y="5529"/>
                      </a:lnTo>
                      <a:lnTo>
                        <a:pt x="3027" y="5526"/>
                      </a:lnTo>
                      <a:lnTo>
                        <a:pt x="3097" y="5521"/>
                      </a:lnTo>
                      <a:lnTo>
                        <a:pt x="3167" y="5515"/>
                      </a:lnTo>
                      <a:lnTo>
                        <a:pt x="3236" y="5508"/>
                      </a:lnTo>
                      <a:lnTo>
                        <a:pt x="3305" y="5498"/>
                      </a:lnTo>
                      <a:lnTo>
                        <a:pt x="3373" y="5486"/>
                      </a:lnTo>
                      <a:lnTo>
                        <a:pt x="3439" y="5474"/>
                      </a:lnTo>
                      <a:lnTo>
                        <a:pt x="3506" y="5459"/>
                      </a:lnTo>
                      <a:lnTo>
                        <a:pt x="3572" y="5443"/>
                      </a:lnTo>
                      <a:lnTo>
                        <a:pt x="3637" y="5426"/>
                      </a:lnTo>
                      <a:lnTo>
                        <a:pt x="3702" y="5405"/>
                      </a:lnTo>
                      <a:lnTo>
                        <a:pt x="3765" y="5384"/>
                      </a:lnTo>
                      <a:lnTo>
                        <a:pt x="3829" y="5362"/>
                      </a:lnTo>
                      <a:lnTo>
                        <a:pt x="3890" y="5339"/>
                      </a:lnTo>
                      <a:lnTo>
                        <a:pt x="3952" y="5312"/>
                      </a:lnTo>
                      <a:lnTo>
                        <a:pt x="4013" y="5285"/>
                      </a:lnTo>
                      <a:lnTo>
                        <a:pt x="4072" y="5257"/>
                      </a:lnTo>
                      <a:lnTo>
                        <a:pt x="4131" y="5228"/>
                      </a:lnTo>
                      <a:lnTo>
                        <a:pt x="4188" y="5196"/>
                      </a:lnTo>
                      <a:lnTo>
                        <a:pt x="4246" y="5163"/>
                      </a:lnTo>
                      <a:lnTo>
                        <a:pt x="4302" y="5129"/>
                      </a:lnTo>
                      <a:lnTo>
                        <a:pt x="4356" y="5094"/>
                      </a:lnTo>
                      <a:lnTo>
                        <a:pt x="4411" y="5057"/>
                      </a:lnTo>
                      <a:lnTo>
                        <a:pt x="4464" y="5020"/>
                      </a:lnTo>
                      <a:lnTo>
                        <a:pt x="4516" y="4980"/>
                      </a:lnTo>
                      <a:lnTo>
                        <a:pt x="4567" y="4940"/>
                      </a:lnTo>
                      <a:lnTo>
                        <a:pt x="4616" y="4898"/>
                      </a:lnTo>
                      <a:lnTo>
                        <a:pt x="4666" y="4855"/>
                      </a:lnTo>
                      <a:lnTo>
                        <a:pt x="4713" y="4812"/>
                      </a:lnTo>
                      <a:lnTo>
                        <a:pt x="4760" y="4766"/>
                      </a:lnTo>
                      <a:lnTo>
                        <a:pt x="4805" y="4719"/>
                      </a:lnTo>
                      <a:lnTo>
                        <a:pt x="4850" y="4672"/>
                      </a:lnTo>
                      <a:lnTo>
                        <a:pt x="4893" y="4623"/>
                      </a:lnTo>
                      <a:lnTo>
                        <a:pt x="4934" y="4575"/>
                      </a:lnTo>
                      <a:lnTo>
                        <a:pt x="4976" y="4523"/>
                      </a:lnTo>
                      <a:lnTo>
                        <a:pt x="5015" y="4472"/>
                      </a:lnTo>
                      <a:lnTo>
                        <a:pt x="5052" y="4419"/>
                      </a:lnTo>
                      <a:lnTo>
                        <a:pt x="5089" y="4365"/>
                      </a:lnTo>
                      <a:lnTo>
                        <a:pt x="5126" y="4311"/>
                      </a:lnTo>
                      <a:lnTo>
                        <a:pt x="5160" y="4255"/>
                      </a:lnTo>
                      <a:lnTo>
                        <a:pt x="5192" y="4199"/>
                      </a:lnTo>
                      <a:lnTo>
                        <a:pt x="5225" y="4141"/>
                      </a:lnTo>
                      <a:lnTo>
                        <a:pt x="5254" y="4082"/>
                      </a:lnTo>
                      <a:lnTo>
                        <a:pt x="5282" y="4023"/>
                      </a:lnTo>
                      <a:lnTo>
                        <a:pt x="5310" y="3963"/>
                      </a:lnTo>
                      <a:lnTo>
                        <a:pt x="5335" y="3902"/>
                      </a:lnTo>
                      <a:lnTo>
                        <a:pt x="5360" y="3841"/>
                      </a:lnTo>
                      <a:lnTo>
                        <a:pt x="5382" y="3779"/>
                      </a:lnTo>
                      <a:lnTo>
                        <a:pt x="5405" y="3715"/>
                      </a:lnTo>
                      <a:lnTo>
                        <a:pt x="5424" y="3652"/>
                      </a:lnTo>
                      <a:lnTo>
                        <a:pt x="5443" y="3587"/>
                      </a:lnTo>
                      <a:lnTo>
                        <a:pt x="5459" y="3522"/>
                      </a:lnTo>
                      <a:lnTo>
                        <a:pt x="5474" y="3456"/>
                      </a:lnTo>
                      <a:lnTo>
                        <a:pt x="5487" y="3389"/>
                      </a:lnTo>
                      <a:lnTo>
                        <a:pt x="5499" y="3322"/>
                      </a:lnTo>
                      <a:lnTo>
                        <a:pt x="5509" y="3254"/>
                      </a:lnTo>
                      <a:lnTo>
                        <a:pt x="5518" y="3186"/>
                      </a:lnTo>
                      <a:lnTo>
                        <a:pt x="5524" y="3117"/>
                      </a:lnTo>
                      <a:lnTo>
                        <a:pt x="5530" y="3047"/>
                      </a:lnTo>
                      <a:lnTo>
                        <a:pt x="5533" y="2978"/>
                      </a:lnTo>
                      <a:lnTo>
                        <a:pt x="5534" y="2907"/>
                      </a:lnTo>
                      <a:lnTo>
                        <a:pt x="5534" y="2836"/>
                      </a:lnTo>
                      <a:lnTo>
                        <a:pt x="5531" y="2764"/>
                      </a:lnTo>
                      <a:lnTo>
                        <a:pt x="5531" y="2764"/>
                      </a:lnTo>
                      <a:lnTo>
                        <a:pt x="5528" y="2693"/>
                      </a:lnTo>
                      <a:lnTo>
                        <a:pt x="5522" y="2623"/>
                      </a:lnTo>
                      <a:lnTo>
                        <a:pt x="5515" y="2552"/>
                      </a:lnTo>
                      <a:lnTo>
                        <a:pt x="5505" y="2483"/>
                      </a:lnTo>
                      <a:lnTo>
                        <a:pt x="5494" y="2413"/>
                      </a:lnTo>
                      <a:lnTo>
                        <a:pt x="5483" y="2344"/>
                      </a:lnTo>
                      <a:lnTo>
                        <a:pt x="5468" y="2276"/>
                      </a:lnTo>
                      <a:lnTo>
                        <a:pt x="5452" y="2208"/>
                      </a:lnTo>
                      <a:lnTo>
                        <a:pt x="5434" y="2141"/>
                      </a:lnTo>
                      <a:lnTo>
                        <a:pt x="5415" y="2074"/>
                      </a:lnTo>
                      <a:lnTo>
                        <a:pt x="5394" y="2008"/>
                      </a:lnTo>
                      <a:lnTo>
                        <a:pt x="5372" y="1943"/>
                      </a:lnTo>
                      <a:lnTo>
                        <a:pt x="5348" y="1878"/>
                      </a:lnTo>
                      <a:lnTo>
                        <a:pt x="5323" y="1815"/>
                      </a:lnTo>
                      <a:lnTo>
                        <a:pt x="5297" y="1751"/>
                      </a:lnTo>
                      <a:lnTo>
                        <a:pt x="5269" y="1689"/>
                      </a:lnTo>
                      <a:lnTo>
                        <a:pt x="5239" y="1627"/>
                      </a:lnTo>
                      <a:lnTo>
                        <a:pt x="5208" y="1567"/>
                      </a:lnTo>
                      <a:lnTo>
                        <a:pt x="5176" y="1507"/>
                      </a:lnTo>
                      <a:lnTo>
                        <a:pt x="5142" y="1448"/>
                      </a:lnTo>
                      <a:lnTo>
                        <a:pt x="5107" y="1389"/>
                      </a:lnTo>
                      <a:lnTo>
                        <a:pt x="5070" y="1331"/>
                      </a:lnTo>
                      <a:lnTo>
                        <a:pt x="5033" y="1275"/>
                      </a:lnTo>
                      <a:lnTo>
                        <a:pt x="4993" y="1219"/>
                      </a:lnTo>
                      <a:lnTo>
                        <a:pt x="4953" y="1165"/>
                      </a:lnTo>
                      <a:lnTo>
                        <a:pt x="4912" y="1111"/>
                      </a:lnTo>
                      <a:lnTo>
                        <a:pt x="4869" y="1058"/>
                      </a:lnTo>
                      <a:lnTo>
                        <a:pt x="4825" y="1007"/>
                      </a:lnTo>
                      <a:lnTo>
                        <a:pt x="4781" y="955"/>
                      </a:lnTo>
                      <a:lnTo>
                        <a:pt x="4734" y="906"/>
                      </a:lnTo>
                      <a:lnTo>
                        <a:pt x="4687" y="858"/>
                      </a:lnTo>
                      <a:lnTo>
                        <a:pt x="4639" y="811"/>
                      </a:lnTo>
                      <a:lnTo>
                        <a:pt x="4589" y="763"/>
                      </a:lnTo>
                      <a:lnTo>
                        <a:pt x="4539" y="718"/>
                      </a:lnTo>
                      <a:lnTo>
                        <a:pt x="4488" y="675"/>
                      </a:lnTo>
                      <a:lnTo>
                        <a:pt x="4434" y="631"/>
                      </a:lnTo>
                      <a:lnTo>
                        <a:pt x="4381" y="590"/>
                      </a:lnTo>
                      <a:lnTo>
                        <a:pt x="4327" y="550"/>
                      </a:lnTo>
                      <a:lnTo>
                        <a:pt x="4272" y="510"/>
                      </a:lnTo>
                      <a:lnTo>
                        <a:pt x="4215" y="473"/>
                      </a:lnTo>
                      <a:lnTo>
                        <a:pt x="4159" y="436"/>
                      </a:lnTo>
                      <a:lnTo>
                        <a:pt x="4100" y="401"/>
                      </a:lnTo>
                      <a:lnTo>
                        <a:pt x="4041" y="367"/>
                      </a:lnTo>
                      <a:lnTo>
                        <a:pt x="3982" y="334"/>
                      </a:lnTo>
                      <a:lnTo>
                        <a:pt x="3921" y="302"/>
                      </a:lnTo>
                      <a:lnTo>
                        <a:pt x="3860" y="273"/>
                      </a:lnTo>
                      <a:lnTo>
                        <a:pt x="3798" y="244"/>
                      </a:lnTo>
                      <a:lnTo>
                        <a:pt x="3734" y="218"/>
                      </a:lnTo>
                      <a:lnTo>
                        <a:pt x="3671" y="191"/>
                      </a:lnTo>
                      <a:lnTo>
                        <a:pt x="3607" y="168"/>
                      </a:lnTo>
                      <a:lnTo>
                        <a:pt x="3543" y="146"/>
                      </a:lnTo>
                      <a:lnTo>
                        <a:pt x="3478" y="125"/>
                      </a:lnTo>
                      <a:lnTo>
                        <a:pt x="3411" y="104"/>
                      </a:lnTo>
                      <a:lnTo>
                        <a:pt x="3344" y="87"/>
                      </a:lnTo>
                      <a:lnTo>
                        <a:pt x="3277" y="71"/>
                      </a:lnTo>
                      <a:lnTo>
                        <a:pt x="3209" y="56"/>
                      </a:lnTo>
                      <a:lnTo>
                        <a:pt x="3140" y="44"/>
                      </a:lnTo>
                      <a:lnTo>
                        <a:pt x="3072" y="32"/>
                      </a:lnTo>
                      <a:lnTo>
                        <a:pt x="3003" y="22"/>
                      </a:lnTo>
                      <a:lnTo>
                        <a:pt x="2932" y="14"/>
                      </a:lnTo>
                      <a:lnTo>
                        <a:pt x="2863" y="9"/>
                      </a:lnTo>
                      <a:lnTo>
                        <a:pt x="2792" y="4"/>
                      </a:lnTo>
                      <a:lnTo>
                        <a:pt x="2721" y="1"/>
                      </a:lnTo>
                      <a:lnTo>
                        <a:pt x="2649" y="0"/>
                      </a:lnTo>
                      <a:lnTo>
                        <a:pt x="26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58" name="Freeform 19">
                  <a:extLst>
                    <a:ext uri="{FF2B5EF4-FFF2-40B4-BE49-F238E27FC236}">
                      <a16:creationId xmlns:a16="http://schemas.microsoft.com/office/drawing/2014/main" xmlns="" id="{CBFA174E-6A12-E847-9845-C071DD570C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96300" y="485775"/>
                  <a:ext cx="2763838" cy="2762250"/>
                </a:xfrm>
                <a:custGeom>
                  <a:avLst/>
                  <a:gdLst/>
                  <a:ahLst/>
                  <a:cxnLst>
                    <a:cxn ang="0">
                      <a:pos x="2956" y="87"/>
                    </a:cxn>
                    <a:cxn ang="0">
                      <a:pos x="3507" y="249"/>
                    </a:cxn>
                    <a:cxn ang="0">
                      <a:pos x="4005" y="520"/>
                    </a:cxn>
                    <a:cxn ang="0">
                      <a:pos x="4434" y="887"/>
                    </a:cxn>
                    <a:cxn ang="0">
                      <a:pos x="4781" y="1335"/>
                    </a:cxn>
                    <a:cxn ang="0">
                      <a:pos x="5027" y="1850"/>
                    </a:cxn>
                    <a:cxn ang="0">
                      <a:pos x="5160" y="2415"/>
                    </a:cxn>
                    <a:cxn ang="0">
                      <a:pos x="5170" y="2929"/>
                    </a:cxn>
                    <a:cxn ang="0">
                      <a:pos x="5064" y="3478"/>
                    </a:cxn>
                    <a:cxn ang="0">
                      <a:pos x="4838" y="3980"/>
                    </a:cxn>
                    <a:cxn ang="0">
                      <a:pos x="4502" y="4424"/>
                    </a:cxn>
                    <a:cxn ang="0">
                      <a:pos x="4125" y="4746"/>
                    </a:cxn>
                    <a:cxn ang="0">
                      <a:pos x="3638" y="5004"/>
                    </a:cxn>
                    <a:cxn ang="0">
                      <a:pos x="3102" y="5145"/>
                    </a:cxn>
                    <a:cxn ang="0">
                      <a:pos x="2592" y="5170"/>
                    </a:cxn>
                    <a:cxn ang="0">
                      <a:pos x="2018" y="5076"/>
                    </a:cxn>
                    <a:cxn ang="0">
                      <a:pos x="1489" y="4864"/>
                    </a:cxn>
                    <a:cxn ang="0">
                      <a:pos x="1019" y="4547"/>
                    </a:cxn>
                    <a:cxn ang="0">
                      <a:pos x="625" y="4143"/>
                    </a:cxn>
                    <a:cxn ang="0">
                      <a:pos x="321" y="3663"/>
                    </a:cxn>
                    <a:cxn ang="0">
                      <a:pos x="124" y="3124"/>
                    </a:cxn>
                    <a:cxn ang="0">
                      <a:pos x="48" y="2608"/>
                    </a:cxn>
                    <a:cxn ang="0">
                      <a:pos x="87" y="2043"/>
                    </a:cxn>
                    <a:cxn ang="0">
                      <a:pos x="248" y="1512"/>
                    </a:cxn>
                    <a:cxn ang="0">
                      <a:pos x="522" y="1033"/>
                    </a:cxn>
                    <a:cxn ang="0">
                      <a:pos x="858" y="666"/>
                    </a:cxn>
                    <a:cxn ang="0">
                      <a:pos x="1309" y="346"/>
                    </a:cxn>
                    <a:cxn ang="0">
                      <a:pos x="1819" y="138"/>
                    </a:cxn>
                    <a:cxn ang="0">
                      <a:pos x="2373" y="50"/>
                    </a:cxn>
                    <a:cxn ang="0">
                      <a:pos x="2170" y="20"/>
                    </a:cxn>
                    <a:cxn ang="0">
                      <a:pos x="1610" y="157"/>
                    </a:cxn>
                    <a:cxn ang="0">
                      <a:pos x="1111" y="411"/>
                    </a:cxn>
                    <a:cxn ang="0">
                      <a:pos x="688" y="763"/>
                    </a:cxn>
                    <a:cxn ang="0">
                      <a:pos x="354" y="1203"/>
                    </a:cxn>
                    <a:cxn ang="0">
                      <a:pos x="122" y="1713"/>
                    </a:cxn>
                    <a:cxn ang="0">
                      <a:pos x="9" y="2278"/>
                    </a:cxn>
                    <a:cxn ang="0">
                      <a:pos x="18" y="2811"/>
                    </a:cxn>
                    <a:cxn ang="0">
                      <a:pos x="152" y="3386"/>
                    </a:cxn>
                    <a:cxn ang="0">
                      <a:pos x="402" y="3910"/>
                    </a:cxn>
                    <a:cxn ang="0">
                      <a:pos x="755" y="4365"/>
                    </a:cxn>
                    <a:cxn ang="0">
                      <a:pos x="1191" y="4740"/>
                    </a:cxn>
                    <a:cxn ang="0">
                      <a:pos x="1698" y="5015"/>
                    </a:cxn>
                    <a:cxn ang="0">
                      <a:pos x="2260" y="5181"/>
                    </a:cxn>
                    <a:cxn ang="0">
                      <a:pos x="2791" y="5220"/>
                    </a:cxn>
                    <a:cxn ang="0">
                      <a:pos x="3373" y="5139"/>
                    </a:cxn>
                    <a:cxn ang="0">
                      <a:pos x="3899" y="4936"/>
                    </a:cxn>
                    <a:cxn ang="0">
                      <a:pos x="4359" y="4625"/>
                    </a:cxn>
                    <a:cxn ang="0">
                      <a:pos x="4735" y="4222"/>
                    </a:cxn>
                    <a:cxn ang="0">
                      <a:pos x="5014" y="3742"/>
                    </a:cxn>
                    <a:cxn ang="0">
                      <a:pos x="5182" y="3199"/>
                    </a:cxn>
                    <a:cxn ang="0">
                      <a:pos x="5223" y="2609"/>
                    </a:cxn>
                    <a:cxn ang="0">
                      <a:pos x="5148" y="2084"/>
                    </a:cxn>
                    <a:cxn ang="0">
                      <a:pos x="4946" y="1536"/>
                    </a:cxn>
                    <a:cxn ang="0">
                      <a:pos x="4638" y="1048"/>
                    </a:cxn>
                    <a:cxn ang="0">
                      <a:pos x="4237" y="635"/>
                    </a:cxn>
                    <a:cxn ang="0">
                      <a:pos x="3759" y="314"/>
                    </a:cxn>
                    <a:cxn ang="0">
                      <a:pos x="3220" y="98"/>
                    </a:cxn>
                    <a:cxn ang="0">
                      <a:pos x="2636" y="3"/>
                    </a:cxn>
                  </a:cxnLst>
                  <a:rect l="0" t="0" r="r" b="b"/>
                  <a:pathLst>
                    <a:path w="5224" h="5220">
                      <a:moveTo>
                        <a:pt x="2502" y="47"/>
                      </a:moveTo>
                      <a:lnTo>
                        <a:pt x="2502" y="47"/>
                      </a:lnTo>
                      <a:lnTo>
                        <a:pt x="2568" y="47"/>
                      </a:lnTo>
                      <a:lnTo>
                        <a:pt x="2633" y="50"/>
                      </a:lnTo>
                      <a:lnTo>
                        <a:pt x="2699" y="54"/>
                      </a:lnTo>
                      <a:lnTo>
                        <a:pt x="2764" y="60"/>
                      </a:lnTo>
                      <a:lnTo>
                        <a:pt x="2829" y="67"/>
                      </a:lnTo>
                      <a:lnTo>
                        <a:pt x="2892" y="76"/>
                      </a:lnTo>
                      <a:lnTo>
                        <a:pt x="2956" y="87"/>
                      </a:lnTo>
                      <a:lnTo>
                        <a:pt x="3019" y="98"/>
                      </a:lnTo>
                      <a:lnTo>
                        <a:pt x="3082" y="112"/>
                      </a:lnTo>
                      <a:lnTo>
                        <a:pt x="3144" y="128"/>
                      </a:lnTo>
                      <a:lnTo>
                        <a:pt x="3206" y="144"/>
                      </a:lnTo>
                      <a:lnTo>
                        <a:pt x="3268" y="162"/>
                      </a:lnTo>
                      <a:lnTo>
                        <a:pt x="3329" y="181"/>
                      </a:lnTo>
                      <a:lnTo>
                        <a:pt x="3389" y="203"/>
                      </a:lnTo>
                      <a:lnTo>
                        <a:pt x="3448" y="225"/>
                      </a:lnTo>
                      <a:lnTo>
                        <a:pt x="3507" y="249"/>
                      </a:lnTo>
                      <a:lnTo>
                        <a:pt x="3566" y="274"/>
                      </a:lnTo>
                      <a:lnTo>
                        <a:pt x="3623" y="300"/>
                      </a:lnTo>
                      <a:lnTo>
                        <a:pt x="3679" y="327"/>
                      </a:lnTo>
                      <a:lnTo>
                        <a:pt x="3735" y="356"/>
                      </a:lnTo>
                      <a:lnTo>
                        <a:pt x="3792" y="387"/>
                      </a:lnTo>
                      <a:lnTo>
                        <a:pt x="3846" y="418"/>
                      </a:lnTo>
                      <a:lnTo>
                        <a:pt x="3901" y="451"/>
                      </a:lnTo>
                      <a:lnTo>
                        <a:pt x="3954" y="485"/>
                      </a:lnTo>
                      <a:lnTo>
                        <a:pt x="4005" y="520"/>
                      </a:lnTo>
                      <a:lnTo>
                        <a:pt x="4057" y="557"/>
                      </a:lnTo>
                      <a:lnTo>
                        <a:pt x="4107" y="594"/>
                      </a:lnTo>
                      <a:lnTo>
                        <a:pt x="4157" y="634"/>
                      </a:lnTo>
                      <a:lnTo>
                        <a:pt x="4206" y="673"/>
                      </a:lnTo>
                      <a:lnTo>
                        <a:pt x="4253" y="713"/>
                      </a:lnTo>
                      <a:lnTo>
                        <a:pt x="4300" y="756"/>
                      </a:lnTo>
                      <a:lnTo>
                        <a:pt x="4346" y="799"/>
                      </a:lnTo>
                      <a:lnTo>
                        <a:pt x="4392" y="843"/>
                      </a:lnTo>
                      <a:lnTo>
                        <a:pt x="4434" y="887"/>
                      </a:lnTo>
                      <a:lnTo>
                        <a:pt x="4478" y="934"/>
                      </a:lnTo>
                      <a:lnTo>
                        <a:pt x="4520" y="982"/>
                      </a:lnTo>
                      <a:lnTo>
                        <a:pt x="4561" y="1029"/>
                      </a:lnTo>
                      <a:lnTo>
                        <a:pt x="4599" y="1077"/>
                      </a:lnTo>
                      <a:lnTo>
                        <a:pt x="4639" y="1127"/>
                      </a:lnTo>
                      <a:lnTo>
                        <a:pt x="4676" y="1179"/>
                      </a:lnTo>
                      <a:lnTo>
                        <a:pt x="4711" y="1231"/>
                      </a:lnTo>
                      <a:lnTo>
                        <a:pt x="4747" y="1282"/>
                      </a:lnTo>
                      <a:lnTo>
                        <a:pt x="4781" y="1335"/>
                      </a:lnTo>
                      <a:lnTo>
                        <a:pt x="4813" y="1390"/>
                      </a:lnTo>
                      <a:lnTo>
                        <a:pt x="4844" y="1444"/>
                      </a:lnTo>
                      <a:lnTo>
                        <a:pt x="4875" y="1500"/>
                      </a:lnTo>
                      <a:lnTo>
                        <a:pt x="4903" y="1557"/>
                      </a:lnTo>
                      <a:lnTo>
                        <a:pt x="4931" y="1614"/>
                      </a:lnTo>
                      <a:lnTo>
                        <a:pt x="4958" y="1672"/>
                      </a:lnTo>
                      <a:lnTo>
                        <a:pt x="4983" y="1731"/>
                      </a:lnTo>
                      <a:lnTo>
                        <a:pt x="5005" y="1789"/>
                      </a:lnTo>
                      <a:lnTo>
                        <a:pt x="5027" y="1850"/>
                      </a:lnTo>
                      <a:lnTo>
                        <a:pt x="5048" y="1910"/>
                      </a:lnTo>
                      <a:lnTo>
                        <a:pt x="5067" y="1971"/>
                      </a:lnTo>
                      <a:lnTo>
                        <a:pt x="5084" y="2033"/>
                      </a:lnTo>
                      <a:lnTo>
                        <a:pt x="5101" y="2096"/>
                      </a:lnTo>
                      <a:lnTo>
                        <a:pt x="5115" y="2158"/>
                      </a:lnTo>
                      <a:lnTo>
                        <a:pt x="5129" y="2221"/>
                      </a:lnTo>
                      <a:lnTo>
                        <a:pt x="5140" y="2286"/>
                      </a:lnTo>
                      <a:lnTo>
                        <a:pt x="5151" y="2350"/>
                      </a:lnTo>
                      <a:lnTo>
                        <a:pt x="5160" y="2415"/>
                      </a:lnTo>
                      <a:lnTo>
                        <a:pt x="5167" y="2479"/>
                      </a:lnTo>
                      <a:lnTo>
                        <a:pt x="5171" y="2546"/>
                      </a:lnTo>
                      <a:lnTo>
                        <a:pt x="5176" y="2612"/>
                      </a:lnTo>
                      <a:lnTo>
                        <a:pt x="5176" y="2612"/>
                      </a:lnTo>
                      <a:lnTo>
                        <a:pt x="5177" y="2676"/>
                      </a:lnTo>
                      <a:lnTo>
                        <a:pt x="5177" y="2740"/>
                      </a:lnTo>
                      <a:lnTo>
                        <a:pt x="5177" y="2804"/>
                      </a:lnTo>
                      <a:lnTo>
                        <a:pt x="5174" y="2867"/>
                      </a:lnTo>
                      <a:lnTo>
                        <a:pt x="5170" y="2929"/>
                      </a:lnTo>
                      <a:lnTo>
                        <a:pt x="5164" y="2993"/>
                      </a:lnTo>
                      <a:lnTo>
                        <a:pt x="5157" y="3055"/>
                      </a:lnTo>
                      <a:lnTo>
                        <a:pt x="5148" y="3116"/>
                      </a:lnTo>
                      <a:lnTo>
                        <a:pt x="5137" y="3177"/>
                      </a:lnTo>
                      <a:lnTo>
                        <a:pt x="5126" y="3239"/>
                      </a:lnTo>
                      <a:lnTo>
                        <a:pt x="5112" y="3299"/>
                      </a:lnTo>
                      <a:lnTo>
                        <a:pt x="5098" y="3358"/>
                      </a:lnTo>
                      <a:lnTo>
                        <a:pt x="5081" y="3419"/>
                      </a:lnTo>
                      <a:lnTo>
                        <a:pt x="5064" y="3478"/>
                      </a:lnTo>
                      <a:lnTo>
                        <a:pt x="5045" y="3535"/>
                      </a:lnTo>
                      <a:lnTo>
                        <a:pt x="5024" y="3594"/>
                      </a:lnTo>
                      <a:lnTo>
                        <a:pt x="5002" y="3650"/>
                      </a:lnTo>
                      <a:lnTo>
                        <a:pt x="4978" y="3708"/>
                      </a:lnTo>
                      <a:lnTo>
                        <a:pt x="4953" y="3764"/>
                      </a:lnTo>
                      <a:lnTo>
                        <a:pt x="4927" y="3818"/>
                      </a:lnTo>
                      <a:lnTo>
                        <a:pt x="4899" y="3873"/>
                      </a:lnTo>
                      <a:lnTo>
                        <a:pt x="4869" y="3927"/>
                      </a:lnTo>
                      <a:lnTo>
                        <a:pt x="4838" y="3980"/>
                      </a:lnTo>
                      <a:lnTo>
                        <a:pt x="4807" y="4034"/>
                      </a:lnTo>
                      <a:lnTo>
                        <a:pt x="4773" y="4085"/>
                      </a:lnTo>
                      <a:lnTo>
                        <a:pt x="4738" y="4135"/>
                      </a:lnTo>
                      <a:lnTo>
                        <a:pt x="4703" y="4187"/>
                      </a:lnTo>
                      <a:lnTo>
                        <a:pt x="4666" y="4236"/>
                      </a:lnTo>
                      <a:lnTo>
                        <a:pt x="4626" y="4284"/>
                      </a:lnTo>
                      <a:lnTo>
                        <a:pt x="4586" y="4331"/>
                      </a:lnTo>
                      <a:lnTo>
                        <a:pt x="4545" y="4379"/>
                      </a:lnTo>
                      <a:lnTo>
                        <a:pt x="4502" y="4424"/>
                      </a:lnTo>
                      <a:lnTo>
                        <a:pt x="4502" y="4424"/>
                      </a:lnTo>
                      <a:lnTo>
                        <a:pt x="4458" y="4468"/>
                      </a:lnTo>
                      <a:lnTo>
                        <a:pt x="4414" y="4513"/>
                      </a:lnTo>
                      <a:lnTo>
                        <a:pt x="4368" y="4554"/>
                      </a:lnTo>
                      <a:lnTo>
                        <a:pt x="4321" y="4595"/>
                      </a:lnTo>
                      <a:lnTo>
                        <a:pt x="4272" y="4635"/>
                      </a:lnTo>
                      <a:lnTo>
                        <a:pt x="4225" y="4673"/>
                      </a:lnTo>
                      <a:lnTo>
                        <a:pt x="4175" y="4710"/>
                      </a:lnTo>
                      <a:lnTo>
                        <a:pt x="4125" y="4746"/>
                      </a:lnTo>
                      <a:lnTo>
                        <a:pt x="4073" y="4780"/>
                      </a:lnTo>
                      <a:lnTo>
                        <a:pt x="4021" y="4812"/>
                      </a:lnTo>
                      <a:lnTo>
                        <a:pt x="3970" y="4843"/>
                      </a:lnTo>
                      <a:lnTo>
                        <a:pt x="3915" y="4874"/>
                      </a:lnTo>
                      <a:lnTo>
                        <a:pt x="3862" y="4902"/>
                      </a:lnTo>
                      <a:lnTo>
                        <a:pt x="3808" y="4930"/>
                      </a:lnTo>
                      <a:lnTo>
                        <a:pt x="3752" y="4955"/>
                      </a:lnTo>
                      <a:lnTo>
                        <a:pt x="3696" y="4980"/>
                      </a:lnTo>
                      <a:lnTo>
                        <a:pt x="3638" y="5004"/>
                      </a:lnTo>
                      <a:lnTo>
                        <a:pt x="3581" y="5024"/>
                      </a:lnTo>
                      <a:lnTo>
                        <a:pt x="3523" y="5045"/>
                      </a:lnTo>
                      <a:lnTo>
                        <a:pt x="3464" y="5064"/>
                      </a:lnTo>
                      <a:lnTo>
                        <a:pt x="3405" y="5082"/>
                      </a:lnTo>
                      <a:lnTo>
                        <a:pt x="3346" y="5097"/>
                      </a:lnTo>
                      <a:lnTo>
                        <a:pt x="3286" y="5111"/>
                      </a:lnTo>
                      <a:lnTo>
                        <a:pt x="3224" y="5125"/>
                      </a:lnTo>
                      <a:lnTo>
                        <a:pt x="3163" y="5136"/>
                      </a:lnTo>
                      <a:lnTo>
                        <a:pt x="3102" y="5145"/>
                      </a:lnTo>
                      <a:lnTo>
                        <a:pt x="3040" y="5154"/>
                      </a:lnTo>
                      <a:lnTo>
                        <a:pt x="2978" y="5161"/>
                      </a:lnTo>
                      <a:lnTo>
                        <a:pt x="2914" y="5166"/>
                      </a:lnTo>
                      <a:lnTo>
                        <a:pt x="2851" y="5170"/>
                      </a:lnTo>
                      <a:lnTo>
                        <a:pt x="2788" y="5173"/>
                      </a:lnTo>
                      <a:lnTo>
                        <a:pt x="2723" y="5173"/>
                      </a:lnTo>
                      <a:lnTo>
                        <a:pt x="2723" y="5173"/>
                      </a:lnTo>
                      <a:lnTo>
                        <a:pt x="2658" y="5173"/>
                      </a:lnTo>
                      <a:lnTo>
                        <a:pt x="2592" y="5170"/>
                      </a:lnTo>
                      <a:lnTo>
                        <a:pt x="2527" y="5166"/>
                      </a:lnTo>
                      <a:lnTo>
                        <a:pt x="2460" y="5160"/>
                      </a:lnTo>
                      <a:lnTo>
                        <a:pt x="2397" y="5153"/>
                      </a:lnTo>
                      <a:lnTo>
                        <a:pt x="2332" y="5144"/>
                      </a:lnTo>
                      <a:lnTo>
                        <a:pt x="2269" y="5133"/>
                      </a:lnTo>
                      <a:lnTo>
                        <a:pt x="2205" y="5122"/>
                      </a:lnTo>
                      <a:lnTo>
                        <a:pt x="2142" y="5108"/>
                      </a:lnTo>
                      <a:lnTo>
                        <a:pt x="2080" y="5092"/>
                      </a:lnTo>
                      <a:lnTo>
                        <a:pt x="2018" y="5076"/>
                      </a:lnTo>
                      <a:lnTo>
                        <a:pt x="1956" y="5058"/>
                      </a:lnTo>
                      <a:lnTo>
                        <a:pt x="1896" y="5039"/>
                      </a:lnTo>
                      <a:lnTo>
                        <a:pt x="1835" y="5017"/>
                      </a:lnTo>
                      <a:lnTo>
                        <a:pt x="1776" y="4995"/>
                      </a:lnTo>
                      <a:lnTo>
                        <a:pt x="1717" y="4971"/>
                      </a:lnTo>
                      <a:lnTo>
                        <a:pt x="1658" y="4946"/>
                      </a:lnTo>
                      <a:lnTo>
                        <a:pt x="1601" y="4920"/>
                      </a:lnTo>
                      <a:lnTo>
                        <a:pt x="1545" y="4893"/>
                      </a:lnTo>
                      <a:lnTo>
                        <a:pt x="1489" y="4864"/>
                      </a:lnTo>
                      <a:lnTo>
                        <a:pt x="1433" y="4833"/>
                      </a:lnTo>
                      <a:lnTo>
                        <a:pt x="1378" y="4802"/>
                      </a:lnTo>
                      <a:lnTo>
                        <a:pt x="1325" y="4769"/>
                      </a:lnTo>
                      <a:lnTo>
                        <a:pt x="1272" y="4735"/>
                      </a:lnTo>
                      <a:lnTo>
                        <a:pt x="1219" y="4700"/>
                      </a:lnTo>
                      <a:lnTo>
                        <a:pt x="1167" y="4663"/>
                      </a:lnTo>
                      <a:lnTo>
                        <a:pt x="1117" y="4626"/>
                      </a:lnTo>
                      <a:lnTo>
                        <a:pt x="1067" y="4586"/>
                      </a:lnTo>
                      <a:lnTo>
                        <a:pt x="1019" y="4547"/>
                      </a:lnTo>
                      <a:lnTo>
                        <a:pt x="971" y="4507"/>
                      </a:lnTo>
                      <a:lnTo>
                        <a:pt x="924" y="4464"/>
                      </a:lnTo>
                      <a:lnTo>
                        <a:pt x="878" y="4421"/>
                      </a:lnTo>
                      <a:lnTo>
                        <a:pt x="833" y="4377"/>
                      </a:lnTo>
                      <a:lnTo>
                        <a:pt x="790" y="4331"/>
                      </a:lnTo>
                      <a:lnTo>
                        <a:pt x="747" y="4286"/>
                      </a:lnTo>
                      <a:lnTo>
                        <a:pt x="705" y="4238"/>
                      </a:lnTo>
                      <a:lnTo>
                        <a:pt x="665" y="4191"/>
                      </a:lnTo>
                      <a:lnTo>
                        <a:pt x="625" y="4143"/>
                      </a:lnTo>
                      <a:lnTo>
                        <a:pt x="587" y="4092"/>
                      </a:lnTo>
                      <a:lnTo>
                        <a:pt x="548" y="4041"/>
                      </a:lnTo>
                      <a:lnTo>
                        <a:pt x="513" y="3989"/>
                      </a:lnTo>
                      <a:lnTo>
                        <a:pt x="477" y="3938"/>
                      </a:lnTo>
                      <a:lnTo>
                        <a:pt x="444" y="3885"/>
                      </a:lnTo>
                      <a:lnTo>
                        <a:pt x="411" y="3830"/>
                      </a:lnTo>
                      <a:lnTo>
                        <a:pt x="380" y="3775"/>
                      </a:lnTo>
                      <a:lnTo>
                        <a:pt x="349" y="3719"/>
                      </a:lnTo>
                      <a:lnTo>
                        <a:pt x="321" y="3663"/>
                      </a:lnTo>
                      <a:lnTo>
                        <a:pt x="293" y="3606"/>
                      </a:lnTo>
                      <a:lnTo>
                        <a:pt x="267" y="3548"/>
                      </a:lnTo>
                      <a:lnTo>
                        <a:pt x="243" y="3489"/>
                      </a:lnTo>
                      <a:lnTo>
                        <a:pt x="219" y="3430"/>
                      </a:lnTo>
                      <a:lnTo>
                        <a:pt x="197" y="3370"/>
                      </a:lnTo>
                      <a:lnTo>
                        <a:pt x="177" y="3310"/>
                      </a:lnTo>
                      <a:lnTo>
                        <a:pt x="158" y="3248"/>
                      </a:lnTo>
                      <a:lnTo>
                        <a:pt x="140" y="3187"/>
                      </a:lnTo>
                      <a:lnTo>
                        <a:pt x="124" y="3124"/>
                      </a:lnTo>
                      <a:lnTo>
                        <a:pt x="109" y="3062"/>
                      </a:lnTo>
                      <a:lnTo>
                        <a:pt x="96" y="2998"/>
                      </a:lnTo>
                      <a:lnTo>
                        <a:pt x="84" y="2934"/>
                      </a:lnTo>
                      <a:lnTo>
                        <a:pt x="74" y="2870"/>
                      </a:lnTo>
                      <a:lnTo>
                        <a:pt x="65" y="2805"/>
                      </a:lnTo>
                      <a:lnTo>
                        <a:pt x="57" y="2740"/>
                      </a:lnTo>
                      <a:lnTo>
                        <a:pt x="53" y="2674"/>
                      </a:lnTo>
                      <a:lnTo>
                        <a:pt x="48" y="2608"/>
                      </a:lnTo>
                      <a:lnTo>
                        <a:pt x="48" y="2608"/>
                      </a:lnTo>
                      <a:lnTo>
                        <a:pt x="47" y="2544"/>
                      </a:lnTo>
                      <a:lnTo>
                        <a:pt x="47" y="2479"/>
                      </a:lnTo>
                      <a:lnTo>
                        <a:pt x="48" y="2416"/>
                      </a:lnTo>
                      <a:lnTo>
                        <a:pt x="50" y="2353"/>
                      </a:lnTo>
                      <a:lnTo>
                        <a:pt x="54" y="2291"/>
                      </a:lnTo>
                      <a:lnTo>
                        <a:pt x="60" y="2227"/>
                      </a:lnTo>
                      <a:lnTo>
                        <a:pt x="68" y="2165"/>
                      </a:lnTo>
                      <a:lnTo>
                        <a:pt x="76" y="2104"/>
                      </a:lnTo>
                      <a:lnTo>
                        <a:pt x="87" y="2043"/>
                      </a:lnTo>
                      <a:lnTo>
                        <a:pt x="99" y="1981"/>
                      </a:lnTo>
                      <a:lnTo>
                        <a:pt x="112" y="1921"/>
                      </a:lnTo>
                      <a:lnTo>
                        <a:pt x="127" y="1862"/>
                      </a:lnTo>
                      <a:lnTo>
                        <a:pt x="143" y="1801"/>
                      </a:lnTo>
                      <a:lnTo>
                        <a:pt x="161" y="1742"/>
                      </a:lnTo>
                      <a:lnTo>
                        <a:pt x="181" y="1685"/>
                      </a:lnTo>
                      <a:lnTo>
                        <a:pt x="202" y="1626"/>
                      </a:lnTo>
                      <a:lnTo>
                        <a:pt x="224" y="1570"/>
                      </a:lnTo>
                      <a:lnTo>
                        <a:pt x="248" y="1512"/>
                      </a:lnTo>
                      <a:lnTo>
                        <a:pt x="271" y="1456"/>
                      </a:lnTo>
                      <a:lnTo>
                        <a:pt x="298" y="1402"/>
                      </a:lnTo>
                      <a:lnTo>
                        <a:pt x="326" y="1347"/>
                      </a:lnTo>
                      <a:lnTo>
                        <a:pt x="355" y="1293"/>
                      </a:lnTo>
                      <a:lnTo>
                        <a:pt x="386" y="1240"/>
                      </a:lnTo>
                      <a:lnTo>
                        <a:pt x="419" y="1186"/>
                      </a:lnTo>
                      <a:lnTo>
                        <a:pt x="451" y="1135"/>
                      </a:lnTo>
                      <a:lnTo>
                        <a:pt x="486" y="1083"/>
                      </a:lnTo>
                      <a:lnTo>
                        <a:pt x="522" y="1033"/>
                      </a:lnTo>
                      <a:lnTo>
                        <a:pt x="560" y="984"/>
                      </a:lnTo>
                      <a:lnTo>
                        <a:pt x="598" y="936"/>
                      </a:lnTo>
                      <a:lnTo>
                        <a:pt x="638" y="889"/>
                      </a:lnTo>
                      <a:lnTo>
                        <a:pt x="679" y="841"/>
                      </a:lnTo>
                      <a:lnTo>
                        <a:pt x="722" y="796"/>
                      </a:lnTo>
                      <a:lnTo>
                        <a:pt x="722" y="796"/>
                      </a:lnTo>
                      <a:lnTo>
                        <a:pt x="766" y="751"/>
                      </a:lnTo>
                      <a:lnTo>
                        <a:pt x="812" y="707"/>
                      </a:lnTo>
                      <a:lnTo>
                        <a:pt x="858" y="666"/>
                      </a:lnTo>
                      <a:lnTo>
                        <a:pt x="904" y="625"/>
                      </a:lnTo>
                      <a:lnTo>
                        <a:pt x="952" y="585"/>
                      </a:lnTo>
                      <a:lnTo>
                        <a:pt x="1001" y="547"/>
                      </a:lnTo>
                      <a:lnTo>
                        <a:pt x="1049" y="510"/>
                      </a:lnTo>
                      <a:lnTo>
                        <a:pt x="1100" y="474"/>
                      </a:lnTo>
                      <a:lnTo>
                        <a:pt x="1151" y="440"/>
                      </a:lnTo>
                      <a:lnTo>
                        <a:pt x="1203" y="408"/>
                      </a:lnTo>
                      <a:lnTo>
                        <a:pt x="1256" y="377"/>
                      </a:lnTo>
                      <a:lnTo>
                        <a:pt x="1309" y="346"/>
                      </a:lnTo>
                      <a:lnTo>
                        <a:pt x="1362" y="318"/>
                      </a:lnTo>
                      <a:lnTo>
                        <a:pt x="1418" y="290"/>
                      </a:lnTo>
                      <a:lnTo>
                        <a:pt x="1473" y="265"/>
                      </a:lnTo>
                      <a:lnTo>
                        <a:pt x="1529" y="240"/>
                      </a:lnTo>
                      <a:lnTo>
                        <a:pt x="1586" y="216"/>
                      </a:lnTo>
                      <a:lnTo>
                        <a:pt x="1644" y="196"/>
                      </a:lnTo>
                      <a:lnTo>
                        <a:pt x="1701" y="175"/>
                      </a:lnTo>
                      <a:lnTo>
                        <a:pt x="1760" y="156"/>
                      </a:lnTo>
                      <a:lnTo>
                        <a:pt x="1819" y="138"/>
                      </a:lnTo>
                      <a:lnTo>
                        <a:pt x="1879" y="123"/>
                      </a:lnTo>
                      <a:lnTo>
                        <a:pt x="1940" y="109"/>
                      </a:lnTo>
                      <a:lnTo>
                        <a:pt x="2000" y="95"/>
                      </a:lnTo>
                      <a:lnTo>
                        <a:pt x="2061" y="84"/>
                      </a:lnTo>
                      <a:lnTo>
                        <a:pt x="2123" y="75"/>
                      </a:lnTo>
                      <a:lnTo>
                        <a:pt x="2185" y="66"/>
                      </a:lnTo>
                      <a:lnTo>
                        <a:pt x="2248" y="59"/>
                      </a:lnTo>
                      <a:lnTo>
                        <a:pt x="2310" y="54"/>
                      </a:lnTo>
                      <a:lnTo>
                        <a:pt x="2373" y="50"/>
                      </a:lnTo>
                      <a:lnTo>
                        <a:pt x="2437" y="47"/>
                      </a:lnTo>
                      <a:lnTo>
                        <a:pt x="2502" y="47"/>
                      </a:lnTo>
                      <a:close/>
                      <a:moveTo>
                        <a:pt x="2502" y="0"/>
                      </a:moveTo>
                      <a:lnTo>
                        <a:pt x="2502" y="0"/>
                      </a:lnTo>
                      <a:lnTo>
                        <a:pt x="2434" y="0"/>
                      </a:lnTo>
                      <a:lnTo>
                        <a:pt x="2367" y="3"/>
                      </a:lnTo>
                      <a:lnTo>
                        <a:pt x="2301" y="7"/>
                      </a:lnTo>
                      <a:lnTo>
                        <a:pt x="2235" y="13"/>
                      </a:lnTo>
                      <a:lnTo>
                        <a:pt x="2170" y="20"/>
                      </a:lnTo>
                      <a:lnTo>
                        <a:pt x="2105" y="29"/>
                      </a:lnTo>
                      <a:lnTo>
                        <a:pt x="2040" y="39"/>
                      </a:lnTo>
                      <a:lnTo>
                        <a:pt x="1977" y="53"/>
                      </a:lnTo>
                      <a:lnTo>
                        <a:pt x="1915" y="66"/>
                      </a:lnTo>
                      <a:lnTo>
                        <a:pt x="1853" y="81"/>
                      </a:lnTo>
                      <a:lnTo>
                        <a:pt x="1791" y="98"/>
                      </a:lnTo>
                      <a:lnTo>
                        <a:pt x="1731" y="116"/>
                      </a:lnTo>
                      <a:lnTo>
                        <a:pt x="1670" y="137"/>
                      </a:lnTo>
                      <a:lnTo>
                        <a:pt x="1610" y="157"/>
                      </a:lnTo>
                      <a:lnTo>
                        <a:pt x="1552" y="179"/>
                      </a:lnTo>
                      <a:lnTo>
                        <a:pt x="1493" y="204"/>
                      </a:lnTo>
                      <a:lnTo>
                        <a:pt x="1437" y="230"/>
                      </a:lnTo>
                      <a:lnTo>
                        <a:pt x="1380" y="256"/>
                      </a:lnTo>
                      <a:lnTo>
                        <a:pt x="1325" y="284"/>
                      </a:lnTo>
                      <a:lnTo>
                        <a:pt x="1271" y="314"/>
                      </a:lnTo>
                      <a:lnTo>
                        <a:pt x="1216" y="345"/>
                      </a:lnTo>
                      <a:lnTo>
                        <a:pt x="1163" y="377"/>
                      </a:lnTo>
                      <a:lnTo>
                        <a:pt x="1111" y="411"/>
                      </a:lnTo>
                      <a:lnTo>
                        <a:pt x="1061" y="445"/>
                      </a:lnTo>
                      <a:lnTo>
                        <a:pt x="1011" y="480"/>
                      </a:lnTo>
                      <a:lnTo>
                        <a:pt x="961" y="517"/>
                      </a:lnTo>
                      <a:lnTo>
                        <a:pt x="914" y="555"/>
                      </a:lnTo>
                      <a:lnTo>
                        <a:pt x="867" y="595"/>
                      </a:lnTo>
                      <a:lnTo>
                        <a:pt x="820" y="635"/>
                      </a:lnTo>
                      <a:lnTo>
                        <a:pt x="775" y="678"/>
                      </a:lnTo>
                      <a:lnTo>
                        <a:pt x="731" y="721"/>
                      </a:lnTo>
                      <a:lnTo>
                        <a:pt x="688" y="763"/>
                      </a:lnTo>
                      <a:lnTo>
                        <a:pt x="646" y="809"/>
                      </a:lnTo>
                      <a:lnTo>
                        <a:pt x="606" y="855"/>
                      </a:lnTo>
                      <a:lnTo>
                        <a:pt x="566" y="902"/>
                      </a:lnTo>
                      <a:lnTo>
                        <a:pt x="528" y="949"/>
                      </a:lnTo>
                      <a:lnTo>
                        <a:pt x="489" y="998"/>
                      </a:lnTo>
                      <a:lnTo>
                        <a:pt x="454" y="1048"/>
                      </a:lnTo>
                      <a:lnTo>
                        <a:pt x="419" y="1098"/>
                      </a:lnTo>
                      <a:lnTo>
                        <a:pt x="386" y="1150"/>
                      </a:lnTo>
                      <a:lnTo>
                        <a:pt x="354" y="1203"/>
                      </a:lnTo>
                      <a:lnTo>
                        <a:pt x="323" y="1256"/>
                      </a:lnTo>
                      <a:lnTo>
                        <a:pt x="292" y="1310"/>
                      </a:lnTo>
                      <a:lnTo>
                        <a:pt x="264" y="1365"/>
                      </a:lnTo>
                      <a:lnTo>
                        <a:pt x="237" y="1421"/>
                      </a:lnTo>
                      <a:lnTo>
                        <a:pt x="211" y="1478"/>
                      </a:lnTo>
                      <a:lnTo>
                        <a:pt x="187" y="1536"/>
                      </a:lnTo>
                      <a:lnTo>
                        <a:pt x="163" y="1593"/>
                      </a:lnTo>
                      <a:lnTo>
                        <a:pt x="141" y="1652"/>
                      </a:lnTo>
                      <a:lnTo>
                        <a:pt x="122" y="1713"/>
                      </a:lnTo>
                      <a:lnTo>
                        <a:pt x="103" y="1773"/>
                      </a:lnTo>
                      <a:lnTo>
                        <a:pt x="85" y="1834"/>
                      </a:lnTo>
                      <a:lnTo>
                        <a:pt x="71" y="1896"/>
                      </a:lnTo>
                      <a:lnTo>
                        <a:pt x="56" y="1958"/>
                      </a:lnTo>
                      <a:lnTo>
                        <a:pt x="44" y="2021"/>
                      </a:lnTo>
                      <a:lnTo>
                        <a:pt x="32" y="2084"/>
                      </a:lnTo>
                      <a:lnTo>
                        <a:pt x="23" y="2148"/>
                      </a:lnTo>
                      <a:lnTo>
                        <a:pt x="15" y="2213"/>
                      </a:lnTo>
                      <a:lnTo>
                        <a:pt x="9" y="2278"/>
                      </a:lnTo>
                      <a:lnTo>
                        <a:pt x="4" y="2342"/>
                      </a:lnTo>
                      <a:lnTo>
                        <a:pt x="1" y="2409"/>
                      </a:lnTo>
                      <a:lnTo>
                        <a:pt x="0" y="2475"/>
                      </a:lnTo>
                      <a:lnTo>
                        <a:pt x="0" y="2543"/>
                      </a:lnTo>
                      <a:lnTo>
                        <a:pt x="1" y="2609"/>
                      </a:lnTo>
                      <a:lnTo>
                        <a:pt x="1" y="2609"/>
                      </a:lnTo>
                      <a:lnTo>
                        <a:pt x="6" y="2677"/>
                      </a:lnTo>
                      <a:lnTo>
                        <a:pt x="10" y="2745"/>
                      </a:lnTo>
                      <a:lnTo>
                        <a:pt x="18" y="2811"/>
                      </a:lnTo>
                      <a:lnTo>
                        <a:pt x="26" y="2878"/>
                      </a:lnTo>
                      <a:lnTo>
                        <a:pt x="37" y="2942"/>
                      </a:lnTo>
                      <a:lnTo>
                        <a:pt x="48" y="3007"/>
                      </a:lnTo>
                      <a:lnTo>
                        <a:pt x="62" y="3072"/>
                      </a:lnTo>
                      <a:lnTo>
                        <a:pt x="76" y="3136"/>
                      </a:lnTo>
                      <a:lnTo>
                        <a:pt x="94" y="3199"/>
                      </a:lnTo>
                      <a:lnTo>
                        <a:pt x="112" y="3262"/>
                      </a:lnTo>
                      <a:lnTo>
                        <a:pt x="131" y="3324"/>
                      </a:lnTo>
                      <a:lnTo>
                        <a:pt x="152" y="3386"/>
                      </a:lnTo>
                      <a:lnTo>
                        <a:pt x="174" y="3447"/>
                      </a:lnTo>
                      <a:lnTo>
                        <a:pt x="199" y="3507"/>
                      </a:lnTo>
                      <a:lnTo>
                        <a:pt x="224" y="3568"/>
                      </a:lnTo>
                      <a:lnTo>
                        <a:pt x="250" y="3627"/>
                      </a:lnTo>
                      <a:lnTo>
                        <a:pt x="278" y="3684"/>
                      </a:lnTo>
                      <a:lnTo>
                        <a:pt x="308" y="3742"/>
                      </a:lnTo>
                      <a:lnTo>
                        <a:pt x="337" y="3799"/>
                      </a:lnTo>
                      <a:lnTo>
                        <a:pt x="370" y="3855"/>
                      </a:lnTo>
                      <a:lnTo>
                        <a:pt x="402" y="3910"/>
                      </a:lnTo>
                      <a:lnTo>
                        <a:pt x="438" y="3964"/>
                      </a:lnTo>
                      <a:lnTo>
                        <a:pt x="473" y="4017"/>
                      </a:lnTo>
                      <a:lnTo>
                        <a:pt x="510" y="4070"/>
                      </a:lnTo>
                      <a:lnTo>
                        <a:pt x="548" y="4122"/>
                      </a:lnTo>
                      <a:lnTo>
                        <a:pt x="587" y="4172"/>
                      </a:lnTo>
                      <a:lnTo>
                        <a:pt x="626" y="4222"/>
                      </a:lnTo>
                      <a:lnTo>
                        <a:pt x="669" y="4271"/>
                      </a:lnTo>
                      <a:lnTo>
                        <a:pt x="710" y="4318"/>
                      </a:lnTo>
                      <a:lnTo>
                        <a:pt x="755" y="4365"/>
                      </a:lnTo>
                      <a:lnTo>
                        <a:pt x="799" y="4411"/>
                      </a:lnTo>
                      <a:lnTo>
                        <a:pt x="845" y="4457"/>
                      </a:lnTo>
                      <a:lnTo>
                        <a:pt x="892" y="4499"/>
                      </a:lnTo>
                      <a:lnTo>
                        <a:pt x="939" y="4542"/>
                      </a:lnTo>
                      <a:lnTo>
                        <a:pt x="988" y="4583"/>
                      </a:lnTo>
                      <a:lnTo>
                        <a:pt x="1038" y="4625"/>
                      </a:lnTo>
                      <a:lnTo>
                        <a:pt x="1088" y="4665"/>
                      </a:lnTo>
                      <a:lnTo>
                        <a:pt x="1139" y="4701"/>
                      </a:lnTo>
                      <a:lnTo>
                        <a:pt x="1191" y="4740"/>
                      </a:lnTo>
                      <a:lnTo>
                        <a:pt x="1244" y="4775"/>
                      </a:lnTo>
                      <a:lnTo>
                        <a:pt x="1299" y="4809"/>
                      </a:lnTo>
                      <a:lnTo>
                        <a:pt x="1353" y="4843"/>
                      </a:lnTo>
                      <a:lnTo>
                        <a:pt x="1409" y="4875"/>
                      </a:lnTo>
                      <a:lnTo>
                        <a:pt x="1465" y="4906"/>
                      </a:lnTo>
                      <a:lnTo>
                        <a:pt x="1523" y="4936"/>
                      </a:lnTo>
                      <a:lnTo>
                        <a:pt x="1580" y="4964"/>
                      </a:lnTo>
                      <a:lnTo>
                        <a:pt x="1639" y="4990"/>
                      </a:lnTo>
                      <a:lnTo>
                        <a:pt x="1698" y="5015"/>
                      </a:lnTo>
                      <a:lnTo>
                        <a:pt x="1759" y="5039"/>
                      </a:lnTo>
                      <a:lnTo>
                        <a:pt x="1819" y="5063"/>
                      </a:lnTo>
                      <a:lnTo>
                        <a:pt x="1881" y="5083"/>
                      </a:lnTo>
                      <a:lnTo>
                        <a:pt x="1941" y="5104"/>
                      </a:lnTo>
                      <a:lnTo>
                        <a:pt x="2005" y="5122"/>
                      </a:lnTo>
                      <a:lnTo>
                        <a:pt x="2068" y="5139"/>
                      </a:lnTo>
                      <a:lnTo>
                        <a:pt x="2132" y="5154"/>
                      </a:lnTo>
                      <a:lnTo>
                        <a:pt x="2195" y="5167"/>
                      </a:lnTo>
                      <a:lnTo>
                        <a:pt x="2260" y="5181"/>
                      </a:lnTo>
                      <a:lnTo>
                        <a:pt x="2325" y="5191"/>
                      </a:lnTo>
                      <a:lnTo>
                        <a:pt x="2390" y="5200"/>
                      </a:lnTo>
                      <a:lnTo>
                        <a:pt x="2456" y="5207"/>
                      </a:lnTo>
                      <a:lnTo>
                        <a:pt x="2522" y="5213"/>
                      </a:lnTo>
                      <a:lnTo>
                        <a:pt x="2589" y="5217"/>
                      </a:lnTo>
                      <a:lnTo>
                        <a:pt x="2656" y="5220"/>
                      </a:lnTo>
                      <a:lnTo>
                        <a:pt x="2723" y="5220"/>
                      </a:lnTo>
                      <a:lnTo>
                        <a:pt x="2723" y="5220"/>
                      </a:lnTo>
                      <a:lnTo>
                        <a:pt x="2791" y="5220"/>
                      </a:lnTo>
                      <a:lnTo>
                        <a:pt x="2857" y="5217"/>
                      </a:lnTo>
                      <a:lnTo>
                        <a:pt x="2923" y="5213"/>
                      </a:lnTo>
                      <a:lnTo>
                        <a:pt x="2990" y="5207"/>
                      </a:lnTo>
                      <a:lnTo>
                        <a:pt x="3054" y="5200"/>
                      </a:lnTo>
                      <a:lnTo>
                        <a:pt x="3119" y="5191"/>
                      </a:lnTo>
                      <a:lnTo>
                        <a:pt x="3184" y="5181"/>
                      </a:lnTo>
                      <a:lnTo>
                        <a:pt x="3248" y="5167"/>
                      </a:lnTo>
                      <a:lnTo>
                        <a:pt x="3309" y="5154"/>
                      </a:lnTo>
                      <a:lnTo>
                        <a:pt x="3373" y="5139"/>
                      </a:lnTo>
                      <a:lnTo>
                        <a:pt x="3433" y="5122"/>
                      </a:lnTo>
                      <a:lnTo>
                        <a:pt x="3495" y="5104"/>
                      </a:lnTo>
                      <a:lnTo>
                        <a:pt x="3554" y="5083"/>
                      </a:lnTo>
                      <a:lnTo>
                        <a:pt x="3615" y="5063"/>
                      </a:lnTo>
                      <a:lnTo>
                        <a:pt x="3674" y="5039"/>
                      </a:lnTo>
                      <a:lnTo>
                        <a:pt x="3731" y="5015"/>
                      </a:lnTo>
                      <a:lnTo>
                        <a:pt x="3789" y="4990"/>
                      </a:lnTo>
                      <a:lnTo>
                        <a:pt x="3845" y="4964"/>
                      </a:lnTo>
                      <a:lnTo>
                        <a:pt x="3899" y="4936"/>
                      </a:lnTo>
                      <a:lnTo>
                        <a:pt x="3954" y="4906"/>
                      </a:lnTo>
                      <a:lnTo>
                        <a:pt x="4008" y="4875"/>
                      </a:lnTo>
                      <a:lnTo>
                        <a:pt x="4061" y="4843"/>
                      </a:lnTo>
                      <a:lnTo>
                        <a:pt x="4113" y="4809"/>
                      </a:lnTo>
                      <a:lnTo>
                        <a:pt x="4164" y="4775"/>
                      </a:lnTo>
                      <a:lnTo>
                        <a:pt x="4215" y="4740"/>
                      </a:lnTo>
                      <a:lnTo>
                        <a:pt x="4263" y="4701"/>
                      </a:lnTo>
                      <a:lnTo>
                        <a:pt x="4312" y="4665"/>
                      </a:lnTo>
                      <a:lnTo>
                        <a:pt x="4359" y="4625"/>
                      </a:lnTo>
                      <a:lnTo>
                        <a:pt x="4405" y="4583"/>
                      </a:lnTo>
                      <a:lnTo>
                        <a:pt x="4450" y="4542"/>
                      </a:lnTo>
                      <a:lnTo>
                        <a:pt x="4493" y="4499"/>
                      </a:lnTo>
                      <a:lnTo>
                        <a:pt x="4537" y="4457"/>
                      </a:lnTo>
                      <a:lnTo>
                        <a:pt x="4579" y="4411"/>
                      </a:lnTo>
                      <a:lnTo>
                        <a:pt x="4620" y="4365"/>
                      </a:lnTo>
                      <a:lnTo>
                        <a:pt x="4658" y="4318"/>
                      </a:lnTo>
                      <a:lnTo>
                        <a:pt x="4697" y="4271"/>
                      </a:lnTo>
                      <a:lnTo>
                        <a:pt x="4735" y="4222"/>
                      </a:lnTo>
                      <a:lnTo>
                        <a:pt x="4770" y="4172"/>
                      </a:lnTo>
                      <a:lnTo>
                        <a:pt x="4806" y="4122"/>
                      </a:lnTo>
                      <a:lnTo>
                        <a:pt x="4840" y="4070"/>
                      </a:lnTo>
                      <a:lnTo>
                        <a:pt x="4872" y="4017"/>
                      </a:lnTo>
                      <a:lnTo>
                        <a:pt x="4903" y="3964"/>
                      </a:lnTo>
                      <a:lnTo>
                        <a:pt x="4933" y="3910"/>
                      </a:lnTo>
                      <a:lnTo>
                        <a:pt x="4961" y="3855"/>
                      </a:lnTo>
                      <a:lnTo>
                        <a:pt x="4987" y="3799"/>
                      </a:lnTo>
                      <a:lnTo>
                        <a:pt x="5014" y="3742"/>
                      </a:lnTo>
                      <a:lnTo>
                        <a:pt x="5037" y="3684"/>
                      </a:lnTo>
                      <a:lnTo>
                        <a:pt x="5061" y="3627"/>
                      </a:lnTo>
                      <a:lnTo>
                        <a:pt x="5083" y="3568"/>
                      </a:lnTo>
                      <a:lnTo>
                        <a:pt x="5102" y="3507"/>
                      </a:lnTo>
                      <a:lnTo>
                        <a:pt x="5121" y="3447"/>
                      </a:lnTo>
                      <a:lnTo>
                        <a:pt x="5139" y="3386"/>
                      </a:lnTo>
                      <a:lnTo>
                        <a:pt x="5154" y="3324"/>
                      </a:lnTo>
                      <a:lnTo>
                        <a:pt x="5168" y="3262"/>
                      </a:lnTo>
                      <a:lnTo>
                        <a:pt x="5182" y="3199"/>
                      </a:lnTo>
                      <a:lnTo>
                        <a:pt x="5192" y="3136"/>
                      </a:lnTo>
                      <a:lnTo>
                        <a:pt x="5202" y="3072"/>
                      </a:lnTo>
                      <a:lnTo>
                        <a:pt x="5210" y="3007"/>
                      </a:lnTo>
                      <a:lnTo>
                        <a:pt x="5216" y="2942"/>
                      </a:lnTo>
                      <a:lnTo>
                        <a:pt x="5220" y="2878"/>
                      </a:lnTo>
                      <a:lnTo>
                        <a:pt x="5224" y="2811"/>
                      </a:lnTo>
                      <a:lnTo>
                        <a:pt x="5224" y="2745"/>
                      </a:lnTo>
                      <a:lnTo>
                        <a:pt x="5224" y="2677"/>
                      </a:lnTo>
                      <a:lnTo>
                        <a:pt x="5223" y="2609"/>
                      </a:lnTo>
                      <a:lnTo>
                        <a:pt x="5223" y="2609"/>
                      </a:lnTo>
                      <a:lnTo>
                        <a:pt x="5219" y="2543"/>
                      </a:lnTo>
                      <a:lnTo>
                        <a:pt x="5214" y="2475"/>
                      </a:lnTo>
                      <a:lnTo>
                        <a:pt x="5207" y="2409"/>
                      </a:lnTo>
                      <a:lnTo>
                        <a:pt x="5198" y="2342"/>
                      </a:lnTo>
                      <a:lnTo>
                        <a:pt x="5188" y="2278"/>
                      </a:lnTo>
                      <a:lnTo>
                        <a:pt x="5176" y="2213"/>
                      </a:lnTo>
                      <a:lnTo>
                        <a:pt x="5163" y="2148"/>
                      </a:lnTo>
                      <a:lnTo>
                        <a:pt x="5148" y="2084"/>
                      </a:lnTo>
                      <a:lnTo>
                        <a:pt x="5132" y="2021"/>
                      </a:lnTo>
                      <a:lnTo>
                        <a:pt x="5112" y="1958"/>
                      </a:lnTo>
                      <a:lnTo>
                        <a:pt x="5093" y="1896"/>
                      </a:lnTo>
                      <a:lnTo>
                        <a:pt x="5073" y="1834"/>
                      </a:lnTo>
                      <a:lnTo>
                        <a:pt x="5050" y="1773"/>
                      </a:lnTo>
                      <a:lnTo>
                        <a:pt x="5027" y="1713"/>
                      </a:lnTo>
                      <a:lnTo>
                        <a:pt x="5000" y="1652"/>
                      </a:lnTo>
                      <a:lnTo>
                        <a:pt x="4974" y="1593"/>
                      </a:lnTo>
                      <a:lnTo>
                        <a:pt x="4946" y="1536"/>
                      </a:lnTo>
                      <a:lnTo>
                        <a:pt x="4918" y="1478"/>
                      </a:lnTo>
                      <a:lnTo>
                        <a:pt x="4887" y="1421"/>
                      </a:lnTo>
                      <a:lnTo>
                        <a:pt x="4854" y="1365"/>
                      </a:lnTo>
                      <a:lnTo>
                        <a:pt x="4822" y="1310"/>
                      </a:lnTo>
                      <a:lnTo>
                        <a:pt x="4787" y="1256"/>
                      </a:lnTo>
                      <a:lnTo>
                        <a:pt x="4751" y="1203"/>
                      </a:lnTo>
                      <a:lnTo>
                        <a:pt x="4714" y="1150"/>
                      </a:lnTo>
                      <a:lnTo>
                        <a:pt x="4678" y="1098"/>
                      </a:lnTo>
                      <a:lnTo>
                        <a:pt x="4638" y="1048"/>
                      </a:lnTo>
                      <a:lnTo>
                        <a:pt x="4598" y="998"/>
                      </a:lnTo>
                      <a:lnTo>
                        <a:pt x="4557" y="949"/>
                      </a:lnTo>
                      <a:lnTo>
                        <a:pt x="4514" y="902"/>
                      </a:lnTo>
                      <a:lnTo>
                        <a:pt x="4470" y="855"/>
                      </a:lnTo>
                      <a:lnTo>
                        <a:pt x="4425" y="809"/>
                      </a:lnTo>
                      <a:lnTo>
                        <a:pt x="4380" y="763"/>
                      </a:lnTo>
                      <a:lnTo>
                        <a:pt x="4333" y="721"/>
                      </a:lnTo>
                      <a:lnTo>
                        <a:pt x="4285" y="678"/>
                      </a:lnTo>
                      <a:lnTo>
                        <a:pt x="4237" y="635"/>
                      </a:lnTo>
                      <a:lnTo>
                        <a:pt x="4187" y="595"/>
                      </a:lnTo>
                      <a:lnTo>
                        <a:pt x="4136" y="555"/>
                      </a:lnTo>
                      <a:lnTo>
                        <a:pt x="4085" y="517"/>
                      </a:lnTo>
                      <a:lnTo>
                        <a:pt x="4033" y="480"/>
                      </a:lnTo>
                      <a:lnTo>
                        <a:pt x="3980" y="445"/>
                      </a:lnTo>
                      <a:lnTo>
                        <a:pt x="3926" y="411"/>
                      </a:lnTo>
                      <a:lnTo>
                        <a:pt x="3871" y="377"/>
                      </a:lnTo>
                      <a:lnTo>
                        <a:pt x="3815" y="345"/>
                      </a:lnTo>
                      <a:lnTo>
                        <a:pt x="3759" y="314"/>
                      </a:lnTo>
                      <a:lnTo>
                        <a:pt x="3702" y="284"/>
                      </a:lnTo>
                      <a:lnTo>
                        <a:pt x="3644" y="256"/>
                      </a:lnTo>
                      <a:lnTo>
                        <a:pt x="3585" y="230"/>
                      </a:lnTo>
                      <a:lnTo>
                        <a:pt x="3526" y="204"/>
                      </a:lnTo>
                      <a:lnTo>
                        <a:pt x="3466" y="179"/>
                      </a:lnTo>
                      <a:lnTo>
                        <a:pt x="3405" y="157"/>
                      </a:lnTo>
                      <a:lnTo>
                        <a:pt x="3345" y="137"/>
                      </a:lnTo>
                      <a:lnTo>
                        <a:pt x="3283" y="116"/>
                      </a:lnTo>
                      <a:lnTo>
                        <a:pt x="3220" y="98"/>
                      </a:lnTo>
                      <a:lnTo>
                        <a:pt x="3158" y="81"/>
                      </a:lnTo>
                      <a:lnTo>
                        <a:pt x="3094" y="66"/>
                      </a:lnTo>
                      <a:lnTo>
                        <a:pt x="3029" y="53"/>
                      </a:lnTo>
                      <a:lnTo>
                        <a:pt x="2964" y="39"/>
                      </a:lnTo>
                      <a:lnTo>
                        <a:pt x="2900" y="29"/>
                      </a:lnTo>
                      <a:lnTo>
                        <a:pt x="2835" y="20"/>
                      </a:lnTo>
                      <a:lnTo>
                        <a:pt x="2768" y="13"/>
                      </a:lnTo>
                      <a:lnTo>
                        <a:pt x="2702" y="7"/>
                      </a:lnTo>
                      <a:lnTo>
                        <a:pt x="2636" y="3"/>
                      </a:lnTo>
                      <a:lnTo>
                        <a:pt x="2568" y="0"/>
                      </a:lnTo>
                      <a:lnTo>
                        <a:pt x="2502" y="0"/>
                      </a:lnTo>
                      <a:lnTo>
                        <a:pt x="250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59" name="Freeform 22">
                  <a:extLst>
                    <a:ext uri="{FF2B5EF4-FFF2-40B4-BE49-F238E27FC236}">
                      <a16:creationId xmlns:a16="http://schemas.microsoft.com/office/drawing/2014/main" xmlns="" id="{042A4BB3-97F0-8444-A9A8-5FFFF5B49E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7200" y="2041525"/>
                  <a:ext cx="153988" cy="301625"/>
                </a:xfrm>
                <a:custGeom>
                  <a:avLst/>
                  <a:gdLst/>
                  <a:ahLst/>
                  <a:cxnLst>
                    <a:cxn ang="0">
                      <a:pos x="105" y="569"/>
                    </a:cxn>
                    <a:cxn ang="0">
                      <a:pos x="105" y="569"/>
                    </a:cxn>
                    <a:cxn ang="0">
                      <a:pos x="112" y="570"/>
                    </a:cxn>
                    <a:cxn ang="0">
                      <a:pos x="121" y="567"/>
                    </a:cxn>
                    <a:cxn ang="0">
                      <a:pos x="130" y="563"/>
                    </a:cxn>
                    <a:cxn ang="0">
                      <a:pos x="139" y="555"/>
                    </a:cxn>
                    <a:cxn ang="0">
                      <a:pos x="149" y="547"/>
                    </a:cxn>
                    <a:cxn ang="0">
                      <a:pos x="159" y="535"/>
                    </a:cxn>
                    <a:cxn ang="0">
                      <a:pos x="170" y="520"/>
                    </a:cxn>
                    <a:cxn ang="0">
                      <a:pos x="180" y="505"/>
                    </a:cxn>
                    <a:cxn ang="0">
                      <a:pos x="190" y="488"/>
                    </a:cxn>
                    <a:cxn ang="0">
                      <a:pos x="201" y="467"/>
                    </a:cxn>
                    <a:cxn ang="0">
                      <a:pos x="220" y="424"/>
                    </a:cxn>
                    <a:cxn ang="0">
                      <a:pos x="239" y="374"/>
                    </a:cxn>
                    <a:cxn ang="0">
                      <a:pos x="257" y="321"/>
                    </a:cxn>
                    <a:cxn ang="0">
                      <a:pos x="257" y="321"/>
                    </a:cxn>
                    <a:cxn ang="0">
                      <a:pos x="271" y="265"/>
                    </a:cxn>
                    <a:cxn ang="0">
                      <a:pos x="282" y="213"/>
                    </a:cxn>
                    <a:cxn ang="0">
                      <a:pos x="288" y="166"/>
                    </a:cxn>
                    <a:cxn ang="0">
                      <a:pos x="289" y="144"/>
                    </a:cxn>
                    <a:cxn ang="0">
                      <a:pos x="291" y="123"/>
                    </a:cxn>
                    <a:cxn ang="0">
                      <a:pos x="289" y="104"/>
                    </a:cxn>
                    <a:cxn ang="0">
                      <a:pos x="288" y="87"/>
                    </a:cxn>
                    <a:cxn ang="0">
                      <a:pos x="286" y="72"/>
                    </a:cxn>
                    <a:cxn ang="0">
                      <a:pos x="283" y="58"/>
                    </a:cxn>
                    <a:cxn ang="0">
                      <a:pos x="279" y="48"/>
                    </a:cxn>
                    <a:cxn ang="0">
                      <a:pos x="273" y="39"/>
                    </a:cxn>
                    <a:cxn ang="0">
                      <a:pos x="267" y="32"/>
                    </a:cxn>
                    <a:cxn ang="0">
                      <a:pos x="260" y="29"/>
                    </a:cxn>
                    <a:cxn ang="0">
                      <a:pos x="156" y="0"/>
                    </a:cxn>
                    <a:cxn ang="0">
                      <a:pos x="156" y="0"/>
                    </a:cxn>
                    <a:cxn ang="0">
                      <a:pos x="164" y="2"/>
                    </a:cxn>
                    <a:cxn ang="0">
                      <a:pos x="170" y="8"/>
                    </a:cxn>
                    <a:cxn ang="0">
                      <a:pos x="176" y="17"/>
                    </a:cxn>
                    <a:cxn ang="0">
                      <a:pos x="180" y="29"/>
                    </a:cxn>
                    <a:cxn ang="0">
                      <a:pos x="183" y="42"/>
                    </a:cxn>
                    <a:cxn ang="0">
                      <a:pos x="184" y="57"/>
                    </a:cxn>
                    <a:cxn ang="0">
                      <a:pos x="186" y="75"/>
                    </a:cxn>
                    <a:cxn ang="0">
                      <a:pos x="186" y="94"/>
                    </a:cxn>
                    <a:cxn ang="0">
                      <a:pos x="186" y="115"/>
                    </a:cxn>
                    <a:cxn ang="0">
                      <a:pos x="184" y="135"/>
                    </a:cxn>
                    <a:cxn ang="0">
                      <a:pos x="177" y="184"/>
                    </a:cxn>
                    <a:cxn ang="0">
                      <a:pos x="167" y="235"/>
                    </a:cxn>
                    <a:cxn ang="0">
                      <a:pos x="154" y="290"/>
                    </a:cxn>
                    <a:cxn ang="0">
                      <a:pos x="154" y="290"/>
                    </a:cxn>
                    <a:cxn ang="0">
                      <a:pos x="136" y="345"/>
                    </a:cxn>
                    <a:cxn ang="0">
                      <a:pos x="117" y="393"/>
                    </a:cxn>
                    <a:cxn ang="0">
                      <a:pos x="97" y="437"/>
                    </a:cxn>
                    <a:cxn ang="0">
                      <a:pos x="87" y="457"/>
                    </a:cxn>
                    <a:cxn ang="0">
                      <a:pos x="77" y="474"/>
                    </a:cxn>
                    <a:cxn ang="0">
                      <a:pos x="67" y="490"/>
                    </a:cxn>
                    <a:cxn ang="0">
                      <a:pos x="56" y="505"/>
                    </a:cxn>
                    <a:cxn ang="0">
                      <a:pos x="46" y="517"/>
                    </a:cxn>
                    <a:cxn ang="0">
                      <a:pos x="36" y="526"/>
                    </a:cxn>
                    <a:cxn ang="0">
                      <a:pos x="27" y="533"/>
                    </a:cxn>
                    <a:cxn ang="0">
                      <a:pos x="18" y="538"/>
                    </a:cxn>
                    <a:cxn ang="0">
                      <a:pos x="9" y="539"/>
                    </a:cxn>
                    <a:cxn ang="0">
                      <a:pos x="0" y="539"/>
                    </a:cxn>
                    <a:cxn ang="0">
                      <a:pos x="105" y="569"/>
                    </a:cxn>
                  </a:cxnLst>
                  <a:rect l="0" t="0" r="r" b="b"/>
                  <a:pathLst>
                    <a:path w="291" h="570">
                      <a:moveTo>
                        <a:pt x="105" y="569"/>
                      </a:moveTo>
                      <a:lnTo>
                        <a:pt x="105" y="569"/>
                      </a:lnTo>
                      <a:lnTo>
                        <a:pt x="112" y="570"/>
                      </a:lnTo>
                      <a:lnTo>
                        <a:pt x="121" y="567"/>
                      </a:lnTo>
                      <a:lnTo>
                        <a:pt x="130" y="563"/>
                      </a:lnTo>
                      <a:lnTo>
                        <a:pt x="139" y="555"/>
                      </a:lnTo>
                      <a:lnTo>
                        <a:pt x="149" y="547"/>
                      </a:lnTo>
                      <a:lnTo>
                        <a:pt x="159" y="535"/>
                      </a:lnTo>
                      <a:lnTo>
                        <a:pt x="170" y="520"/>
                      </a:lnTo>
                      <a:lnTo>
                        <a:pt x="180" y="505"/>
                      </a:lnTo>
                      <a:lnTo>
                        <a:pt x="190" y="488"/>
                      </a:lnTo>
                      <a:lnTo>
                        <a:pt x="201" y="467"/>
                      </a:lnTo>
                      <a:lnTo>
                        <a:pt x="220" y="424"/>
                      </a:lnTo>
                      <a:lnTo>
                        <a:pt x="239" y="374"/>
                      </a:lnTo>
                      <a:lnTo>
                        <a:pt x="257" y="321"/>
                      </a:lnTo>
                      <a:lnTo>
                        <a:pt x="257" y="321"/>
                      </a:lnTo>
                      <a:lnTo>
                        <a:pt x="271" y="265"/>
                      </a:lnTo>
                      <a:lnTo>
                        <a:pt x="282" y="213"/>
                      </a:lnTo>
                      <a:lnTo>
                        <a:pt x="288" y="166"/>
                      </a:lnTo>
                      <a:lnTo>
                        <a:pt x="289" y="144"/>
                      </a:lnTo>
                      <a:lnTo>
                        <a:pt x="291" y="123"/>
                      </a:lnTo>
                      <a:lnTo>
                        <a:pt x="289" y="104"/>
                      </a:lnTo>
                      <a:lnTo>
                        <a:pt x="288" y="87"/>
                      </a:lnTo>
                      <a:lnTo>
                        <a:pt x="286" y="72"/>
                      </a:lnTo>
                      <a:lnTo>
                        <a:pt x="283" y="58"/>
                      </a:lnTo>
                      <a:lnTo>
                        <a:pt x="279" y="48"/>
                      </a:lnTo>
                      <a:lnTo>
                        <a:pt x="273" y="39"/>
                      </a:lnTo>
                      <a:lnTo>
                        <a:pt x="267" y="32"/>
                      </a:lnTo>
                      <a:lnTo>
                        <a:pt x="260" y="29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64" y="2"/>
                      </a:lnTo>
                      <a:lnTo>
                        <a:pt x="170" y="8"/>
                      </a:lnTo>
                      <a:lnTo>
                        <a:pt x="176" y="17"/>
                      </a:lnTo>
                      <a:lnTo>
                        <a:pt x="180" y="29"/>
                      </a:lnTo>
                      <a:lnTo>
                        <a:pt x="183" y="42"/>
                      </a:lnTo>
                      <a:lnTo>
                        <a:pt x="184" y="57"/>
                      </a:lnTo>
                      <a:lnTo>
                        <a:pt x="186" y="75"/>
                      </a:lnTo>
                      <a:lnTo>
                        <a:pt x="186" y="94"/>
                      </a:lnTo>
                      <a:lnTo>
                        <a:pt x="186" y="115"/>
                      </a:lnTo>
                      <a:lnTo>
                        <a:pt x="184" y="135"/>
                      </a:lnTo>
                      <a:lnTo>
                        <a:pt x="177" y="184"/>
                      </a:lnTo>
                      <a:lnTo>
                        <a:pt x="167" y="235"/>
                      </a:lnTo>
                      <a:lnTo>
                        <a:pt x="154" y="290"/>
                      </a:lnTo>
                      <a:lnTo>
                        <a:pt x="154" y="290"/>
                      </a:lnTo>
                      <a:lnTo>
                        <a:pt x="136" y="345"/>
                      </a:lnTo>
                      <a:lnTo>
                        <a:pt x="117" y="393"/>
                      </a:lnTo>
                      <a:lnTo>
                        <a:pt x="97" y="437"/>
                      </a:lnTo>
                      <a:lnTo>
                        <a:pt x="87" y="457"/>
                      </a:lnTo>
                      <a:lnTo>
                        <a:pt x="77" y="474"/>
                      </a:lnTo>
                      <a:lnTo>
                        <a:pt x="67" y="490"/>
                      </a:lnTo>
                      <a:lnTo>
                        <a:pt x="56" y="505"/>
                      </a:lnTo>
                      <a:lnTo>
                        <a:pt x="46" y="517"/>
                      </a:lnTo>
                      <a:lnTo>
                        <a:pt x="36" y="526"/>
                      </a:lnTo>
                      <a:lnTo>
                        <a:pt x="27" y="533"/>
                      </a:lnTo>
                      <a:lnTo>
                        <a:pt x="18" y="538"/>
                      </a:lnTo>
                      <a:lnTo>
                        <a:pt x="9" y="539"/>
                      </a:lnTo>
                      <a:lnTo>
                        <a:pt x="0" y="539"/>
                      </a:lnTo>
                      <a:lnTo>
                        <a:pt x="105" y="569"/>
                      </a:lnTo>
                      <a:close/>
                    </a:path>
                  </a:pathLst>
                </a:custGeom>
                <a:gradFill flip="none" rotWithShape="1">
                  <a:gsLst>
                    <a:gs pos="15000">
                      <a:srgbClr val="414141"/>
                    </a:gs>
                    <a:gs pos="67000">
                      <a:srgbClr val="FFFFFF"/>
                    </a:gs>
                    <a:gs pos="100000">
                      <a:srgbClr val="CFCFCF"/>
                    </a:gs>
                    <a:gs pos="0">
                      <a:srgbClr val="A6A6A6"/>
                    </a:gs>
                    <a:gs pos="86000">
                      <a:srgbClr val="A6A6A6"/>
                    </a:gs>
                    <a:gs pos="16000">
                      <a:srgbClr val="262626"/>
                    </a:gs>
                  </a:gsLst>
                  <a:lin ang="1728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60" name="Freeform 23">
                  <a:extLst>
                    <a:ext uri="{FF2B5EF4-FFF2-40B4-BE49-F238E27FC236}">
                      <a16:creationId xmlns:a16="http://schemas.microsoft.com/office/drawing/2014/main" xmlns="" id="{53EE4E86-CA72-6E46-8E0C-F5E9E7E2AB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2912" y="2041525"/>
                  <a:ext cx="112713" cy="285750"/>
                </a:xfrm>
                <a:custGeom>
                  <a:avLst/>
                  <a:gdLst/>
                  <a:ahLst/>
                  <a:cxnLst>
                    <a:cxn ang="0">
                      <a:pos x="182" y="292"/>
                    </a:cxn>
                    <a:cxn ang="0">
                      <a:pos x="182" y="292"/>
                    </a:cxn>
                    <a:cxn ang="0">
                      <a:pos x="165" y="347"/>
                    </a:cxn>
                    <a:cxn ang="0">
                      <a:pos x="146" y="397"/>
                    </a:cxn>
                    <a:cxn ang="0">
                      <a:pos x="125" y="439"/>
                    </a:cxn>
                    <a:cxn ang="0">
                      <a:pos x="115" y="460"/>
                    </a:cxn>
                    <a:cxn ang="0">
                      <a:pos x="105" y="478"/>
                    </a:cxn>
                    <a:cxn ang="0">
                      <a:pos x="95" y="492"/>
                    </a:cxn>
                    <a:cxn ang="0">
                      <a:pos x="84" y="507"/>
                    </a:cxn>
                    <a:cxn ang="0">
                      <a:pos x="74" y="519"/>
                    </a:cxn>
                    <a:cxn ang="0">
                      <a:pos x="65" y="528"/>
                    </a:cxn>
                    <a:cxn ang="0">
                      <a:pos x="55" y="535"/>
                    </a:cxn>
                    <a:cxn ang="0">
                      <a:pos x="46" y="540"/>
                    </a:cxn>
                    <a:cxn ang="0">
                      <a:pos x="37" y="541"/>
                    </a:cxn>
                    <a:cxn ang="0">
                      <a:pos x="30" y="541"/>
                    </a:cxn>
                    <a:cxn ang="0">
                      <a:pos x="30" y="541"/>
                    </a:cxn>
                    <a:cxn ang="0">
                      <a:pos x="22" y="537"/>
                    </a:cxn>
                    <a:cxn ang="0">
                      <a:pos x="16" y="531"/>
                    </a:cxn>
                    <a:cxn ang="0">
                      <a:pos x="10" y="522"/>
                    </a:cxn>
                    <a:cxn ang="0">
                      <a:pos x="6" y="512"/>
                    </a:cxn>
                    <a:cxn ang="0">
                      <a:pos x="3" y="498"/>
                    </a:cxn>
                    <a:cxn ang="0">
                      <a:pos x="2" y="482"/>
                    </a:cxn>
                    <a:cxn ang="0">
                      <a:pos x="0" y="466"/>
                    </a:cxn>
                    <a:cxn ang="0">
                      <a:pos x="0" y="447"/>
                    </a:cxn>
                    <a:cxn ang="0">
                      <a:pos x="0" y="426"/>
                    </a:cxn>
                    <a:cxn ang="0">
                      <a:pos x="2" y="404"/>
                    </a:cxn>
                    <a:cxn ang="0">
                      <a:pos x="9" y="357"/>
                    </a:cxn>
                    <a:cxn ang="0">
                      <a:pos x="19" y="30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50" y="196"/>
                    </a:cxn>
                    <a:cxn ang="0">
                      <a:pos x="69" y="146"/>
                    </a:cxn>
                    <a:cxn ang="0">
                      <a:pos x="89" y="102"/>
                    </a:cxn>
                    <a:cxn ang="0">
                      <a:pos x="99" y="83"/>
                    </a:cxn>
                    <a:cxn ang="0">
                      <a:pos x="109" y="65"/>
                    </a:cxn>
                    <a:cxn ang="0">
                      <a:pos x="120" y="49"/>
                    </a:cxn>
                    <a:cxn ang="0">
                      <a:pos x="130" y="35"/>
                    </a:cxn>
                    <a:cxn ang="0">
                      <a:pos x="140" y="24"/>
                    </a:cxn>
                    <a:cxn ang="0">
                      <a:pos x="151" y="15"/>
                    </a:cxn>
                    <a:cxn ang="0">
                      <a:pos x="159" y="7"/>
                    </a:cxn>
                    <a:cxn ang="0">
                      <a:pos x="168" y="3"/>
                    </a:cxn>
                    <a:cxn ang="0">
                      <a:pos x="177" y="0"/>
                    </a:cxn>
                    <a:cxn ang="0">
                      <a:pos x="186" y="2"/>
                    </a:cxn>
                    <a:cxn ang="0">
                      <a:pos x="186" y="2"/>
                    </a:cxn>
                    <a:cxn ang="0">
                      <a:pos x="193" y="4"/>
                    </a:cxn>
                    <a:cxn ang="0">
                      <a:pos x="199" y="10"/>
                    </a:cxn>
                    <a:cxn ang="0">
                      <a:pos x="204" y="19"/>
                    </a:cxn>
                    <a:cxn ang="0">
                      <a:pos x="208" y="31"/>
                    </a:cxn>
                    <a:cxn ang="0">
                      <a:pos x="211" y="44"/>
                    </a:cxn>
                    <a:cxn ang="0">
                      <a:pos x="214" y="59"/>
                    </a:cxn>
                    <a:cxn ang="0">
                      <a:pos x="215" y="77"/>
                    </a:cxn>
                    <a:cxn ang="0">
                      <a:pos x="215" y="96"/>
                    </a:cxn>
                    <a:cxn ang="0">
                      <a:pos x="214" y="117"/>
                    </a:cxn>
                    <a:cxn ang="0">
                      <a:pos x="212" y="139"/>
                    </a:cxn>
                    <a:cxn ang="0">
                      <a:pos x="207" y="186"/>
                    </a:cxn>
                    <a:cxn ang="0">
                      <a:pos x="196" y="237"/>
                    </a:cxn>
                    <a:cxn ang="0">
                      <a:pos x="182" y="292"/>
                    </a:cxn>
                    <a:cxn ang="0">
                      <a:pos x="182" y="292"/>
                    </a:cxn>
                  </a:cxnLst>
                  <a:rect l="0" t="0" r="r" b="b"/>
                  <a:pathLst>
                    <a:path w="215" h="541">
                      <a:moveTo>
                        <a:pt x="182" y="292"/>
                      </a:moveTo>
                      <a:lnTo>
                        <a:pt x="182" y="292"/>
                      </a:lnTo>
                      <a:lnTo>
                        <a:pt x="165" y="347"/>
                      </a:lnTo>
                      <a:lnTo>
                        <a:pt x="146" y="397"/>
                      </a:lnTo>
                      <a:lnTo>
                        <a:pt x="125" y="439"/>
                      </a:lnTo>
                      <a:lnTo>
                        <a:pt x="115" y="460"/>
                      </a:lnTo>
                      <a:lnTo>
                        <a:pt x="105" y="478"/>
                      </a:lnTo>
                      <a:lnTo>
                        <a:pt x="95" y="492"/>
                      </a:lnTo>
                      <a:lnTo>
                        <a:pt x="84" y="507"/>
                      </a:lnTo>
                      <a:lnTo>
                        <a:pt x="74" y="519"/>
                      </a:lnTo>
                      <a:lnTo>
                        <a:pt x="65" y="528"/>
                      </a:lnTo>
                      <a:lnTo>
                        <a:pt x="55" y="535"/>
                      </a:lnTo>
                      <a:lnTo>
                        <a:pt x="46" y="540"/>
                      </a:lnTo>
                      <a:lnTo>
                        <a:pt x="37" y="541"/>
                      </a:lnTo>
                      <a:lnTo>
                        <a:pt x="30" y="541"/>
                      </a:lnTo>
                      <a:lnTo>
                        <a:pt x="30" y="541"/>
                      </a:lnTo>
                      <a:lnTo>
                        <a:pt x="22" y="537"/>
                      </a:lnTo>
                      <a:lnTo>
                        <a:pt x="16" y="531"/>
                      </a:lnTo>
                      <a:lnTo>
                        <a:pt x="10" y="522"/>
                      </a:lnTo>
                      <a:lnTo>
                        <a:pt x="6" y="512"/>
                      </a:lnTo>
                      <a:lnTo>
                        <a:pt x="3" y="498"/>
                      </a:lnTo>
                      <a:lnTo>
                        <a:pt x="2" y="482"/>
                      </a:lnTo>
                      <a:lnTo>
                        <a:pt x="0" y="466"/>
                      </a:lnTo>
                      <a:lnTo>
                        <a:pt x="0" y="447"/>
                      </a:lnTo>
                      <a:lnTo>
                        <a:pt x="0" y="426"/>
                      </a:lnTo>
                      <a:lnTo>
                        <a:pt x="2" y="404"/>
                      </a:lnTo>
                      <a:lnTo>
                        <a:pt x="9" y="357"/>
                      </a:lnTo>
                      <a:lnTo>
                        <a:pt x="19" y="304"/>
                      </a:lnTo>
                      <a:lnTo>
                        <a:pt x="33" y="249"/>
                      </a:lnTo>
                      <a:lnTo>
                        <a:pt x="33" y="249"/>
                      </a:lnTo>
                      <a:lnTo>
                        <a:pt x="50" y="196"/>
                      </a:lnTo>
                      <a:lnTo>
                        <a:pt x="69" y="146"/>
                      </a:lnTo>
                      <a:lnTo>
                        <a:pt x="89" y="102"/>
                      </a:lnTo>
                      <a:lnTo>
                        <a:pt x="99" y="83"/>
                      </a:lnTo>
                      <a:lnTo>
                        <a:pt x="109" y="65"/>
                      </a:lnTo>
                      <a:lnTo>
                        <a:pt x="120" y="49"/>
                      </a:lnTo>
                      <a:lnTo>
                        <a:pt x="130" y="35"/>
                      </a:lnTo>
                      <a:lnTo>
                        <a:pt x="140" y="24"/>
                      </a:lnTo>
                      <a:lnTo>
                        <a:pt x="151" y="15"/>
                      </a:lnTo>
                      <a:lnTo>
                        <a:pt x="159" y="7"/>
                      </a:lnTo>
                      <a:lnTo>
                        <a:pt x="168" y="3"/>
                      </a:lnTo>
                      <a:lnTo>
                        <a:pt x="177" y="0"/>
                      </a:lnTo>
                      <a:lnTo>
                        <a:pt x="186" y="2"/>
                      </a:lnTo>
                      <a:lnTo>
                        <a:pt x="186" y="2"/>
                      </a:lnTo>
                      <a:lnTo>
                        <a:pt x="193" y="4"/>
                      </a:lnTo>
                      <a:lnTo>
                        <a:pt x="199" y="10"/>
                      </a:lnTo>
                      <a:lnTo>
                        <a:pt x="204" y="19"/>
                      </a:lnTo>
                      <a:lnTo>
                        <a:pt x="208" y="31"/>
                      </a:lnTo>
                      <a:lnTo>
                        <a:pt x="211" y="44"/>
                      </a:lnTo>
                      <a:lnTo>
                        <a:pt x="214" y="59"/>
                      </a:lnTo>
                      <a:lnTo>
                        <a:pt x="215" y="77"/>
                      </a:lnTo>
                      <a:lnTo>
                        <a:pt x="215" y="96"/>
                      </a:lnTo>
                      <a:lnTo>
                        <a:pt x="214" y="117"/>
                      </a:lnTo>
                      <a:lnTo>
                        <a:pt x="212" y="139"/>
                      </a:lnTo>
                      <a:lnTo>
                        <a:pt x="207" y="186"/>
                      </a:lnTo>
                      <a:lnTo>
                        <a:pt x="196" y="237"/>
                      </a:lnTo>
                      <a:lnTo>
                        <a:pt x="182" y="292"/>
                      </a:lnTo>
                      <a:lnTo>
                        <a:pt x="182" y="292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FDFDF"/>
                    </a:gs>
                    <a:gs pos="100000">
                      <a:srgbClr val="858585"/>
                    </a:gs>
                  </a:gsLst>
                  <a:lin ang="10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24">
                  <a:extLst>
                    <a:ext uri="{FF2B5EF4-FFF2-40B4-BE49-F238E27FC236}">
                      <a16:creationId xmlns:a16="http://schemas.microsoft.com/office/drawing/2014/main" xmlns="" id="{1B120CBD-ABDD-9547-A4D3-BF95818C07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5762" y="0"/>
                  <a:ext cx="2743200" cy="2217738"/>
                </a:xfrm>
                <a:custGeom>
                  <a:avLst/>
                  <a:gdLst/>
                  <a:ahLst/>
                  <a:cxnLst>
                    <a:cxn ang="0">
                      <a:pos x="219" y="4047"/>
                    </a:cxn>
                    <a:cxn ang="0">
                      <a:pos x="148" y="3985"/>
                    </a:cxn>
                    <a:cxn ang="0">
                      <a:pos x="138" y="3856"/>
                    </a:cxn>
                    <a:cxn ang="0">
                      <a:pos x="162" y="3490"/>
                    </a:cxn>
                    <a:cxn ang="0">
                      <a:pos x="227" y="3055"/>
                    </a:cxn>
                    <a:cxn ang="0">
                      <a:pos x="346" y="2546"/>
                    </a:cxn>
                    <a:cxn ang="0">
                      <a:pos x="539" y="2001"/>
                    </a:cxn>
                    <a:cxn ang="0">
                      <a:pos x="697" y="1673"/>
                    </a:cxn>
                    <a:cxn ang="0">
                      <a:pos x="855" y="1410"/>
                    </a:cxn>
                    <a:cxn ang="0">
                      <a:pos x="1005" y="1197"/>
                    </a:cxn>
                    <a:cxn ang="0">
                      <a:pos x="1242" y="927"/>
                    </a:cxn>
                    <a:cxn ang="0">
                      <a:pos x="1505" y="696"/>
                    </a:cxn>
                    <a:cxn ang="0">
                      <a:pos x="1792" y="504"/>
                    </a:cxn>
                    <a:cxn ang="0">
                      <a:pos x="2103" y="351"/>
                    </a:cxn>
                    <a:cxn ang="0">
                      <a:pos x="2436" y="237"/>
                    </a:cxn>
                    <a:cxn ang="0">
                      <a:pos x="2795" y="164"/>
                    </a:cxn>
                    <a:cxn ang="0">
                      <a:pos x="3039" y="143"/>
                    </a:cxn>
                    <a:cxn ang="0">
                      <a:pos x="3336" y="155"/>
                    </a:cxn>
                    <a:cxn ang="0">
                      <a:pos x="3653" y="202"/>
                    </a:cxn>
                    <a:cxn ang="0">
                      <a:pos x="4002" y="307"/>
                    </a:cxn>
                    <a:cxn ang="0">
                      <a:pos x="4320" y="464"/>
                    </a:cxn>
                    <a:cxn ang="0">
                      <a:pos x="4490" y="585"/>
                    </a:cxn>
                    <a:cxn ang="0">
                      <a:pos x="4615" y="694"/>
                    </a:cxn>
                    <a:cxn ang="0">
                      <a:pos x="4752" y="843"/>
                    </a:cxn>
                    <a:cxn ang="0">
                      <a:pos x="4873" y="1007"/>
                    </a:cxn>
                    <a:cxn ang="0">
                      <a:pos x="4956" y="1152"/>
                    </a:cxn>
                    <a:cxn ang="0">
                      <a:pos x="5184" y="1309"/>
                    </a:cxn>
                    <a:cxn ang="0">
                      <a:pos x="5053" y="1032"/>
                    </a:cxn>
                    <a:cxn ang="0">
                      <a:pos x="4890" y="787"/>
                    </a:cxn>
                    <a:cxn ang="0">
                      <a:pos x="4693" y="572"/>
                    </a:cxn>
                    <a:cxn ang="0">
                      <a:pos x="4545" y="447"/>
                    </a:cxn>
                    <a:cxn ang="0">
                      <a:pos x="4362" y="323"/>
                    </a:cxn>
                    <a:cxn ang="0">
                      <a:pos x="4062" y="177"/>
                    </a:cxn>
                    <a:cxn ang="0">
                      <a:pos x="3695" y="63"/>
                    </a:cxn>
                    <a:cxn ang="0">
                      <a:pos x="3361" y="12"/>
                    </a:cxn>
                    <a:cxn ang="0">
                      <a:pos x="3045" y="0"/>
                    </a:cxn>
                    <a:cxn ang="0">
                      <a:pos x="2851" y="13"/>
                    </a:cxn>
                    <a:cxn ang="0">
                      <a:pos x="2405" y="99"/>
                    </a:cxn>
                    <a:cxn ang="0">
                      <a:pos x="1994" y="242"/>
                    </a:cxn>
                    <a:cxn ang="0">
                      <a:pos x="1617" y="442"/>
                    </a:cxn>
                    <a:cxn ang="0">
                      <a:pos x="1276" y="699"/>
                    </a:cxn>
                    <a:cxn ang="0">
                      <a:pos x="971" y="1011"/>
                    </a:cxn>
                    <a:cxn ang="0">
                      <a:pos x="703" y="1382"/>
                    </a:cxn>
                    <a:cxn ang="0">
                      <a:pos x="549" y="1648"/>
                    </a:cxn>
                    <a:cxn ang="0">
                      <a:pos x="319" y="2173"/>
                    </a:cxn>
                    <a:cxn ang="0">
                      <a:pos x="162" y="2691"/>
                    </a:cxn>
                    <a:cxn ang="0">
                      <a:pos x="64" y="3168"/>
                    </a:cxn>
                    <a:cxn ang="0">
                      <a:pos x="14" y="3571"/>
                    </a:cxn>
                    <a:cxn ang="0">
                      <a:pos x="0" y="3864"/>
                    </a:cxn>
                    <a:cxn ang="0">
                      <a:pos x="5" y="4018"/>
                    </a:cxn>
                    <a:cxn ang="0">
                      <a:pos x="39" y="4077"/>
                    </a:cxn>
                    <a:cxn ang="0">
                      <a:pos x="132" y="4161"/>
                    </a:cxn>
                    <a:cxn ang="0">
                      <a:pos x="182" y="4190"/>
                    </a:cxn>
                    <a:cxn ang="0">
                      <a:pos x="202" y="4174"/>
                    </a:cxn>
                    <a:cxn ang="0">
                      <a:pos x="228" y="4099"/>
                    </a:cxn>
                    <a:cxn ang="0">
                      <a:pos x="227" y="4053"/>
                    </a:cxn>
                  </a:cxnLst>
                  <a:rect l="0" t="0" r="r" b="b"/>
                  <a:pathLst>
                    <a:path w="5184" h="4192">
                      <a:moveTo>
                        <a:pt x="222" y="4050"/>
                      </a:move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19" y="4047"/>
                      </a:lnTo>
                      <a:lnTo>
                        <a:pt x="219" y="4047"/>
                      </a:lnTo>
                      <a:lnTo>
                        <a:pt x="197" y="4032"/>
                      </a:lnTo>
                      <a:lnTo>
                        <a:pt x="175" y="4015"/>
                      </a:lnTo>
                      <a:lnTo>
                        <a:pt x="156" y="3994"/>
                      </a:lnTo>
                      <a:lnTo>
                        <a:pt x="148" y="3985"/>
                      </a:lnTo>
                      <a:lnTo>
                        <a:pt x="141" y="3975"/>
                      </a:lnTo>
                      <a:lnTo>
                        <a:pt x="141" y="3975"/>
                      </a:lnTo>
                      <a:lnTo>
                        <a:pt x="140" y="3956"/>
                      </a:lnTo>
                      <a:lnTo>
                        <a:pt x="138" y="3929"/>
                      </a:lnTo>
                      <a:lnTo>
                        <a:pt x="138" y="3856"/>
                      </a:lnTo>
                      <a:lnTo>
                        <a:pt x="141" y="3757"/>
                      </a:lnTo>
                      <a:lnTo>
                        <a:pt x="144" y="3698"/>
                      </a:lnTo>
                      <a:lnTo>
                        <a:pt x="148" y="3633"/>
                      </a:lnTo>
                      <a:lnTo>
                        <a:pt x="154" y="3564"/>
                      </a:lnTo>
                      <a:lnTo>
                        <a:pt x="162" y="3490"/>
                      </a:lnTo>
                      <a:lnTo>
                        <a:pt x="171" y="3410"/>
                      </a:lnTo>
                      <a:lnTo>
                        <a:pt x="182" y="3328"/>
                      </a:lnTo>
                      <a:lnTo>
                        <a:pt x="194" y="3241"/>
                      </a:lnTo>
                      <a:lnTo>
                        <a:pt x="209" y="3149"/>
                      </a:lnTo>
                      <a:lnTo>
                        <a:pt x="227" y="3055"/>
                      </a:lnTo>
                      <a:lnTo>
                        <a:pt x="246" y="2958"/>
                      </a:lnTo>
                      <a:lnTo>
                        <a:pt x="266" y="2857"/>
                      </a:lnTo>
                      <a:lnTo>
                        <a:pt x="290" y="2756"/>
                      </a:lnTo>
                      <a:lnTo>
                        <a:pt x="317" y="2651"/>
                      </a:lnTo>
                      <a:lnTo>
                        <a:pt x="346" y="2546"/>
                      </a:lnTo>
                      <a:lnTo>
                        <a:pt x="378" y="2439"/>
                      </a:lnTo>
                      <a:lnTo>
                        <a:pt x="414" y="2330"/>
                      </a:lnTo>
                      <a:lnTo>
                        <a:pt x="452" y="2220"/>
                      </a:lnTo>
                      <a:lnTo>
                        <a:pt x="495" y="2111"/>
                      </a:lnTo>
                      <a:lnTo>
                        <a:pt x="539" y="2001"/>
                      </a:lnTo>
                      <a:lnTo>
                        <a:pt x="588" y="1892"/>
                      </a:lnTo>
                      <a:lnTo>
                        <a:pt x="614" y="1837"/>
                      </a:lnTo>
                      <a:lnTo>
                        <a:pt x="641" y="1783"/>
                      </a:lnTo>
                      <a:lnTo>
                        <a:pt x="667" y="1728"/>
                      </a:lnTo>
                      <a:lnTo>
                        <a:pt x="697" y="1673"/>
                      </a:lnTo>
                      <a:lnTo>
                        <a:pt x="726" y="1620"/>
                      </a:lnTo>
                      <a:lnTo>
                        <a:pt x="756" y="1567"/>
                      </a:lnTo>
                      <a:lnTo>
                        <a:pt x="788" y="1514"/>
                      </a:lnTo>
                      <a:lnTo>
                        <a:pt x="821" y="1461"/>
                      </a:lnTo>
                      <a:lnTo>
                        <a:pt x="855" y="1410"/>
                      </a:lnTo>
                      <a:lnTo>
                        <a:pt x="889" y="1358"/>
                      </a:lnTo>
                      <a:lnTo>
                        <a:pt x="924" y="1306"/>
                      </a:lnTo>
                      <a:lnTo>
                        <a:pt x="961" y="1256"/>
                      </a:lnTo>
                      <a:lnTo>
                        <a:pt x="961" y="1256"/>
                      </a:lnTo>
                      <a:lnTo>
                        <a:pt x="1005" y="1197"/>
                      </a:lnTo>
                      <a:lnTo>
                        <a:pt x="1051" y="1140"/>
                      </a:lnTo>
                      <a:lnTo>
                        <a:pt x="1098" y="1084"/>
                      </a:lnTo>
                      <a:lnTo>
                        <a:pt x="1145" y="1031"/>
                      </a:lnTo>
                      <a:lnTo>
                        <a:pt x="1194" y="978"/>
                      </a:lnTo>
                      <a:lnTo>
                        <a:pt x="1242" y="927"/>
                      </a:lnTo>
                      <a:lnTo>
                        <a:pt x="1294" y="877"/>
                      </a:lnTo>
                      <a:lnTo>
                        <a:pt x="1346" y="830"/>
                      </a:lnTo>
                      <a:lnTo>
                        <a:pt x="1397" y="784"/>
                      </a:lnTo>
                      <a:lnTo>
                        <a:pt x="1450" y="739"/>
                      </a:lnTo>
                      <a:lnTo>
                        <a:pt x="1505" y="696"/>
                      </a:lnTo>
                      <a:lnTo>
                        <a:pt x="1561" y="655"/>
                      </a:lnTo>
                      <a:lnTo>
                        <a:pt x="1617" y="615"/>
                      </a:lnTo>
                      <a:lnTo>
                        <a:pt x="1674" y="576"/>
                      </a:lnTo>
                      <a:lnTo>
                        <a:pt x="1733" y="540"/>
                      </a:lnTo>
                      <a:lnTo>
                        <a:pt x="1792" y="504"/>
                      </a:lnTo>
                      <a:lnTo>
                        <a:pt x="1853" y="470"/>
                      </a:lnTo>
                      <a:lnTo>
                        <a:pt x="1913" y="438"/>
                      </a:lnTo>
                      <a:lnTo>
                        <a:pt x="1975" y="407"/>
                      </a:lnTo>
                      <a:lnTo>
                        <a:pt x="2038" y="379"/>
                      </a:lnTo>
                      <a:lnTo>
                        <a:pt x="2103" y="351"/>
                      </a:lnTo>
                      <a:lnTo>
                        <a:pt x="2168" y="324"/>
                      </a:lnTo>
                      <a:lnTo>
                        <a:pt x="2233" y="301"/>
                      </a:lnTo>
                      <a:lnTo>
                        <a:pt x="2301" y="279"/>
                      </a:lnTo>
                      <a:lnTo>
                        <a:pt x="2369" y="257"/>
                      </a:lnTo>
                      <a:lnTo>
                        <a:pt x="2436" y="237"/>
                      </a:lnTo>
                      <a:lnTo>
                        <a:pt x="2507" y="220"/>
                      </a:lnTo>
                      <a:lnTo>
                        <a:pt x="2578" y="203"/>
                      </a:lnTo>
                      <a:lnTo>
                        <a:pt x="2649" y="189"/>
                      </a:lnTo>
                      <a:lnTo>
                        <a:pt x="2721" y="175"/>
                      </a:lnTo>
                      <a:lnTo>
                        <a:pt x="2795" y="164"/>
                      </a:lnTo>
                      <a:lnTo>
                        <a:pt x="2868" y="153"/>
                      </a:lnTo>
                      <a:lnTo>
                        <a:pt x="2868" y="153"/>
                      </a:lnTo>
                      <a:lnTo>
                        <a:pt x="2916" y="149"/>
                      </a:lnTo>
                      <a:lnTo>
                        <a:pt x="2969" y="146"/>
                      </a:lnTo>
                      <a:lnTo>
                        <a:pt x="3039" y="143"/>
                      </a:lnTo>
                      <a:lnTo>
                        <a:pt x="3125" y="143"/>
                      </a:lnTo>
                      <a:lnTo>
                        <a:pt x="3174" y="144"/>
                      </a:lnTo>
                      <a:lnTo>
                        <a:pt x="3225" y="146"/>
                      </a:lnTo>
                      <a:lnTo>
                        <a:pt x="3278" y="150"/>
                      </a:lnTo>
                      <a:lnTo>
                        <a:pt x="3336" y="155"/>
                      </a:lnTo>
                      <a:lnTo>
                        <a:pt x="3395" y="161"/>
                      </a:lnTo>
                      <a:lnTo>
                        <a:pt x="3457" y="168"/>
                      </a:lnTo>
                      <a:lnTo>
                        <a:pt x="3520" y="178"/>
                      </a:lnTo>
                      <a:lnTo>
                        <a:pt x="3586" y="189"/>
                      </a:lnTo>
                      <a:lnTo>
                        <a:pt x="3653" y="202"/>
                      </a:lnTo>
                      <a:lnTo>
                        <a:pt x="3720" y="218"/>
                      </a:lnTo>
                      <a:lnTo>
                        <a:pt x="3790" y="236"/>
                      </a:lnTo>
                      <a:lnTo>
                        <a:pt x="3861" y="257"/>
                      </a:lnTo>
                      <a:lnTo>
                        <a:pt x="3931" y="280"/>
                      </a:lnTo>
                      <a:lnTo>
                        <a:pt x="4002" y="307"/>
                      </a:lnTo>
                      <a:lnTo>
                        <a:pt x="4073" y="336"/>
                      </a:lnTo>
                      <a:lnTo>
                        <a:pt x="4145" y="369"/>
                      </a:lnTo>
                      <a:lnTo>
                        <a:pt x="4216" y="405"/>
                      </a:lnTo>
                      <a:lnTo>
                        <a:pt x="4285" y="444"/>
                      </a:lnTo>
                      <a:lnTo>
                        <a:pt x="4320" y="464"/>
                      </a:lnTo>
                      <a:lnTo>
                        <a:pt x="4354" y="487"/>
                      </a:lnTo>
                      <a:lnTo>
                        <a:pt x="4390" y="510"/>
                      </a:lnTo>
                      <a:lnTo>
                        <a:pt x="4424" y="534"/>
                      </a:lnTo>
                      <a:lnTo>
                        <a:pt x="4458" y="559"/>
                      </a:lnTo>
                      <a:lnTo>
                        <a:pt x="4490" y="585"/>
                      </a:lnTo>
                      <a:lnTo>
                        <a:pt x="4524" y="612"/>
                      </a:lnTo>
                      <a:lnTo>
                        <a:pt x="4556" y="640"/>
                      </a:lnTo>
                      <a:lnTo>
                        <a:pt x="4556" y="640"/>
                      </a:lnTo>
                      <a:lnTo>
                        <a:pt x="4586" y="666"/>
                      </a:lnTo>
                      <a:lnTo>
                        <a:pt x="4615" y="694"/>
                      </a:lnTo>
                      <a:lnTo>
                        <a:pt x="4645" y="722"/>
                      </a:lnTo>
                      <a:lnTo>
                        <a:pt x="4673" y="752"/>
                      </a:lnTo>
                      <a:lnTo>
                        <a:pt x="4699" y="781"/>
                      </a:lnTo>
                      <a:lnTo>
                        <a:pt x="4726" y="812"/>
                      </a:lnTo>
                      <a:lnTo>
                        <a:pt x="4752" y="843"/>
                      </a:lnTo>
                      <a:lnTo>
                        <a:pt x="4777" y="874"/>
                      </a:lnTo>
                      <a:lnTo>
                        <a:pt x="4803" y="907"/>
                      </a:lnTo>
                      <a:lnTo>
                        <a:pt x="4826" y="939"/>
                      </a:lnTo>
                      <a:lnTo>
                        <a:pt x="4850" y="973"/>
                      </a:lnTo>
                      <a:lnTo>
                        <a:pt x="4873" y="1007"/>
                      </a:lnTo>
                      <a:lnTo>
                        <a:pt x="4894" y="1042"/>
                      </a:lnTo>
                      <a:lnTo>
                        <a:pt x="4916" y="1078"/>
                      </a:lnTo>
                      <a:lnTo>
                        <a:pt x="4937" y="1115"/>
                      </a:lnTo>
                      <a:lnTo>
                        <a:pt x="4956" y="1152"/>
                      </a:lnTo>
                      <a:lnTo>
                        <a:pt x="4956" y="1152"/>
                      </a:lnTo>
                      <a:lnTo>
                        <a:pt x="5015" y="1188"/>
                      </a:lnTo>
                      <a:lnTo>
                        <a:pt x="5072" y="1227"/>
                      </a:lnTo>
                      <a:lnTo>
                        <a:pt x="5130" y="1268"/>
                      </a:lnTo>
                      <a:lnTo>
                        <a:pt x="5184" y="1309"/>
                      </a:lnTo>
                      <a:lnTo>
                        <a:pt x="5184" y="1309"/>
                      </a:lnTo>
                      <a:lnTo>
                        <a:pt x="5161" y="1250"/>
                      </a:lnTo>
                      <a:lnTo>
                        <a:pt x="5136" y="1194"/>
                      </a:lnTo>
                      <a:lnTo>
                        <a:pt x="5111" y="1140"/>
                      </a:lnTo>
                      <a:lnTo>
                        <a:pt x="5083" y="1085"/>
                      </a:lnTo>
                      <a:lnTo>
                        <a:pt x="5053" y="1032"/>
                      </a:lnTo>
                      <a:lnTo>
                        <a:pt x="5024" y="980"/>
                      </a:lnTo>
                      <a:lnTo>
                        <a:pt x="4993" y="930"/>
                      </a:lnTo>
                      <a:lnTo>
                        <a:pt x="4959" y="882"/>
                      </a:lnTo>
                      <a:lnTo>
                        <a:pt x="4925" y="833"/>
                      </a:lnTo>
                      <a:lnTo>
                        <a:pt x="4890" y="787"/>
                      </a:lnTo>
                      <a:lnTo>
                        <a:pt x="4853" y="742"/>
                      </a:lnTo>
                      <a:lnTo>
                        <a:pt x="4816" y="697"/>
                      </a:lnTo>
                      <a:lnTo>
                        <a:pt x="4776" y="655"/>
                      </a:lnTo>
                      <a:lnTo>
                        <a:pt x="4735" y="612"/>
                      </a:lnTo>
                      <a:lnTo>
                        <a:pt x="4693" y="572"/>
                      </a:lnTo>
                      <a:lnTo>
                        <a:pt x="4651" y="532"/>
                      </a:lnTo>
                      <a:lnTo>
                        <a:pt x="4651" y="532"/>
                      </a:lnTo>
                      <a:lnTo>
                        <a:pt x="4615" y="503"/>
                      </a:lnTo>
                      <a:lnTo>
                        <a:pt x="4580" y="475"/>
                      </a:lnTo>
                      <a:lnTo>
                        <a:pt x="4545" y="447"/>
                      </a:lnTo>
                      <a:lnTo>
                        <a:pt x="4509" y="420"/>
                      </a:lnTo>
                      <a:lnTo>
                        <a:pt x="4472" y="394"/>
                      </a:lnTo>
                      <a:lnTo>
                        <a:pt x="4435" y="370"/>
                      </a:lnTo>
                      <a:lnTo>
                        <a:pt x="4399" y="346"/>
                      </a:lnTo>
                      <a:lnTo>
                        <a:pt x="4362" y="323"/>
                      </a:lnTo>
                      <a:lnTo>
                        <a:pt x="4325" y="302"/>
                      </a:lnTo>
                      <a:lnTo>
                        <a:pt x="4288" y="282"/>
                      </a:lnTo>
                      <a:lnTo>
                        <a:pt x="4213" y="243"/>
                      </a:lnTo>
                      <a:lnTo>
                        <a:pt x="4138" y="208"/>
                      </a:lnTo>
                      <a:lnTo>
                        <a:pt x="4062" y="177"/>
                      </a:lnTo>
                      <a:lnTo>
                        <a:pt x="3987" y="149"/>
                      </a:lnTo>
                      <a:lnTo>
                        <a:pt x="3914" y="122"/>
                      </a:lnTo>
                      <a:lnTo>
                        <a:pt x="3840" y="100"/>
                      </a:lnTo>
                      <a:lnTo>
                        <a:pt x="3768" y="81"/>
                      </a:lnTo>
                      <a:lnTo>
                        <a:pt x="3695" y="63"/>
                      </a:lnTo>
                      <a:lnTo>
                        <a:pt x="3625" y="50"/>
                      </a:lnTo>
                      <a:lnTo>
                        <a:pt x="3555" y="37"/>
                      </a:lnTo>
                      <a:lnTo>
                        <a:pt x="3489" y="27"/>
                      </a:lnTo>
                      <a:lnTo>
                        <a:pt x="3424" y="19"/>
                      </a:lnTo>
                      <a:lnTo>
                        <a:pt x="3361" y="12"/>
                      </a:lnTo>
                      <a:lnTo>
                        <a:pt x="3302" y="7"/>
                      </a:lnTo>
                      <a:lnTo>
                        <a:pt x="3244" y="3"/>
                      </a:lnTo>
                      <a:lnTo>
                        <a:pt x="3190" y="1"/>
                      </a:lnTo>
                      <a:lnTo>
                        <a:pt x="3138" y="0"/>
                      </a:lnTo>
                      <a:lnTo>
                        <a:pt x="3045" y="0"/>
                      </a:lnTo>
                      <a:lnTo>
                        <a:pt x="2970" y="3"/>
                      </a:lnTo>
                      <a:lnTo>
                        <a:pt x="2910" y="7"/>
                      </a:lnTo>
                      <a:lnTo>
                        <a:pt x="2870" y="10"/>
                      </a:lnTo>
                      <a:lnTo>
                        <a:pt x="2851" y="13"/>
                      </a:lnTo>
                      <a:lnTo>
                        <a:pt x="2851" y="13"/>
                      </a:lnTo>
                      <a:lnTo>
                        <a:pt x="2759" y="25"/>
                      </a:lnTo>
                      <a:lnTo>
                        <a:pt x="2668" y="40"/>
                      </a:lnTo>
                      <a:lnTo>
                        <a:pt x="2579" y="58"/>
                      </a:lnTo>
                      <a:lnTo>
                        <a:pt x="2491" y="77"/>
                      </a:lnTo>
                      <a:lnTo>
                        <a:pt x="2405" y="99"/>
                      </a:lnTo>
                      <a:lnTo>
                        <a:pt x="2320" y="122"/>
                      </a:lnTo>
                      <a:lnTo>
                        <a:pt x="2236" y="149"/>
                      </a:lnTo>
                      <a:lnTo>
                        <a:pt x="2155" y="177"/>
                      </a:lnTo>
                      <a:lnTo>
                        <a:pt x="2074" y="208"/>
                      </a:lnTo>
                      <a:lnTo>
                        <a:pt x="1994" y="242"/>
                      </a:lnTo>
                      <a:lnTo>
                        <a:pt x="1916" y="277"/>
                      </a:lnTo>
                      <a:lnTo>
                        <a:pt x="1839" y="314"/>
                      </a:lnTo>
                      <a:lnTo>
                        <a:pt x="1764" y="355"/>
                      </a:lnTo>
                      <a:lnTo>
                        <a:pt x="1690" y="397"/>
                      </a:lnTo>
                      <a:lnTo>
                        <a:pt x="1617" y="442"/>
                      </a:lnTo>
                      <a:lnTo>
                        <a:pt x="1546" y="488"/>
                      </a:lnTo>
                      <a:lnTo>
                        <a:pt x="1477" y="538"/>
                      </a:lnTo>
                      <a:lnTo>
                        <a:pt x="1409" y="590"/>
                      </a:lnTo>
                      <a:lnTo>
                        <a:pt x="1341" y="643"/>
                      </a:lnTo>
                      <a:lnTo>
                        <a:pt x="1276" y="699"/>
                      </a:lnTo>
                      <a:lnTo>
                        <a:pt x="1213" y="756"/>
                      </a:lnTo>
                      <a:lnTo>
                        <a:pt x="1149" y="817"/>
                      </a:lnTo>
                      <a:lnTo>
                        <a:pt x="1089" y="880"/>
                      </a:lnTo>
                      <a:lnTo>
                        <a:pt x="1030" y="945"/>
                      </a:lnTo>
                      <a:lnTo>
                        <a:pt x="971" y="1011"/>
                      </a:lnTo>
                      <a:lnTo>
                        <a:pt x="915" y="1082"/>
                      </a:lnTo>
                      <a:lnTo>
                        <a:pt x="859" y="1153"/>
                      </a:lnTo>
                      <a:lnTo>
                        <a:pt x="806" y="1227"/>
                      </a:lnTo>
                      <a:lnTo>
                        <a:pt x="753" y="1303"/>
                      </a:lnTo>
                      <a:lnTo>
                        <a:pt x="703" y="1382"/>
                      </a:lnTo>
                      <a:lnTo>
                        <a:pt x="653" y="1463"/>
                      </a:lnTo>
                      <a:lnTo>
                        <a:pt x="605" y="1545"/>
                      </a:lnTo>
                      <a:lnTo>
                        <a:pt x="605" y="1545"/>
                      </a:lnTo>
                      <a:lnTo>
                        <a:pt x="577" y="1597"/>
                      </a:lnTo>
                      <a:lnTo>
                        <a:pt x="549" y="1648"/>
                      </a:lnTo>
                      <a:lnTo>
                        <a:pt x="498" y="1752"/>
                      </a:lnTo>
                      <a:lnTo>
                        <a:pt x="448" y="1856"/>
                      </a:lnTo>
                      <a:lnTo>
                        <a:pt x="402" y="1962"/>
                      </a:lnTo>
                      <a:lnTo>
                        <a:pt x="359" y="2067"/>
                      </a:lnTo>
                      <a:lnTo>
                        <a:pt x="319" y="2173"/>
                      </a:lnTo>
                      <a:lnTo>
                        <a:pt x="283" y="2278"/>
                      </a:lnTo>
                      <a:lnTo>
                        <a:pt x="249" y="2383"/>
                      </a:lnTo>
                      <a:lnTo>
                        <a:pt x="218" y="2487"/>
                      </a:lnTo>
                      <a:lnTo>
                        <a:pt x="188" y="2591"/>
                      </a:lnTo>
                      <a:lnTo>
                        <a:pt x="162" y="2691"/>
                      </a:lnTo>
                      <a:lnTo>
                        <a:pt x="138" y="2791"/>
                      </a:lnTo>
                      <a:lnTo>
                        <a:pt x="116" y="2888"/>
                      </a:lnTo>
                      <a:lnTo>
                        <a:pt x="97" y="2984"/>
                      </a:lnTo>
                      <a:lnTo>
                        <a:pt x="79" y="3077"/>
                      </a:lnTo>
                      <a:lnTo>
                        <a:pt x="64" y="3168"/>
                      </a:lnTo>
                      <a:lnTo>
                        <a:pt x="51" y="3255"/>
                      </a:lnTo>
                      <a:lnTo>
                        <a:pt x="39" y="3340"/>
                      </a:lnTo>
                      <a:lnTo>
                        <a:pt x="29" y="3421"/>
                      </a:lnTo>
                      <a:lnTo>
                        <a:pt x="22" y="3497"/>
                      </a:lnTo>
                      <a:lnTo>
                        <a:pt x="14" y="3571"/>
                      </a:lnTo>
                      <a:lnTo>
                        <a:pt x="8" y="3639"/>
                      </a:lnTo>
                      <a:lnTo>
                        <a:pt x="4" y="3702"/>
                      </a:lnTo>
                      <a:lnTo>
                        <a:pt x="1" y="3763"/>
                      </a:lnTo>
                      <a:lnTo>
                        <a:pt x="0" y="3816"/>
                      </a:lnTo>
                      <a:lnTo>
                        <a:pt x="0" y="3864"/>
                      </a:lnTo>
                      <a:lnTo>
                        <a:pt x="0" y="3907"/>
                      </a:lnTo>
                      <a:lnTo>
                        <a:pt x="0" y="3944"/>
                      </a:lnTo>
                      <a:lnTo>
                        <a:pt x="1" y="3975"/>
                      </a:lnTo>
                      <a:lnTo>
                        <a:pt x="4" y="4000"/>
                      </a:lnTo>
                      <a:lnTo>
                        <a:pt x="5" y="4018"/>
                      </a:lnTo>
                      <a:lnTo>
                        <a:pt x="8" y="4028"/>
                      </a:lnTo>
                      <a:lnTo>
                        <a:pt x="8" y="4028"/>
                      </a:lnTo>
                      <a:lnTo>
                        <a:pt x="17" y="4044"/>
                      </a:lnTo>
                      <a:lnTo>
                        <a:pt x="28" y="4061"/>
                      </a:lnTo>
                      <a:lnTo>
                        <a:pt x="39" y="4077"/>
                      </a:lnTo>
                      <a:lnTo>
                        <a:pt x="51" y="4091"/>
                      </a:lnTo>
                      <a:lnTo>
                        <a:pt x="64" y="4105"/>
                      </a:lnTo>
                      <a:lnTo>
                        <a:pt x="79" y="4118"/>
                      </a:lnTo>
                      <a:lnTo>
                        <a:pt x="106" y="4142"/>
                      </a:lnTo>
                      <a:lnTo>
                        <a:pt x="132" y="4161"/>
                      </a:lnTo>
                      <a:lnTo>
                        <a:pt x="154" y="4176"/>
                      </a:lnTo>
                      <a:lnTo>
                        <a:pt x="181" y="4192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7" y="4190"/>
                      </a:lnTo>
                      <a:lnTo>
                        <a:pt x="191" y="4187"/>
                      </a:lnTo>
                      <a:lnTo>
                        <a:pt x="197" y="4181"/>
                      </a:lnTo>
                      <a:lnTo>
                        <a:pt x="202" y="4174"/>
                      </a:lnTo>
                      <a:lnTo>
                        <a:pt x="207" y="4164"/>
                      </a:lnTo>
                      <a:lnTo>
                        <a:pt x="212" y="4153"/>
                      </a:lnTo>
                      <a:lnTo>
                        <a:pt x="222" y="4127"/>
                      </a:lnTo>
                      <a:lnTo>
                        <a:pt x="222" y="4127"/>
                      </a:lnTo>
                      <a:lnTo>
                        <a:pt x="228" y="4099"/>
                      </a:lnTo>
                      <a:lnTo>
                        <a:pt x="230" y="4086"/>
                      </a:lnTo>
                      <a:lnTo>
                        <a:pt x="231" y="4075"/>
                      </a:lnTo>
                      <a:lnTo>
                        <a:pt x="230" y="4066"/>
                      </a:lnTo>
                      <a:lnTo>
                        <a:pt x="228" y="4059"/>
                      </a:lnTo>
                      <a:lnTo>
                        <a:pt x="227" y="4053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close/>
                    </a:path>
                  </a:pathLst>
                </a:custGeom>
                <a:gradFill flip="none" rotWithShape="1">
                  <a:gsLst>
                    <a:gs pos="38000">
                      <a:srgbClr val="414141"/>
                    </a:gs>
                    <a:gs pos="0">
                      <a:srgbClr val="A6A6A6"/>
                    </a:gs>
                    <a:gs pos="100000">
                      <a:srgbClr val="A6A6A6"/>
                    </a:gs>
                    <a:gs pos="74000">
                      <a:srgbClr val="DFDFDF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>
                  <a:noFill/>
                  <a:round/>
                  <a:headEnd/>
                  <a:tailEnd/>
                </a:ln>
                <a:effectLst>
                  <a:innerShdw blurRad="66675" dist="50800" dir="13500000">
                    <a:srgbClr val="000000">
                      <a:alpha val="50000"/>
                    </a:srgb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62" name="Line 28">
                  <a:extLst>
                    <a:ext uri="{FF2B5EF4-FFF2-40B4-BE49-F238E27FC236}">
                      <a16:creationId xmlns:a16="http://schemas.microsoft.com/office/drawing/2014/main" xmlns="" id="{688C1EAA-E2BA-4949-B9C6-5257771525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Line 29">
                  <a:extLst>
                    <a:ext uri="{FF2B5EF4-FFF2-40B4-BE49-F238E27FC236}">
                      <a16:creationId xmlns:a16="http://schemas.microsoft.com/office/drawing/2014/main" xmlns="" id="{2174EDD6-C364-D54B-B033-FC9F895E5E7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42" name="Group 84">
                <a:extLst>
                  <a:ext uri="{FF2B5EF4-FFF2-40B4-BE49-F238E27FC236}">
                    <a16:creationId xmlns:a16="http://schemas.microsoft.com/office/drawing/2014/main" xmlns="" id="{DF409AA7-8B1C-A540-8757-523D0D2AA594}"/>
                  </a:ext>
                </a:extLst>
              </p:cNvPr>
              <p:cNvGrpSpPr/>
              <p:nvPr/>
            </p:nvGrpSpPr>
            <p:grpSpPr>
              <a:xfrm flipH="1">
                <a:off x="6358035" y="1509364"/>
                <a:ext cx="941843" cy="1552796"/>
                <a:chOff x="8843962" y="2613025"/>
                <a:chExt cx="2043113" cy="3368437"/>
              </a:xfrm>
            </p:grpSpPr>
            <p:grpSp>
              <p:nvGrpSpPr>
                <p:cNvPr id="143" name="Group 70">
                  <a:extLst>
                    <a:ext uri="{FF2B5EF4-FFF2-40B4-BE49-F238E27FC236}">
                      <a16:creationId xmlns:a16="http://schemas.microsoft.com/office/drawing/2014/main" xmlns="" id="{75647093-356B-2643-9355-AF7A89D1A1F7}"/>
                    </a:ext>
                  </a:extLst>
                </p:cNvPr>
                <p:cNvGrpSpPr/>
                <p:nvPr/>
              </p:nvGrpSpPr>
              <p:grpSpPr>
                <a:xfrm>
                  <a:off x="8843962" y="2613025"/>
                  <a:ext cx="2043113" cy="3368437"/>
                  <a:chOff x="8843962" y="2613025"/>
                  <a:chExt cx="2043113" cy="3368437"/>
                </a:xfrm>
              </p:grpSpPr>
              <p:sp>
                <p:nvSpPr>
                  <p:cNvPr id="148" name="Freeform 27">
                    <a:extLst>
                      <a:ext uri="{FF2B5EF4-FFF2-40B4-BE49-F238E27FC236}">
                        <a16:creationId xmlns:a16="http://schemas.microsoft.com/office/drawing/2014/main" xmlns="" id="{F0EA3497-1E43-AA4E-86C6-659B0AD5B3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843962" y="2613025"/>
                    <a:ext cx="2043113" cy="2081213"/>
                  </a:xfrm>
                  <a:custGeom>
                    <a:avLst/>
                    <a:gdLst/>
                    <a:ahLst/>
                    <a:cxnLst>
                      <a:cxn ang="0">
                        <a:pos x="0" y="22"/>
                      </a:cxn>
                      <a:cxn ang="0">
                        <a:pos x="12" y="12"/>
                      </a:cxn>
                      <a:cxn ang="0">
                        <a:pos x="40" y="3"/>
                      </a:cxn>
                      <a:cxn ang="0">
                        <a:pos x="95" y="0"/>
                      </a:cxn>
                      <a:cxn ang="0">
                        <a:pos x="183" y="8"/>
                      </a:cxn>
                      <a:cxn ang="0">
                        <a:pos x="248" y="18"/>
                      </a:cxn>
                      <a:cxn ang="0">
                        <a:pos x="443" y="70"/>
                      </a:cxn>
                      <a:cxn ang="0">
                        <a:pos x="925" y="214"/>
                      </a:cxn>
                      <a:cxn ang="0">
                        <a:pos x="1357" y="338"/>
                      </a:cxn>
                      <a:cxn ang="0">
                        <a:pos x="1722" y="428"/>
                      </a:cxn>
                      <a:cxn ang="0">
                        <a:pos x="1932" y="468"/>
                      </a:cxn>
                      <a:cxn ang="0">
                        <a:pos x="2123" y="494"/>
                      </a:cxn>
                      <a:cxn ang="0">
                        <a:pos x="2240" y="502"/>
                      </a:cxn>
                      <a:cxn ang="0">
                        <a:pos x="2409" y="503"/>
                      </a:cxn>
                      <a:cxn ang="0">
                        <a:pos x="2571" y="496"/>
                      </a:cxn>
                      <a:cxn ang="0">
                        <a:pos x="2823" y="468"/>
                      </a:cxn>
                      <a:cxn ang="0">
                        <a:pos x="3087" y="419"/>
                      </a:cxn>
                      <a:cxn ang="0">
                        <a:pos x="3292" y="367"/>
                      </a:cxn>
                      <a:cxn ang="0">
                        <a:pos x="3454" y="322"/>
                      </a:cxn>
                      <a:cxn ang="0">
                        <a:pos x="3624" y="285"/>
                      </a:cxn>
                      <a:cxn ang="0">
                        <a:pos x="3770" y="267"/>
                      </a:cxn>
                      <a:cxn ang="0">
                        <a:pos x="3836" y="272"/>
                      </a:cxn>
                      <a:cxn ang="0">
                        <a:pos x="3861" y="282"/>
                      </a:cxn>
                      <a:cxn ang="0">
                        <a:pos x="3841" y="325"/>
                      </a:cxn>
                      <a:cxn ang="0">
                        <a:pos x="3789" y="485"/>
                      </a:cxn>
                      <a:cxn ang="0">
                        <a:pos x="3729" y="764"/>
                      </a:cxn>
                      <a:cxn ang="0">
                        <a:pos x="3680" y="1087"/>
                      </a:cxn>
                      <a:cxn ang="0">
                        <a:pos x="3656" y="1320"/>
                      </a:cxn>
                      <a:cxn ang="0">
                        <a:pos x="3640" y="1584"/>
                      </a:cxn>
                      <a:cxn ang="0">
                        <a:pos x="3633" y="1877"/>
                      </a:cxn>
                      <a:cxn ang="0">
                        <a:pos x="3633" y="2089"/>
                      </a:cxn>
                      <a:cxn ang="0">
                        <a:pos x="3649" y="3807"/>
                      </a:cxn>
                      <a:cxn ang="0">
                        <a:pos x="2377" y="3931"/>
                      </a:cxn>
                      <a:cxn ang="0">
                        <a:pos x="2378" y="3763"/>
                      </a:cxn>
                      <a:cxn ang="0">
                        <a:pos x="2368" y="3502"/>
                      </a:cxn>
                      <a:cxn ang="0">
                        <a:pos x="2346" y="3251"/>
                      </a:cxn>
                      <a:cxn ang="0">
                        <a:pos x="2307" y="2968"/>
                      </a:cxn>
                      <a:cxn ang="0">
                        <a:pos x="2247" y="2670"/>
                      </a:cxn>
                      <a:cxn ang="0">
                        <a:pos x="2176" y="2418"/>
                      </a:cxn>
                      <a:cxn ang="0">
                        <a:pos x="2125" y="2269"/>
                      </a:cxn>
                      <a:cxn ang="0">
                        <a:pos x="2064" y="2126"/>
                      </a:cxn>
                      <a:cxn ang="0">
                        <a:pos x="1995" y="1988"/>
                      </a:cxn>
                      <a:cxn ang="0">
                        <a:pos x="1917" y="1857"/>
                      </a:cxn>
                      <a:cxn ang="0">
                        <a:pos x="1828" y="1736"/>
                      </a:cxn>
                      <a:cxn ang="0">
                        <a:pos x="1730" y="1627"/>
                      </a:cxn>
                      <a:cxn ang="0">
                        <a:pos x="1619" y="1529"/>
                      </a:cxn>
                      <a:cxn ang="0">
                        <a:pos x="1516" y="1454"/>
                      </a:cxn>
                      <a:cxn ang="0">
                        <a:pos x="1290" y="1308"/>
                      </a:cxn>
                      <a:cxn ang="0">
                        <a:pos x="931" y="1093"/>
                      </a:cxn>
                      <a:cxn ang="0">
                        <a:pos x="698" y="941"/>
                      </a:cxn>
                      <a:cxn ang="0">
                        <a:pos x="534" y="819"/>
                      </a:cxn>
                      <a:cxn ang="0">
                        <a:pos x="387" y="687"/>
                      </a:cxn>
                      <a:cxn ang="0">
                        <a:pos x="263" y="541"/>
                      </a:cxn>
                      <a:cxn ang="0">
                        <a:pos x="210" y="462"/>
                      </a:cxn>
                      <a:cxn ang="0">
                        <a:pos x="165" y="379"/>
                      </a:cxn>
                      <a:cxn ang="0">
                        <a:pos x="129" y="291"/>
                      </a:cxn>
                      <a:cxn ang="0">
                        <a:pos x="102" y="199"/>
                      </a:cxn>
                      <a:cxn ang="0">
                        <a:pos x="89" y="134"/>
                      </a:cxn>
                      <a:cxn ang="0">
                        <a:pos x="28" y="64"/>
                      </a:cxn>
                      <a:cxn ang="0">
                        <a:pos x="0" y="25"/>
                      </a:cxn>
                    </a:cxnLst>
                    <a:rect l="0" t="0" r="r" b="b"/>
                    <a:pathLst>
                      <a:path w="3861" h="3931">
                        <a:moveTo>
                          <a:pt x="0" y="25"/>
                        </a:moveTo>
                        <a:lnTo>
                          <a:pt x="0" y="25"/>
                        </a:lnTo>
                        <a:lnTo>
                          <a:pt x="0" y="22"/>
                        </a:lnTo>
                        <a:lnTo>
                          <a:pt x="5" y="18"/>
                        </a:lnTo>
                        <a:lnTo>
                          <a:pt x="8" y="15"/>
                        </a:lnTo>
                        <a:lnTo>
                          <a:pt x="12" y="12"/>
                        </a:lnTo>
                        <a:lnTo>
                          <a:pt x="20" y="9"/>
                        </a:lnTo>
                        <a:lnTo>
                          <a:pt x="28" y="6"/>
                        </a:lnTo>
                        <a:lnTo>
                          <a:pt x="40" y="3"/>
                        </a:lnTo>
                        <a:lnTo>
                          <a:pt x="55" y="2"/>
                        </a:lnTo>
                        <a:lnTo>
                          <a:pt x="74" y="0"/>
                        </a:lnTo>
                        <a:lnTo>
                          <a:pt x="95" y="0"/>
                        </a:lnTo>
                        <a:lnTo>
                          <a:pt x="120" y="2"/>
                        </a:lnTo>
                        <a:lnTo>
                          <a:pt x="149" y="3"/>
                        </a:lnTo>
                        <a:lnTo>
                          <a:pt x="183" y="8"/>
                        </a:lnTo>
                        <a:lnTo>
                          <a:pt x="221" y="14"/>
                        </a:lnTo>
                        <a:lnTo>
                          <a:pt x="221" y="14"/>
                        </a:lnTo>
                        <a:lnTo>
                          <a:pt x="248" y="18"/>
                        </a:lnTo>
                        <a:lnTo>
                          <a:pt x="277" y="25"/>
                        </a:lnTo>
                        <a:lnTo>
                          <a:pt x="353" y="43"/>
                        </a:lnTo>
                        <a:lnTo>
                          <a:pt x="443" y="70"/>
                        </a:lnTo>
                        <a:lnTo>
                          <a:pt x="547" y="101"/>
                        </a:lnTo>
                        <a:lnTo>
                          <a:pt x="791" y="174"/>
                        </a:lnTo>
                        <a:lnTo>
                          <a:pt x="925" y="214"/>
                        </a:lnTo>
                        <a:lnTo>
                          <a:pt x="1065" y="255"/>
                        </a:lnTo>
                        <a:lnTo>
                          <a:pt x="1209" y="298"/>
                        </a:lnTo>
                        <a:lnTo>
                          <a:pt x="1357" y="338"/>
                        </a:lnTo>
                        <a:lnTo>
                          <a:pt x="1506" y="376"/>
                        </a:lnTo>
                        <a:lnTo>
                          <a:pt x="1651" y="412"/>
                        </a:lnTo>
                        <a:lnTo>
                          <a:pt x="1722" y="428"/>
                        </a:lnTo>
                        <a:lnTo>
                          <a:pt x="1793" y="443"/>
                        </a:lnTo>
                        <a:lnTo>
                          <a:pt x="1864" y="456"/>
                        </a:lnTo>
                        <a:lnTo>
                          <a:pt x="1932" y="468"/>
                        </a:lnTo>
                        <a:lnTo>
                          <a:pt x="1996" y="478"/>
                        </a:lnTo>
                        <a:lnTo>
                          <a:pt x="2061" y="487"/>
                        </a:lnTo>
                        <a:lnTo>
                          <a:pt x="2123" y="494"/>
                        </a:lnTo>
                        <a:lnTo>
                          <a:pt x="2182" y="499"/>
                        </a:lnTo>
                        <a:lnTo>
                          <a:pt x="2182" y="499"/>
                        </a:lnTo>
                        <a:lnTo>
                          <a:pt x="2240" y="502"/>
                        </a:lnTo>
                        <a:lnTo>
                          <a:pt x="2296" y="503"/>
                        </a:lnTo>
                        <a:lnTo>
                          <a:pt x="2353" y="504"/>
                        </a:lnTo>
                        <a:lnTo>
                          <a:pt x="2409" y="503"/>
                        </a:lnTo>
                        <a:lnTo>
                          <a:pt x="2464" y="502"/>
                        </a:lnTo>
                        <a:lnTo>
                          <a:pt x="2518" y="500"/>
                        </a:lnTo>
                        <a:lnTo>
                          <a:pt x="2571" y="496"/>
                        </a:lnTo>
                        <a:lnTo>
                          <a:pt x="2624" y="493"/>
                        </a:lnTo>
                        <a:lnTo>
                          <a:pt x="2726" y="481"/>
                        </a:lnTo>
                        <a:lnTo>
                          <a:pt x="2823" y="468"/>
                        </a:lnTo>
                        <a:lnTo>
                          <a:pt x="2918" y="453"/>
                        </a:lnTo>
                        <a:lnTo>
                          <a:pt x="3005" y="437"/>
                        </a:lnTo>
                        <a:lnTo>
                          <a:pt x="3087" y="419"/>
                        </a:lnTo>
                        <a:lnTo>
                          <a:pt x="3163" y="401"/>
                        </a:lnTo>
                        <a:lnTo>
                          <a:pt x="3232" y="384"/>
                        </a:lnTo>
                        <a:lnTo>
                          <a:pt x="3292" y="367"/>
                        </a:lnTo>
                        <a:lnTo>
                          <a:pt x="3391" y="339"/>
                        </a:lnTo>
                        <a:lnTo>
                          <a:pt x="3454" y="322"/>
                        </a:lnTo>
                        <a:lnTo>
                          <a:pt x="3454" y="322"/>
                        </a:lnTo>
                        <a:lnTo>
                          <a:pt x="3505" y="308"/>
                        </a:lnTo>
                        <a:lnTo>
                          <a:pt x="3562" y="297"/>
                        </a:lnTo>
                        <a:lnTo>
                          <a:pt x="3624" y="285"/>
                        </a:lnTo>
                        <a:lnTo>
                          <a:pt x="3686" y="274"/>
                        </a:lnTo>
                        <a:lnTo>
                          <a:pt x="3743" y="269"/>
                        </a:lnTo>
                        <a:lnTo>
                          <a:pt x="3770" y="267"/>
                        </a:lnTo>
                        <a:lnTo>
                          <a:pt x="3795" y="267"/>
                        </a:lnTo>
                        <a:lnTo>
                          <a:pt x="3817" y="269"/>
                        </a:lnTo>
                        <a:lnTo>
                          <a:pt x="3836" y="272"/>
                        </a:lnTo>
                        <a:lnTo>
                          <a:pt x="3851" y="276"/>
                        </a:lnTo>
                        <a:lnTo>
                          <a:pt x="3857" y="279"/>
                        </a:lnTo>
                        <a:lnTo>
                          <a:pt x="3861" y="282"/>
                        </a:lnTo>
                        <a:lnTo>
                          <a:pt x="3861" y="282"/>
                        </a:lnTo>
                        <a:lnTo>
                          <a:pt x="3854" y="297"/>
                        </a:lnTo>
                        <a:lnTo>
                          <a:pt x="3841" y="325"/>
                        </a:lnTo>
                        <a:lnTo>
                          <a:pt x="3826" y="364"/>
                        </a:lnTo>
                        <a:lnTo>
                          <a:pt x="3808" y="418"/>
                        </a:lnTo>
                        <a:lnTo>
                          <a:pt x="3789" y="485"/>
                        </a:lnTo>
                        <a:lnTo>
                          <a:pt x="3770" y="565"/>
                        </a:lnTo>
                        <a:lnTo>
                          <a:pt x="3749" y="658"/>
                        </a:lnTo>
                        <a:lnTo>
                          <a:pt x="3729" y="764"/>
                        </a:lnTo>
                        <a:lnTo>
                          <a:pt x="3708" y="882"/>
                        </a:lnTo>
                        <a:lnTo>
                          <a:pt x="3689" y="1015"/>
                        </a:lnTo>
                        <a:lnTo>
                          <a:pt x="3680" y="1087"/>
                        </a:lnTo>
                        <a:lnTo>
                          <a:pt x="3671" y="1161"/>
                        </a:lnTo>
                        <a:lnTo>
                          <a:pt x="3664" y="1239"/>
                        </a:lnTo>
                        <a:lnTo>
                          <a:pt x="3656" y="1320"/>
                        </a:lnTo>
                        <a:lnTo>
                          <a:pt x="3650" y="1404"/>
                        </a:lnTo>
                        <a:lnTo>
                          <a:pt x="3645" y="1492"/>
                        </a:lnTo>
                        <a:lnTo>
                          <a:pt x="3640" y="1584"/>
                        </a:lnTo>
                        <a:lnTo>
                          <a:pt x="3637" y="1678"/>
                        </a:lnTo>
                        <a:lnTo>
                          <a:pt x="3634" y="1777"/>
                        </a:lnTo>
                        <a:lnTo>
                          <a:pt x="3633" y="1877"/>
                        </a:lnTo>
                        <a:lnTo>
                          <a:pt x="3631" y="1982"/>
                        </a:lnTo>
                        <a:lnTo>
                          <a:pt x="3633" y="2089"/>
                        </a:lnTo>
                        <a:lnTo>
                          <a:pt x="3633" y="2089"/>
                        </a:lnTo>
                        <a:lnTo>
                          <a:pt x="3642" y="2869"/>
                        </a:lnTo>
                        <a:lnTo>
                          <a:pt x="3646" y="3447"/>
                        </a:lnTo>
                        <a:lnTo>
                          <a:pt x="3649" y="3807"/>
                        </a:lnTo>
                        <a:lnTo>
                          <a:pt x="3649" y="3931"/>
                        </a:lnTo>
                        <a:lnTo>
                          <a:pt x="2377" y="3931"/>
                        </a:lnTo>
                        <a:lnTo>
                          <a:pt x="2377" y="3931"/>
                        </a:lnTo>
                        <a:lnTo>
                          <a:pt x="2378" y="3910"/>
                        </a:lnTo>
                        <a:lnTo>
                          <a:pt x="2378" y="3853"/>
                        </a:lnTo>
                        <a:lnTo>
                          <a:pt x="2378" y="3763"/>
                        </a:lnTo>
                        <a:lnTo>
                          <a:pt x="2375" y="3645"/>
                        </a:lnTo>
                        <a:lnTo>
                          <a:pt x="2371" y="3576"/>
                        </a:lnTo>
                        <a:lnTo>
                          <a:pt x="2368" y="3502"/>
                        </a:lnTo>
                        <a:lnTo>
                          <a:pt x="2362" y="3422"/>
                        </a:lnTo>
                        <a:lnTo>
                          <a:pt x="2355" y="3338"/>
                        </a:lnTo>
                        <a:lnTo>
                          <a:pt x="2346" y="3251"/>
                        </a:lnTo>
                        <a:lnTo>
                          <a:pt x="2335" y="3160"/>
                        </a:lnTo>
                        <a:lnTo>
                          <a:pt x="2322" y="3066"/>
                        </a:lnTo>
                        <a:lnTo>
                          <a:pt x="2307" y="2968"/>
                        </a:lnTo>
                        <a:lnTo>
                          <a:pt x="2290" y="2869"/>
                        </a:lnTo>
                        <a:lnTo>
                          <a:pt x="2269" y="2771"/>
                        </a:lnTo>
                        <a:lnTo>
                          <a:pt x="2247" y="2670"/>
                        </a:lnTo>
                        <a:lnTo>
                          <a:pt x="2220" y="2569"/>
                        </a:lnTo>
                        <a:lnTo>
                          <a:pt x="2192" y="2468"/>
                        </a:lnTo>
                        <a:lnTo>
                          <a:pt x="2176" y="2418"/>
                        </a:lnTo>
                        <a:lnTo>
                          <a:pt x="2160" y="2368"/>
                        </a:lnTo>
                        <a:lnTo>
                          <a:pt x="2142" y="2319"/>
                        </a:lnTo>
                        <a:lnTo>
                          <a:pt x="2125" y="2269"/>
                        </a:lnTo>
                        <a:lnTo>
                          <a:pt x="2106" y="2221"/>
                        </a:lnTo>
                        <a:lnTo>
                          <a:pt x="2085" y="2174"/>
                        </a:lnTo>
                        <a:lnTo>
                          <a:pt x="2064" y="2126"/>
                        </a:lnTo>
                        <a:lnTo>
                          <a:pt x="2042" y="2079"/>
                        </a:lnTo>
                        <a:lnTo>
                          <a:pt x="2019" y="2033"/>
                        </a:lnTo>
                        <a:lnTo>
                          <a:pt x="1995" y="1988"/>
                        </a:lnTo>
                        <a:lnTo>
                          <a:pt x="1970" y="1944"/>
                        </a:lnTo>
                        <a:lnTo>
                          <a:pt x="1943" y="1899"/>
                        </a:lnTo>
                        <a:lnTo>
                          <a:pt x="1917" y="1857"/>
                        </a:lnTo>
                        <a:lnTo>
                          <a:pt x="1889" y="1815"/>
                        </a:lnTo>
                        <a:lnTo>
                          <a:pt x="1859" y="1775"/>
                        </a:lnTo>
                        <a:lnTo>
                          <a:pt x="1828" y="1736"/>
                        </a:lnTo>
                        <a:lnTo>
                          <a:pt x="1796" y="1697"/>
                        </a:lnTo>
                        <a:lnTo>
                          <a:pt x="1763" y="1662"/>
                        </a:lnTo>
                        <a:lnTo>
                          <a:pt x="1730" y="1627"/>
                        </a:lnTo>
                        <a:lnTo>
                          <a:pt x="1694" y="1593"/>
                        </a:lnTo>
                        <a:lnTo>
                          <a:pt x="1657" y="1560"/>
                        </a:lnTo>
                        <a:lnTo>
                          <a:pt x="1619" y="1529"/>
                        </a:lnTo>
                        <a:lnTo>
                          <a:pt x="1619" y="1529"/>
                        </a:lnTo>
                        <a:lnTo>
                          <a:pt x="1569" y="1491"/>
                        </a:lnTo>
                        <a:lnTo>
                          <a:pt x="1516" y="1454"/>
                        </a:lnTo>
                        <a:lnTo>
                          <a:pt x="1461" y="1417"/>
                        </a:lnTo>
                        <a:lnTo>
                          <a:pt x="1405" y="1380"/>
                        </a:lnTo>
                        <a:lnTo>
                          <a:pt x="1290" y="1308"/>
                        </a:lnTo>
                        <a:lnTo>
                          <a:pt x="1172" y="1237"/>
                        </a:lnTo>
                        <a:lnTo>
                          <a:pt x="1051" y="1165"/>
                        </a:lnTo>
                        <a:lnTo>
                          <a:pt x="931" y="1093"/>
                        </a:lnTo>
                        <a:lnTo>
                          <a:pt x="813" y="1019"/>
                        </a:lnTo>
                        <a:lnTo>
                          <a:pt x="754" y="981"/>
                        </a:lnTo>
                        <a:lnTo>
                          <a:pt x="698" y="941"/>
                        </a:lnTo>
                        <a:lnTo>
                          <a:pt x="642" y="901"/>
                        </a:lnTo>
                        <a:lnTo>
                          <a:pt x="587" y="861"/>
                        </a:lnTo>
                        <a:lnTo>
                          <a:pt x="534" y="819"/>
                        </a:lnTo>
                        <a:lnTo>
                          <a:pt x="482" y="776"/>
                        </a:lnTo>
                        <a:lnTo>
                          <a:pt x="434" y="732"/>
                        </a:lnTo>
                        <a:lnTo>
                          <a:pt x="387" y="687"/>
                        </a:lnTo>
                        <a:lnTo>
                          <a:pt x="342" y="640"/>
                        </a:lnTo>
                        <a:lnTo>
                          <a:pt x="301" y="591"/>
                        </a:lnTo>
                        <a:lnTo>
                          <a:pt x="263" y="541"/>
                        </a:lnTo>
                        <a:lnTo>
                          <a:pt x="244" y="515"/>
                        </a:lnTo>
                        <a:lnTo>
                          <a:pt x="226" y="488"/>
                        </a:lnTo>
                        <a:lnTo>
                          <a:pt x="210" y="462"/>
                        </a:lnTo>
                        <a:lnTo>
                          <a:pt x="195" y="435"/>
                        </a:lnTo>
                        <a:lnTo>
                          <a:pt x="179" y="407"/>
                        </a:lnTo>
                        <a:lnTo>
                          <a:pt x="165" y="379"/>
                        </a:lnTo>
                        <a:lnTo>
                          <a:pt x="152" y="350"/>
                        </a:lnTo>
                        <a:lnTo>
                          <a:pt x="140" y="322"/>
                        </a:lnTo>
                        <a:lnTo>
                          <a:pt x="129" y="291"/>
                        </a:lnTo>
                        <a:lnTo>
                          <a:pt x="118" y="261"/>
                        </a:lnTo>
                        <a:lnTo>
                          <a:pt x="109" y="230"/>
                        </a:lnTo>
                        <a:lnTo>
                          <a:pt x="102" y="199"/>
                        </a:lnTo>
                        <a:lnTo>
                          <a:pt x="95" y="167"/>
                        </a:lnTo>
                        <a:lnTo>
                          <a:pt x="89" y="134"/>
                        </a:lnTo>
                        <a:lnTo>
                          <a:pt x="89" y="134"/>
                        </a:lnTo>
                        <a:lnTo>
                          <a:pt x="73" y="117"/>
                        </a:lnTo>
                        <a:lnTo>
                          <a:pt x="56" y="99"/>
                        </a:lnTo>
                        <a:lnTo>
                          <a:pt x="28" y="64"/>
                        </a:lnTo>
                        <a:lnTo>
                          <a:pt x="8" y="36"/>
                        </a:lnTo>
                        <a:lnTo>
                          <a:pt x="0" y="25"/>
                        </a:lnTo>
                        <a:lnTo>
                          <a:pt x="0" y="25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100000">
                        <a:schemeClr val="accent5">
                          <a:lumMod val="75000"/>
                        </a:schemeClr>
                      </a:gs>
                      <a:gs pos="3000">
                        <a:schemeClr val="accent5">
                          <a:lumMod val="5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9" name="Rectangle 30">
                    <a:extLst>
                      <a:ext uri="{FF2B5EF4-FFF2-40B4-BE49-F238E27FC236}">
                        <a16:creationId xmlns:a16="http://schemas.microsoft.com/office/drawing/2014/main" xmlns="" id="{4BF2528A-C1B3-9A45-A27E-51A42FB9407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101263" y="4679950"/>
                    <a:ext cx="673101" cy="857548"/>
                  </a:xfrm>
                  <a:prstGeom prst="rect">
                    <a:avLst/>
                  </a:prstGeom>
                  <a:solidFill>
                    <a:schemeClr val="accent5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0" name="Freeform 31">
                    <a:extLst>
                      <a:ext uri="{FF2B5EF4-FFF2-40B4-BE49-F238E27FC236}">
                        <a16:creationId xmlns:a16="http://schemas.microsoft.com/office/drawing/2014/main" xmlns="" id="{0176FF7C-00A5-AE44-B970-386A26E3A6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101263" y="5530611"/>
                    <a:ext cx="673101" cy="450851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719"/>
                      </a:cxn>
                      <a:cxn ang="0">
                        <a:pos x="0" y="719"/>
                      </a:cxn>
                      <a:cxn ang="0">
                        <a:pos x="1" y="727"/>
                      </a:cxn>
                      <a:cxn ang="0">
                        <a:pos x="4" y="734"/>
                      </a:cxn>
                      <a:cxn ang="0">
                        <a:pos x="7" y="740"/>
                      </a:cxn>
                      <a:cxn ang="0">
                        <a:pos x="13" y="747"/>
                      </a:cxn>
                      <a:cxn ang="0">
                        <a:pos x="20" y="753"/>
                      </a:cxn>
                      <a:cxn ang="0">
                        <a:pos x="29" y="759"/>
                      </a:cxn>
                      <a:cxn ang="0">
                        <a:pos x="50" y="771"/>
                      </a:cxn>
                      <a:cxn ang="0">
                        <a:pos x="76" y="783"/>
                      </a:cxn>
                      <a:cxn ang="0">
                        <a:pos x="109" y="795"/>
                      </a:cxn>
                      <a:cxn ang="0">
                        <a:pos x="146" y="805"/>
                      </a:cxn>
                      <a:cxn ang="0">
                        <a:pos x="187" y="814"/>
                      </a:cxn>
                      <a:cxn ang="0">
                        <a:pos x="231" y="823"/>
                      </a:cxn>
                      <a:cxn ang="0">
                        <a:pos x="280" y="830"/>
                      </a:cxn>
                      <a:cxn ang="0">
                        <a:pos x="333" y="837"/>
                      </a:cxn>
                      <a:cxn ang="0">
                        <a:pos x="389" y="842"/>
                      </a:cxn>
                      <a:cxn ang="0">
                        <a:pos x="446" y="846"/>
                      </a:cxn>
                      <a:cxn ang="0">
                        <a:pos x="508" y="851"/>
                      </a:cxn>
                      <a:cxn ang="0">
                        <a:pos x="570" y="852"/>
                      </a:cxn>
                      <a:cxn ang="0">
                        <a:pos x="637" y="852"/>
                      </a:cxn>
                      <a:cxn ang="0">
                        <a:pos x="637" y="852"/>
                      </a:cxn>
                      <a:cxn ang="0">
                        <a:pos x="701" y="852"/>
                      </a:cxn>
                      <a:cxn ang="0">
                        <a:pos x="763" y="851"/>
                      </a:cxn>
                      <a:cxn ang="0">
                        <a:pos x="825" y="846"/>
                      </a:cxn>
                      <a:cxn ang="0">
                        <a:pos x="883" y="842"/>
                      </a:cxn>
                      <a:cxn ang="0">
                        <a:pos x="939" y="837"/>
                      </a:cxn>
                      <a:cxn ang="0">
                        <a:pos x="992" y="830"/>
                      </a:cxn>
                      <a:cxn ang="0">
                        <a:pos x="1041" y="823"/>
                      </a:cxn>
                      <a:cxn ang="0">
                        <a:pos x="1085" y="814"/>
                      </a:cxn>
                      <a:cxn ang="0">
                        <a:pos x="1126" y="805"/>
                      </a:cxn>
                      <a:cxn ang="0">
                        <a:pos x="1163" y="795"/>
                      </a:cxn>
                      <a:cxn ang="0">
                        <a:pos x="1195" y="783"/>
                      </a:cxn>
                      <a:cxn ang="0">
                        <a:pos x="1222" y="771"/>
                      </a:cxn>
                      <a:cxn ang="0">
                        <a:pos x="1243" y="759"/>
                      </a:cxn>
                      <a:cxn ang="0">
                        <a:pos x="1251" y="753"/>
                      </a:cxn>
                      <a:cxn ang="0">
                        <a:pos x="1259" y="747"/>
                      </a:cxn>
                      <a:cxn ang="0">
                        <a:pos x="1265" y="740"/>
                      </a:cxn>
                      <a:cxn ang="0">
                        <a:pos x="1268" y="734"/>
                      </a:cxn>
                      <a:cxn ang="0">
                        <a:pos x="1271" y="727"/>
                      </a:cxn>
                      <a:cxn ang="0">
                        <a:pos x="1272" y="719"/>
                      </a:cxn>
                      <a:cxn ang="0">
                        <a:pos x="1272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272" h="852">
                        <a:moveTo>
                          <a:pt x="0" y="0"/>
                        </a:moveTo>
                        <a:lnTo>
                          <a:pt x="0" y="719"/>
                        </a:lnTo>
                        <a:lnTo>
                          <a:pt x="0" y="719"/>
                        </a:lnTo>
                        <a:lnTo>
                          <a:pt x="1" y="727"/>
                        </a:lnTo>
                        <a:lnTo>
                          <a:pt x="4" y="734"/>
                        </a:lnTo>
                        <a:lnTo>
                          <a:pt x="7" y="740"/>
                        </a:lnTo>
                        <a:lnTo>
                          <a:pt x="13" y="747"/>
                        </a:lnTo>
                        <a:lnTo>
                          <a:pt x="20" y="753"/>
                        </a:lnTo>
                        <a:lnTo>
                          <a:pt x="29" y="759"/>
                        </a:lnTo>
                        <a:lnTo>
                          <a:pt x="50" y="771"/>
                        </a:lnTo>
                        <a:lnTo>
                          <a:pt x="76" y="783"/>
                        </a:lnTo>
                        <a:lnTo>
                          <a:pt x="109" y="795"/>
                        </a:lnTo>
                        <a:lnTo>
                          <a:pt x="146" y="805"/>
                        </a:lnTo>
                        <a:lnTo>
                          <a:pt x="187" y="814"/>
                        </a:lnTo>
                        <a:lnTo>
                          <a:pt x="231" y="823"/>
                        </a:lnTo>
                        <a:lnTo>
                          <a:pt x="280" y="830"/>
                        </a:lnTo>
                        <a:lnTo>
                          <a:pt x="333" y="837"/>
                        </a:lnTo>
                        <a:lnTo>
                          <a:pt x="389" y="842"/>
                        </a:lnTo>
                        <a:lnTo>
                          <a:pt x="446" y="846"/>
                        </a:lnTo>
                        <a:lnTo>
                          <a:pt x="508" y="851"/>
                        </a:lnTo>
                        <a:lnTo>
                          <a:pt x="570" y="852"/>
                        </a:lnTo>
                        <a:lnTo>
                          <a:pt x="637" y="852"/>
                        </a:lnTo>
                        <a:lnTo>
                          <a:pt x="637" y="852"/>
                        </a:lnTo>
                        <a:lnTo>
                          <a:pt x="701" y="852"/>
                        </a:lnTo>
                        <a:lnTo>
                          <a:pt x="763" y="851"/>
                        </a:lnTo>
                        <a:lnTo>
                          <a:pt x="825" y="846"/>
                        </a:lnTo>
                        <a:lnTo>
                          <a:pt x="883" y="842"/>
                        </a:lnTo>
                        <a:lnTo>
                          <a:pt x="939" y="837"/>
                        </a:lnTo>
                        <a:lnTo>
                          <a:pt x="992" y="830"/>
                        </a:lnTo>
                        <a:lnTo>
                          <a:pt x="1041" y="823"/>
                        </a:lnTo>
                        <a:lnTo>
                          <a:pt x="1085" y="814"/>
                        </a:lnTo>
                        <a:lnTo>
                          <a:pt x="1126" y="805"/>
                        </a:lnTo>
                        <a:lnTo>
                          <a:pt x="1163" y="795"/>
                        </a:lnTo>
                        <a:lnTo>
                          <a:pt x="1195" y="783"/>
                        </a:lnTo>
                        <a:lnTo>
                          <a:pt x="1222" y="771"/>
                        </a:lnTo>
                        <a:lnTo>
                          <a:pt x="1243" y="759"/>
                        </a:lnTo>
                        <a:lnTo>
                          <a:pt x="1251" y="753"/>
                        </a:lnTo>
                        <a:lnTo>
                          <a:pt x="1259" y="747"/>
                        </a:lnTo>
                        <a:lnTo>
                          <a:pt x="1265" y="740"/>
                        </a:lnTo>
                        <a:lnTo>
                          <a:pt x="1268" y="734"/>
                        </a:lnTo>
                        <a:lnTo>
                          <a:pt x="1271" y="727"/>
                        </a:lnTo>
                        <a:lnTo>
                          <a:pt x="1272" y="719"/>
                        </a:lnTo>
                        <a:lnTo>
                          <a:pt x="127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5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44" name="Group 83">
                  <a:extLst>
                    <a:ext uri="{FF2B5EF4-FFF2-40B4-BE49-F238E27FC236}">
                      <a16:creationId xmlns:a16="http://schemas.microsoft.com/office/drawing/2014/main" xmlns="" id="{9239B76A-F284-2E4A-967E-4731FA5F1D87}"/>
                    </a:ext>
                  </a:extLst>
                </p:cNvPr>
                <p:cNvGrpSpPr/>
                <p:nvPr/>
              </p:nvGrpSpPr>
              <p:grpSpPr>
                <a:xfrm>
                  <a:off x="8913812" y="2667000"/>
                  <a:ext cx="1672695" cy="3201098"/>
                  <a:chOff x="8913812" y="2667000"/>
                  <a:chExt cx="1672695" cy="3201098"/>
                </a:xfrm>
              </p:grpSpPr>
              <p:sp>
                <p:nvSpPr>
                  <p:cNvPr id="145" name="Freeform 144">
                    <a:extLst>
                      <a:ext uri="{FF2B5EF4-FFF2-40B4-BE49-F238E27FC236}">
                        <a16:creationId xmlns:a16="http://schemas.microsoft.com/office/drawing/2014/main" xmlns="" id="{C52CF721-9A45-544C-BE6C-BA68457D511B}"/>
                      </a:ext>
                    </a:extLst>
                  </p:cNvPr>
                  <p:cNvSpPr/>
                  <p:nvPr/>
                </p:nvSpPr>
                <p:spPr>
                  <a:xfrm>
                    <a:off x="8913812" y="2667000"/>
                    <a:ext cx="1672695" cy="411700"/>
                  </a:xfrm>
                  <a:custGeom>
                    <a:avLst/>
                    <a:gdLst>
                      <a:gd name="connsiteX0" fmla="*/ 44450 w 1367367"/>
                      <a:gd name="connsiteY0" fmla="*/ 0 h 336550"/>
                      <a:gd name="connsiteX1" fmla="*/ 336550 w 1367367"/>
                      <a:gd name="connsiteY1" fmla="*/ 88900 h 336550"/>
                      <a:gd name="connsiteX2" fmla="*/ 734483 w 1367367"/>
                      <a:gd name="connsiteY2" fmla="*/ 186267 h 336550"/>
                      <a:gd name="connsiteX3" fmla="*/ 1123950 w 1367367"/>
                      <a:gd name="connsiteY3" fmla="*/ 232833 h 336550"/>
                      <a:gd name="connsiteX4" fmla="*/ 1339850 w 1367367"/>
                      <a:gd name="connsiteY4" fmla="*/ 198967 h 336550"/>
                      <a:gd name="connsiteX5" fmla="*/ 1289050 w 1367367"/>
                      <a:gd name="connsiteY5" fmla="*/ 266700 h 336550"/>
                      <a:gd name="connsiteX6" fmla="*/ 1077383 w 1367367"/>
                      <a:gd name="connsiteY6" fmla="*/ 313267 h 336550"/>
                      <a:gd name="connsiteX7" fmla="*/ 683683 w 1367367"/>
                      <a:gd name="connsiteY7" fmla="*/ 317500 h 336550"/>
                      <a:gd name="connsiteX8" fmla="*/ 209550 w 1367367"/>
                      <a:gd name="connsiteY8" fmla="*/ 198967 h 336550"/>
                      <a:gd name="connsiteX9" fmla="*/ 69850 w 1367367"/>
                      <a:gd name="connsiteY9" fmla="*/ 88900 h 336550"/>
                      <a:gd name="connsiteX10" fmla="*/ 44450 w 1367367"/>
                      <a:gd name="connsiteY10" fmla="*/ 0 h 336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367367" h="336550">
                        <a:moveTo>
                          <a:pt x="44450" y="0"/>
                        </a:moveTo>
                        <a:cubicBezTo>
                          <a:pt x="88900" y="0"/>
                          <a:pt x="221545" y="57856"/>
                          <a:pt x="336550" y="88900"/>
                        </a:cubicBezTo>
                        <a:cubicBezTo>
                          <a:pt x="451556" y="119945"/>
                          <a:pt x="603250" y="162278"/>
                          <a:pt x="734483" y="186267"/>
                        </a:cubicBezTo>
                        <a:cubicBezTo>
                          <a:pt x="865716" y="210256"/>
                          <a:pt x="1023056" y="230716"/>
                          <a:pt x="1123950" y="232833"/>
                        </a:cubicBezTo>
                        <a:cubicBezTo>
                          <a:pt x="1224844" y="234950"/>
                          <a:pt x="1312333" y="193323"/>
                          <a:pt x="1339850" y="198967"/>
                        </a:cubicBezTo>
                        <a:cubicBezTo>
                          <a:pt x="1367367" y="204611"/>
                          <a:pt x="1332794" y="247650"/>
                          <a:pt x="1289050" y="266700"/>
                        </a:cubicBezTo>
                        <a:cubicBezTo>
                          <a:pt x="1245306" y="285750"/>
                          <a:pt x="1178277" y="304800"/>
                          <a:pt x="1077383" y="313267"/>
                        </a:cubicBezTo>
                        <a:cubicBezTo>
                          <a:pt x="976489" y="321734"/>
                          <a:pt x="828322" y="336550"/>
                          <a:pt x="683683" y="317500"/>
                        </a:cubicBezTo>
                        <a:cubicBezTo>
                          <a:pt x="539044" y="298450"/>
                          <a:pt x="311855" y="237067"/>
                          <a:pt x="209550" y="198967"/>
                        </a:cubicBezTo>
                        <a:cubicBezTo>
                          <a:pt x="107245" y="160867"/>
                          <a:pt x="102305" y="122767"/>
                          <a:pt x="69850" y="88900"/>
                        </a:cubicBezTo>
                        <a:cubicBezTo>
                          <a:pt x="37395" y="55033"/>
                          <a:pt x="0" y="0"/>
                          <a:pt x="44450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11000">
                        <a:srgbClr val="FFFFFF"/>
                      </a:gs>
                      <a:gs pos="73000">
                        <a:srgbClr val="FFFFFF">
                          <a:alpha val="0"/>
                        </a:srgbClr>
                      </a:gs>
                    </a:gsLst>
                    <a:lin ang="564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46" name="Freeform 145">
                    <a:extLst>
                      <a:ext uri="{FF2B5EF4-FFF2-40B4-BE49-F238E27FC236}">
                        <a16:creationId xmlns:a16="http://schemas.microsoft.com/office/drawing/2014/main" xmlns="" id="{617FD3C3-D251-5642-8E6D-D023C9E44C36}"/>
                      </a:ext>
                    </a:extLst>
                  </p:cNvPr>
                  <p:cNvSpPr/>
                  <p:nvPr/>
                </p:nvSpPr>
                <p:spPr>
                  <a:xfrm>
                    <a:off x="9070622" y="2808111"/>
                    <a:ext cx="1235428" cy="1897944"/>
                  </a:xfrm>
                  <a:custGeom>
                    <a:avLst/>
                    <a:gdLst>
                      <a:gd name="connsiteX0" fmla="*/ 1411 w 1235428"/>
                      <a:gd name="connsiteY0" fmla="*/ 11289 h 1897944"/>
                      <a:gd name="connsiteX1" fmla="*/ 200378 w 1235428"/>
                      <a:gd name="connsiteY1" fmla="*/ 222956 h 1897944"/>
                      <a:gd name="connsiteX2" fmla="*/ 450145 w 1235428"/>
                      <a:gd name="connsiteY2" fmla="*/ 349956 h 1897944"/>
                      <a:gd name="connsiteX3" fmla="*/ 797278 w 1235428"/>
                      <a:gd name="connsiteY3" fmla="*/ 608189 h 1897944"/>
                      <a:gd name="connsiteX4" fmla="*/ 1025878 w 1235428"/>
                      <a:gd name="connsiteY4" fmla="*/ 1124656 h 1897944"/>
                      <a:gd name="connsiteX5" fmla="*/ 1165578 w 1235428"/>
                      <a:gd name="connsiteY5" fmla="*/ 1353256 h 1897944"/>
                      <a:gd name="connsiteX6" fmla="*/ 1195211 w 1235428"/>
                      <a:gd name="connsiteY6" fmla="*/ 1882422 h 1897944"/>
                      <a:gd name="connsiteX7" fmla="*/ 1207911 w 1235428"/>
                      <a:gd name="connsiteY7" fmla="*/ 1260122 h 1897944"/>
                      <a:gd name="connsiteX8" fmla="*/ 1030111 w 1235428"/>
                      <a:gd name="connsiteY8" fmla="*/ 862189 h 1897944"/>
                      <a:gd name="connsiteX9" fmla="*/ 1008945 w 1235428"/>
                      <a:gd name="connsiteY9" fmla="*/ 468489 h 1897944"/>
                      <a:gd name="connsiteX10" fmla="*/ 509411 w 1235428"/>
                      <a:gd name="connsiteY10" fmla="*/ 273756 h 1897944"/>
                      <a:gd name="connsiteX11" fmla="*/ 191911 w 1235428"/>
                      <a:gd name="connsiteY11" fmla="*/ 155222 h 1897944"/>
                      <a:gd name="connsiteX12" fmla="*/ 1411 w 1235428"/>
                      <a:gd name="connsiteY12" fmla="*/ 11289 h 18979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235428" h="1897944">
                        <a:moveTo>
                          <a:pt x="1411" y="11289"/>
                        </a:moveTo>
                        <a:cubicBezTo>
                          <a:pt x="2822" y="22578"/>
                          <a:pt x="125589" y="166512"/>
                          <a:pt x="200378" y="222956"/>
                        </a:cubicBezTo>
                        <a:cubicBezTo>
                          <a:pt x="275167" y="279401"/>
                          <a:pt x="350662" y="285751"/>
                          <a:pt x="450145" y="349956"/>
                        </a:cubicBezTo>
                        <a:cubicBezTo>
                          <a:pt x="549628" y="414161"/>
                          <a:pt x="701323" y="479072"/>
                          <a:pt x="797278" y="608189"/>
                        </a:cubicBezTo>
                        <a:cubicBezTo>
                          <a:pt x="893234" y="737306"/>
                          <a:pt x="964495" y="1000478"/>
                          <a:pt x="1025878" y="1124656"/>
                        </a:cubicBezTo>
                        <a:cubicBezTo>
                          <a:pt x="1087261" y="1248834"/>
                          <a:pt x="1137356" y="1226962"/>
                          <a:pt x="1165578" y="1353256"/>
                        </a:cubicBezTo>
                        <a:cubicBezTo>
                          <a:pt x="1193800" y="1479550"/>
                          <a:pt x="1188156" y="1897944"/>
                          <a:pt x="1195211" y="1882422"/>
                        </a:cubicBezTo>
                        <a:cubicBezTo>
                          <a:pt x="1202266" y="1866900"/>
                          <a:pt x="1235428" y="1430161"/>
                          <a:pt x="1207911" y="1260122"/>
                        </a:cubicBezTo>
                        <a:cubicBezTo>
                          <a:pt x="1180394" y="1090083"/>
                          <a:pt x="1063272" y="994128"/>
                          <a:pt x="1030111" y="862189"/>
                        </a:cubicBezTo>
                        <a:cubicBezTo>
                          <a:pt x="996950" y="730250"/>
                          <a:pt x="1095728" y="566561"/>
                          <a:pt x="1008945" y="468489"/>
                        </a:cubicBezTo>
                        <a:cubicBezTo>
                          <a:pt x="922162" y="370417"/>
                          <a:pt x="645583" y="325967"/>
                          <a:pt x="509411" y="273756"/>
                        </a:cubicBezTo>
                        <a:cubicBezTo>
                          <a:pt x="373239" y="221545"/>
                          <a:pt x="275872" y="202494"/>
                          <a:pt x="191911" y="155222"/>
                        </a:cubicBezTo>
                        <a:cubicBezTo>
                          <a:pt x="107950" y="107950"/>
                          <a:pt x="0" y="0"/>
                          <a:pt x="1411" y="11289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1878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47" name="Freeform 146">
                    <a:extLst>
                      <a:ext uri="{FF2B5EF4-FFF2-40B4-BE49-F238E27FC236}">
                        <a16:creationId xmlns:a16="http://schemas.microsoft.com/office/drawing/2014/main" xmlns="" id="{BA754A26-8FDA-5141-B6B9-3E75F1349E08}"/>
                      </a:ext>
                    </a:extLst>
                  </p:cNvPr>
                  <p:cNvSpPr/>
                  <p:nvPr/>
                </p:nvSpPr>
                <p:spPr>
                  <a:xfrm>
                    <a:off x="10215562" y="4343403"/>
                    <a:ext cx="211137" cy="1524695"/>
                  </a:xfrm>
                  <a:custGeom>
                    <a:avLst/>
                    <a:gdLst>
                      <a:gd name="connsiteX0" fmla="*/ 37042 w 153459"/>
                      <a:gd name="connsiteY0" fmla="*/ 95250 h 2247900"/>
                      <a:gd name="connsiteX1" fmla="*/ 5292 w 153459"/>
                      <a:gd name="connsiteY1" fmla="*/ 520700 h 2247900"/>
                      <a:gd name="connsiteX2" fmla="*/ 68792 w 153459"/>
                      <a:gd name="connsiteY2" fmla="*/ 857250 h 2247900"/>
                      <a:gd name="connsiteX3" fmla="*/ 17992 w 153459"/>
                      <a:gd name="connsiteY3" fmla="*/ 1397000 h 2247900"/>
                      <a:gd name="connsiteX4" fmla="*/ 30692 w 153459"/>
                      <a:gd name="connsiteY4" fmla="*/ 2006600 h 2247900"/>
                      <a:gd name="connsiteX5" fmla="*/ 43392 w 153459"/>
                      <a:gd name="connsiteY5" fmla="*/ 2190750 h 2247900"/>
                      <a:gd name="connsiteX6" fmla="*/ 56092 w 153459"/>
                      <a:gd name="connsiteY6" fmla="*/ 1663700 h 2247900"/>
                      <a:gd name="connsiteX7" fmla="*/ 68792 w 153459"/>
                      <a:gd name="connsiteY7" fmla="*/ 1231900 h 2247900"/>
                      <a:gd name="connsiteX8" fmla="*/ 144992 w 153459"/>
                      <a:gd name="connsiteY8" fmla="*/ 1009650 h 2247900"/>
                      <a:gd name="connsiteX9" fmla="*/ 119592 w 153459"/>
                      <a:gd name="connsiteY9" fmla="*/ 768350 h 2247900"/>
                      <a:gd name="connsiteX10" fmla="*/ 62442 w 153459"/>
                      <a:gd name="connsiteY10" fmla="*/ 615950 h 2247900"/>
                      <a:gd name="connsiteX11" fmla="*/ 43392 w 153459"/>
                      <a:gd name="connsiteY11" fmla="*/ 215900 h 2247900"/>
                      <a:gd name="connsiteX12" fmla="*/ 43392 w 153459"/>
                      <a:gd name="connsiteY12" fmla="*/ 31750 h 2247900"/>
                      <a:gd name="connsiteX13" fmla="*/ 30692 w 153459"/>
                      <a:gd name="connsiteY13" fmla="*/ 25400 h 2247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53459" h="2247900">
                        <a:moveTo>
                          <a:pt x="37042" y="95250"/>
                        </a:moveTo>
                        <a:cubicBezTo>
                          <a:pt x="18521" y="244475"/>
                          <a:pt x="0" y="393700"/>
                          <a:pt x="5292" y="520700"/>
                        </a:cubicBezTo>
                        <a:cubicBezTo>
                          <a:pt x="10584" y="647700"/>
                          <a:pt x="66675" y="711200"/>
                          <a:pt x="68792" y="857250"/>
                        </a:cubicBezTo>
                        <a:cubicBezTo>
                          <a:pt x="70909" y="1003300"/>
                          <a:pt x="24342" y="1205442"/>
                          <a:pt x="17992" y="1397000"/>
                        </a:cubicBezTo>
                        <a:cubicBezTo>
                          <a:pt x="11642" y="1588558"/>
                          <a:pt x="26459" y="1874308"/>
                          <a:pt x="30692" y="2006600"/>
                        </a:cubicBezTo>
                        <a:cubicBezTo>
                          <a:pt x="34925" y="2138892"/>
                          <a:pt x="39159" y="2247900"/>
                          <a:pt x="43392" y="2190750"/>
                        </a:cubicBezTo>
                        <a:cubicBezTo>
                          <a:pt x="47625" y="2133600"/>
                          <a:pt x="51859" y="1823508"/>
                          <a:pt x="56092" y="1663700"/>
                        </a:cubicBezTo>
                        <a:cubicBezTo>
                          <a:pt x="60325" y="1503892"/>
                          <a:pt x="53975" y="1340908"/>
                          <a:pt x="68792" y="1231900"/>
                        </a:cubicBezTo>
                        <a:cubicBezTo>
                          <a:pt x="83609" y="1122892"/>
                          <a:pt x="136525" y="1086908"/>
                          <a:pt x="144992" y="1009650"/>
                        </a:cubicBezTo>
                        <a:cubicBezTo>
                          <a:pt x="153459" y="932392"/>
                          <a:pt x="133350" y="833967"/>
                          <a:pt x="119592" y="768350"/>
                        </a:cubicBezTo>
                        <a:cubicBezTo>
                          <a:pt x="105834" y="702733"/>
                          <a:pt x="75142" y="708025"/>
                          <a:pt x="62442" y="615950"/>
                        </a:cubicBezTo>
                        <a:cubicBezTo>
                          <a:pt x="49742" y="523875"/>
                          <a:pt x="46567" y="313267"/>
                          <a:pt x="43392" y="215900"/>
                        </a:cubicBezTo>
                        <a:cubicBezTo>
                          <a:pt x="40217" y="118533"/>
                          <a:pt x="45509" y="63500"/>
                          <a:pt x="43392" y="31750"/>
                        </a:cubicBezTo>
                        <a:cubicBezTo>
                          <a:pt x="41275" y="0"/>
                          <a:pt x="35983" y="12700"/>
                          <a:pt x="30692" y="25400"/>
                        </a:cubicBezTo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213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164" name="Group 207">
              <a:extLst>
                <a:ext uri="{FF2B5EF4-FFF2-40B4-BE49-F238E27FC236}">
                  <a16:creationId xmlns:a16="http://schemas.microsoft.com/office/drawing/2014/main" xmlns="" id="{9AA4EA28-C275-7949-9EC2-399FEA4EB01F}"/>
                </a:ext>
              </a:extLst>
            </p:cNvPr>
            <p:cNvGrpSpPr/>
            <p:nvPr/>
          </p:nvGrpSpPr>
          <p:grpSpPr>
            <a:xfrm>
              <a:off x="4327676" y="1346259"/>
              <a:ext cx="1056725" cy="1731876"/>
              <a:chOff x="4341810" y="304800"/>
              <a:chExt cx="1682437" cy="2757360"/>
            </a:xfrm>
          </p:grpSpPr>
          <p:grpSp>
            <p:nvGrpSpPr>
              <p:cNvPr id="165" name="Group 79">
                <a:extLst>
                  <a:ext uri="{FF2B5EF4-FFF2-40B4-BE49-F238E27FC236}">
                    <a16:creationId xmlns:a16="http://schemas.microsoft.com/office/drawing/2014/main" xmlns="" id="{2F2E46F1-1B9A-E842-84C4-3CFC9AFA9EF8}"/>
                  </a:ext>
                </a:extLst>
              </p:cNvPr>
              <p:cNvGrpSpPr/>
              <p:nvPr/>
            </p:nvGrpSpPr>
            <p:grpSpPr>
              <a:xfrm>
                <a:off x="4341810" y="304800"/>
                <a:ext cx="1682437" cy="1989067"/>
                <a:chOff x="7723187" y="0"/>
                <a:chExt cx="3649663" cy="4314826"/>
              </a:xfrm>
            </p:grpSpPr>
            <p:sp>
              <p:nvSpPr>
                <p:cNvPr id="175" name="Freeform 5">
                  <a:extLst>
                    <a:ext uri="{FF2B5EF4-FFF2-40B4-BE49-F238E27FC236}">
                      <a16:creationId xmlns:a16="http://schemas.microsoft.com/office/drawing/2014/main" xmlns="" id="{9422EE13-F8B2-AC46-8964-C3F1DB5D01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3187" y="1579563"/>
                  <a:ext cx="2713038" cy="2735263"/>
                </a:xfrm>
                <a:custGeom>
                  <a:avLst/>
                  <a:gdLst/>
                  <a:ahLst/>
                  <a:cxnLst>
                    <a:cxn ang="0">
                      <a:pos x="5124" y="2784"/>
                    </a:cxn>
                    <a:cxn ang="0">
                      <a:pos x="5093" y="3105"/>
                    </a:cxn>
                    <a:cxn ang="0">
                      <a:pos x="5024" y="3413"/>
                    </a:cxn>
                    <a:cxn ang="0">
                      <a:pos x="4918" y="3705"/>
                    </a:cxn>
                    <a:cxn ang="0">
                      <a:pos x="4779" y="3978"/>
                    </a:cxn>
                    <a:cxn ang="0">
                      <a:pos x="4608" y="4229"/>
                    </a:cxn>
                    <a:cxn ang="0">
                      <a:pos x="4408" y="4456"/>
                    </a:cxn>
                    <a:cxn ang="0">
                      <a:pos x="4182" y="4656"/>
                    </a:cxn>
                    <a:cxn ang="0">
                      <a:pos x="3932" y="4827"/>
                    </a:cxn>
                    <a:cxn ang="0">
                      <a:pos x="3660" y="4966"/>
                    </a:cxn>
                    <a:cxn ang="0">
                      <a:pos x="3369" y="5071"/>
                    </a:cxn>
                    <a:cxn ang="0">
                      <a:pos x="3060" y="5140"/>
                    </a:cxn>
                    <a:cxn ang="0">
                      <a:pos x="2738" y="5168"/>
                    </a:cxn>
                    <a:cxn ang="0">
                      <a:pos x="2475" y="5162"/>
                    </a:cxn>
                    <a:cxn ang="0">
                      <a:pos x="2154" y="5116"/>
                    </a:cxn>
                    <a:cxn ang="0">
                      <a:pos x="1846" y="5034"/>
                    </a:cxn>
                    <a:cxn ang="0">
                      <a:pos x="1551" y="4914"/>
                    </a:cxn>
                    <a:cxn ang="0">
                      <a:pos x="1275" y="4762"/>
                    </a:cxn>
                    <a:cxn ang="0">
                      <a:pos x="1019" y="4578"/>
                    </a:cxn>
                    <a:cxn ang="0">
                      <a:pos x="784" y="4367"/>
                    </a:cxn>
                    <a:cxn ang="0">
                      <a:pos x="576" y="4131"/>
                    </a:cxn>
                    <a:cxn ang="0">
                      <a:pos x="397" y="3870"/>
                    </a:cxn>
                    <a:cxn ang="0">
                      <a:pos x="246" y="3590"/>
                    </a:cxn>
                    <a:cxn ang="0">
                      <a:pos x="130" y="3292"/>
                    </a:cxn>
                    <a:cxn ang="0">
                      <a:pos x="49" y="2978"/>
                    </a:cxn>
                    <a:cxn ang="0">
                      <a:pos x="6" y="2651"/>
                    </a:cxn>
                    <a:cxn ang="0">
                      <a:pos x="1" y="2386"/>
                    </a:cxn>
                    <a:cxn ang="0">
                      <a:pos x="32" y="2064"/>
                    </a:cxn>
                    <a:cxn ang="0">
                      <a:pos x="102" y="1756"/>
                    </a:cxn>
                    <a:cxn ang="0">
                      <a:pos x="208" y="1464"/>
                    </a:cxn>
                    <a:cxn ang="0">
                      <a:pos x="348" y="1191"/>
                    </a:cxn>
                    <a:cxn ang="0">
                      <a:pos x="519" y="941"/>
                    </a:cxn>
                    <a:cxn ang="0">
                      <a:pos x="718" y="714"/>
                    </a:cxn>
                    <a:cxn ang="0">
                      <a:pos x="943" y="515"/>
                    </a:cxn>
                    <a:cxn ang="0">
                      <a:pos x="1194" y="344"/>
                    </a:cxn>
                    <a:cxn ang="0">
                      <a:pos x="1467" y="204"/>
                    </a:cxn>
                    <a:cxn ang="0">
                      <a:pos x="1757" y="99"/>
                    </a:cxn>
                    <a:cxn ang="0">
                      <a:pos x="2065" y="31"/>
                    </a:cxn>
                    <a:cxn ang="0">
                      <a:pos x="2388" y="2"/>
                    </a:cxn>
                    <a:cxn ang="0">
                      <a:pos x="2652" y="9"/>
                    </a:cxn>
                    <a:cxn ang="0">
                      <a:pos x="2972" y="53"/>
                    </a:cxn>
                    <a:cxn ang="0">
                      <a:pos x="3282" y="137"/>
                    </a:cxn>
                    <a:cxn ang="0">
                      <a:pos x="3575" y="255"/>
                    </a:cxn>
                    <a:cxn ang="0">
                      <a:pos x="3851" y="408"/>
                    </a:cxn>
                    <a:cxn ang="0">
                      <a:pos x="4107" y="591"/>
                    </a:cxn>
                    <a:cxn ang="0">
                      <a:pos x="4342" y="802"/>
                    </a:cxn>
                    <a:cxn ang="0">
                      <a:pos x="4549" y="1038"/>
                    </a:cxn>
                    <a:cxn ang="0">
                      <a:pos x="4729" y="1299"/>
                    </a:cxn>
                    <a:cxn ang="0">
                      <a:pos x="4880" y="1579"/>
                    </a:cxn>
                    <a:cxn ang="0">
                      <a:pos x="4996" y="1877"/>
                    </a:cxn>
                    <a:cxn ang="0">
                      <a:pos x="5077" y="2191"/>
                    </a:cxn>
                    <a:cxn ang="0">
                      <a:pos x="5120" y="2518"/>
                    </a:cxn>
                  </a:cxnLst>
                  <a:rect l="0" t="0" r="r" b="b"/>
                  <a:pathLst>
                    <a:path w="5126" h="5169">
                      <a:moveTo>
                        <a:pt x="5123" y="2585"/>
                      </a:moveTo>
                      <a:lnTo>
                        <a:pt x="5123" y="2585"/>
                      </a:lnTo>
                      <a:lnTo>
                        <a:pt x="5126" y="2651"/>
                      </a:lnTo>
                      <a:lnTo>
                        <a:pt x="5126" y="2717"/>
                      </a:lnTo>
                      <a:lnTo>
                        <a:pt x="5124" y="2784"/>
                      </a:lnTo>
                      <a:lnTo>
                        <a:pt x="5121" y="2849"/>
                      </a:lnTo>
                      <a:lnTo>
                        <a:pt x="5117" y="2914"/>
                      </a:lnTo>
                      <a:lnTo>
                        <a:pt x="5111" y="2978"/>
                      </a:lnTo>
                      <a:lnTo>
                        <a:pt x="5102" y="3042"/>
                      </a:lnTo>
                      <a:lnTo>
                        <a:pt x="5093" y="3105"/>
                      </a:lnTo>
                      <a:lnTo>
                        <a:pt x="5083" y="3169"/>
                      </a:lnTo>
                      <a:lnTo>
                        <a:pt x="5070" y="3231"/>
                      </a:lnTo>
                      <a:lnTo>
                        <a:pt x="5057" y="3292"/>
                      </a:lnTo>
                      <a:lnTo>
                        <a:pt x="5040" y="3353"/>
                      </a:lnTo>
                      <a:lnTo>
                        <a:pt x="5024" y="3413"/>
                      </a:lnTo>
                      <a:lnTo>
                        <a:pt x="5005" y="3474"/>
                      </a:lnTo>
                      <a:lnTo>
                        <a:pt x="4986" y="3533"/>
                      </a:lnTo>
                      <a:lnTo>
                        <a:pt x="4965" y="3590"/>
                      </a:lnTo>
                      <a:lnTo>
                        <a:pt x="4942" y="3648"/>
                      </a:lnTo>
                      <a:lnTo>
                        <a:pt x="4918" y="3705"/>
                      </a:lnTo>
                      <a:lnTo>
                        <a:pt x="4893" y="3761"/>
                      </a:lnTo>
                      <a:lnTo>
                        <a:pt x="4866" y="3816"/>
                      </a:lnTo>
                      <a:lnTo>
                        <a:pt x="4838" y="3870"/>
                      </a:lnTo>
                      <a:lnTo>
                        <a:pt x="4809" y="3925"/>
                      </a:lnTo>
                      <a:lnTo>
                        <a:pt x="4779" y="3978"/>
                      </a:lnTo>
                      <a:lnTo>
                        <a:pt x="4747" y="4030"/>
                      </a:lnTo>
                      <a:lnTo>
                        <a:pt x="4715" y="4081"/>
                      </a:lnTo>
                      <a:lnTo>
                        <a:pt x="4681" y="4131"/>
                      </a:lnTo>
                      <a:lnTo>
                        <a:pt x="4645" y="4180"/>
                      </a:lnTo>
                      <a:lnTo>
                        <a:pt x="4608" y="4229"/>
                      </a:lnTo>
                      <a:lnTo>
                        <a:pt x="4570" y="4276"/>
                      </a:lnTo>
                      <a:lnTo>
                        <a:pt x="4532" y="4323"/>
                      </a:lnTo>
                      <a:lnTo>
                        <a:pt x="4492" y="4367"/>
                      </a:lnTo>
                      <a:lnTo>
                        <a:pt x="4451" y="4412"/>
                      </a:lnTo>
                      <a:lnTo>
                        <a:pt x="4408" y="4456"/>
                      </a:lnTo>
                      <a:lnTo>
                        <a:pt x="4365" y="4497"/>
                      </a:lnTo>
                      <a:lnTo>
                        <a:pt x="4321" y="4538"/>
                      </a:lnTo>
                      <a:lnTo>
                        <a:pt x="4275" y="4578"/>
                      </a:lnTo>
                      <a:lnTo>
                        <a:pt x="4230" y="4618"/>
                      </a:lnTo>
                      <a:lnTo>
                        <a:pt x="4182" y="4656"/>
                      </a:lnTo>
                      <a:lnTo>
                        <a:pt x="4134" y="4692"/>
                      </a:lnTo>
                      <a:lnTo>
                        <a:pt x="4085" y="4727"/>
                      </a:lnTo>
                      <a:lnTo>
                        <a:pt x="4035" y="4762"/>
                      </a:lnTo>
                      <a:lnTo>
                        <a:pt x="3983" y="4795"/>
                      </a:lnTo>
                      <a:lnTo>
                        <a:pt x="3932" y="4827"/>
                      </a:lnTo>
                      <a:lnTo>
                        <a:pt x="3879" y="4857"/>
                      </a:lnTo>
                      <a:lnTo>
                        <a:pt x="3826" y="4886"/>
                      </a:lnTo>
                      <a:lnTo>
                        <a:pt x="3771" y="4914"/>
                      </a:lnTo>
                      <a:lnTo>
                        <a:pt x="3716" y="4941"/>
                      </a:lnTo>
                      <a:lnTo>
                        <a:pt x="3660" y="4966"/>
                      </a:lnTo>
                      <a:lnTo>
                        <a:pt x="3603" y="4989"/>
                      </a:lnTo>
                      <a:lnTo>
                        <a:pt x="3545" y="5012"/>
                      </a:lnTo>
                      <a:lnTo>
                        <a:pt x="3488" y="5034"/>
                      </a:lnTo>
                      <a:lnTo>
                        <a:pt x="3429" y="5053"/>
                      </a:lnTo>
                      <a:lnTo>
                        <a:pt x="3369" y="5071"/>
                      </a:lnTo>
                      <a:lnTo>
                        <a:pt x="3308" y="5088"/>
                      </a:lnTo>
                      <a:lnTo>
                        <a:pt x="3248" y="5103"/>
                      </a:lnTo>
                      <a:lnTo>
                        <a:pt x="3186" y="5116"/>
                      </a:lnTo>
                      <a:lnTo>
                        <a:pt x="3124" y="5128"/>
                      </a:lnTo>
                      <a:lnTo>
                        <a:pt x="3060" y="5140"/>
                      </a:lnTo>
                      <a:lnTo>
                        <a:pt x="2997" y="5149"/>
                      </a:lnTo>
                      <a:lnTo>
                        <a:pt x="2934" y="5156"/>
                      </a:lnTo>
                      <a:lnTo>
                        <a:pt x="2869" y="5162"/>
                      </a:lnTo>
                      <a:lnTo>
                        <a:pt x="2804" y="5165"/>
                      </a:lnTo>
                      <a:lnTo>
                        <a:pt x="2738" y="5168"/>
                      </a:lnTo>
                      <a:lnTo>
                        <a:pt x="2673" y="5169"/>
                      </a:lnTo>
                      <a:lnTo>
                        <a:pt x="2673" y="5169"/>
                      </a:lnTo>
                      <a:lnTo>
                        <a:pt x="2606" y="5168"/>
                      </a:lnTo>
                      <a:lnTo>
                        <a:pt x="2540" y="5165"/>
                      </a:lnTo>
                      <a:lnTo>
                        <a:pt x="2475" y="5162"/>
                      </a:lnTo>
                      <a:lnTo>
                        <a:pt x="2410" y="5156"/>
                      </a:lnTo>
                      <a:lnTo>
                        <a:pt x="2345" y="5149"/>
                      </a:lnTo>
                      <a:lnTo>
                        <a:pt x="2281" y="5140"/>
                      </a:lnTo>
                      <a:lnTo>
                        <a:pt x="2217" y="5128"/>
                      </a:lnTo>
                      <a:lnTo>
                        <a:pt x="2154" y="5116"/>
                      </a:lnTo>
                      <a:lnTo>
                        <a:pt x="2090" y="5103"/>
                      </a:lnTo>
                      <a:lnTo>
                        <a:pt x="2029" y="5088"/>
                      </a:lnTo>
                      <a:lnTo>
                        <a:pt x="1967" y="5071"/>
                      </a:lnTo>
                      <a:lnTo>
                        <a:pt x="1906" y="5053"/>
                      </a:lnTo>
                      <a:lnTo>
                        <a:pt x="1846" y="5034"/>
                      </a:lnTo>
                      <a:lnTo>
                        <a:pt x="1785" y="5012"/>
                      </a:lnTo>
                      <a:lnTo>
                        <a:pt x="1726" y="4989"/>
                      </a:lnTo>
                      <a:lnTo>
                        <a:pt x="1667" y="4966"/>
                      </a:lnTo>
                      <a:lnTo>
                        <a:pt x="1608" y="4941"/>
                      </a:lnTo>
                      <a:lnTo>
                        <a:pt x="1551" y="4914"/>
                      </a:lnTo>
                      <a:lnTo>
                        <a:pt x="1495" y="4886"/>
                      </a:lnTo>
                      <a:lnTo>
                        <a:pt x="1439" y="4857"/>
                      </a:lnTo>
                      <a:lnTo>
                        <a:pt x="1383" y="4827"/>
                      </a:lnTo>
                      <a:lnTo>
                        <a:pt x="1328" y="4795"/>
                      </a:lnTo>
                      <a:lnTo>
                        <a:pt x="1275" y="4762"/>
                      </a:lnTo>
                      <a:lnTo>
                        <a:pt x="1222" y="4727"/>
                      </a:lnTo>
                      <a:lnTo>
                        <a:pt x="1171" y="4692"/>
                      </a:lnTo>
                      <a:lnTo>
                        <a:pt x="1119" y="4656"/>
                      </a:lnTo>
                      <a:lnTo>
                        <a:pt x="1069" y="4618"/>
                      </a:lnTo>
                      <a:lnTo>
                        <a:pt x="1019" y="4578"/>
                      </a:lnTo>
                      <a:lnTo>
                        <a:pt x="970" y="4538"/>
                      </a:lnTo>
                      <a:lnTo>
                        <a:pt x="923" y="4497"/>
                      </a:lnTo>
                      <a:lnTo>
                        <a:pt x="876" y="4456"/>
                      </a:lnTo>
                      <a:lnTo>
                        <a:pt x="830" y="4412"/>
                      </a:lnTo>
                      <a:lnTo>
                        <a:pt x="784" y="4367"/>
                      </a:lnTo>
                      <a:lnTo>
                        <a:pt x="742" y="4323"/>
                      </a:lnTo>
                      <a:lnTo>
                        <a:pt x="699" y="4276"/>
                      </a:lnTo>
                      <a:lnTo>
                        <a:pt x="657" y="4229"/>
                      </a:lnTo>
                      <a:lnTo>
                        <a:pt x="616" y="4180"/>
                      </a:lnTo>
                      <a:lnTo>
                        <a:pt x="576" y="4131"/>
                      </a:lnTo>
                      <a:lnTo>
                        <a:pt x="538" y="4081"/>
                      </a:lnTo>
                      <a:lnTo>
                        <a:pt x="501" y="4030"/>
                      </a:lnTo>
                      <a:lnTo>
                        <a:pt x="464" y="3978"/>
                      </a:lnTo>
                      <a:lnTo>
                        <a:pt x="430" y="3925"/>
                      </a:lnTo>
                      <a:lnTo>
                        <a:pt x="397" y="3870"/>
                      </a:lnTo>
                      <a:lnTo>
                        <a:pt x="364" y="3816"/>
                      </a:lnTo>
                      <a:lnTo>
                        <a:pt x="333" y="3761"/>
                      </a:lnTo>
                      <a:lnTo>
                        <a:pt x="302" y="3705"/>
                      </a:lnTo>
                      <a:lnTo>
                        <a:pt x="274" y="3648"/>
                      </a:lnTo>
                      <a:lnTo>
                        <a:pt x="246" y="3590"/>
                      </a:lnTo>
                      <a:lnTo>
                        <a:pt x="221" y="3533"/>
                      </a:lnTo>
                      <a:lnTo>
                        <a:pt x="196" y="3474"/>
                      </a:lnTo>
                      <a:lnTo>
                        <a:pt x="172" y="3413"/>
                      </a:lnTo>
                      <a:lnTo>
                        <a:pt x="150" y="3353"/>
                      </a:lnTo>
                      <a:lnTo>
                        <a:pt x="130" y="3292"/>
                      </a:lnTo>
                      <a:lnTo>
                        <a:pt x="111" y="3231"/>
                      </a:lnTo>
                      <a:lnTo>
                        <a:pt x="93" y="3169"/>
                      </a:lnTo>
                      <a:lnTo>
                        <a:pt x="77" y="3105"/>
                      </a:lnTo>
                      <a:lnTo>
                        <a:pt x="62" y="3042"/>
                      </a:lnTo>
                      <a:lnTo>
                        <a:pt x="49" y="2978"/>
                      </a:lnTo>
                      <a:lnTo>
                        <a:pt x="37" y="2914"/>
                      </a:lnTo>
                      <a:lnTo>
                        <a:pt x="27" y="2849"/>
                      </a:lnTo>
                      <a:lnTo>
                        <a:pt x="19" y="2784"/>
                      </a:lnTo>
                      <a:lnTo>
                        <a:pt x="12" y="2717"/>
                      </a:lnTo>
                      <a:lnTo>
                        <a:pt x="6" y="2651"/>
                      </a:lnTo>
                      <a:lnTo>
                        <a:pt x="3" y="2585"/>
                      </a:lnTo>
                      <a:lnTo>
                        <a:pt x="3" y="2585"/>
                      </a:lnTo>
                      <a:lnTo>
                        <a:pt x="1" y="2518"/>
                      </a:lnTo>
                      <a:lnTo>
                        <a:pt x="0" y="2452"/>
                      </a:lnTo>
                      <a:lnTo>
                        <a:pt x="1" y="2386"/>
                      </a:lnTo>
                      <a:lnTo>
                        <a:pt x="4" y="2321"/>
                      </a:lnTo>
                      <a:lnTo>
                        <a:pt x="9" y="2256"/>
                      </a:lnTo>
                      <a:lnTo>
                        <a:pt x="16" y="2191"/>
                      </a:lnTo>
                      <a:lnTo>
                        <a:pt x="24" y="2128"/>
                      </a:lnTo>
                      <a:lnTo>
                        <a:pt x="32" y="2064"/>
                      </a:lnTo>
                      <a:lnTo>
                        <a:pt x="44" y="2001"/>
                      </a:lnTo>
                      <a:lnTo>
                        <a:pt x="56" y="1939"/>
                      </a:lnTo>
                      <a:lnTo>
                        <a:pt x="71" y="1877"/>
                      </a:lnTo>
                      <a:lnTo>
                        <a:pt x="86" y="1817"/>
                      </a:lnTo>
                      <a:lnTo>
                        <a:pt x="102" y="1756"/>
                      </a:lnTo>
                      <a:lnTo>
                        <a:pt x="121" y="1696"/>
                      </a:lnTo>
                      <a:lnTo>
                        <a:pt x="140" y="1637"/>
                      </a:lnTo>
                      <a:lnTo>
                        <a:pt x="162" y="1579"/>
                      </a:lnTo>
                      <a:lnTo>
                        <a:pt x="184" y="1522"/>
                      </a:lnTo>
                      <a:lnTo>
                        <a:pt x="208" y="1464"/>
                      </a:lnTo>
                      <a:lnTo>
                        <a:pt x="233" y="1408"/>
                      </a:lnTo>
                      <a:lnTo>
                        <a:pt x="259" y="1354"/>
                      </a:lnTo>
                      <a:lnTo>
                        <a:pt x="287" y="1299"/>
                      </a:lnTo>
                      <a:lnTo>
                        <a:pt x="317" y="1244"/>
                      </a:lnTo>
                      <a:lnTo>
                        <a:pt x="348" y="1191"/>
                      </a:lnTo>
                      <a:lnTo>
                        <a:pt x="379" y="1140"/>
                      </a:lnTo>
                      <a:lnTo>
                        <a:pt x="413" y="1090"/>
                      </a:lnTo>
                      <a:lnTo>
                        <a:pt x="447" y="1038"/>
                      </a:lnTo>
                      <a:lnTo>
                        <a:pt x="482" y="989"/>
                      </a:lnTo>
                      <a:lnTo>
                        <a:pt x="519" y="941"/>
                      </a:lnTo>
                      <a:lnTo>
                        <a:pt x="556" y="894"/>
                      </a:lnTo>
                      <a:lnTo>
                        <a:pt x="594" y="848"/>
                      </a:lnTo>
                      <a:lnTo>
                        <a:pt x="635" y="802"/>
                      </a:lnTo>
                      <a:lnTo>
                        <a:pt x="675" y="758"/>
                      </a:lnTo>
                      <a:lnTo>
                        <a:pt x="718" y="714"/>
                      </a:lnTo>
                      <a:lnTo>
                        <a:pt x="761" y="672"/>
                      </a:lnTo>
                      <a:lnTo>
                        <a:pt x="805" y="631"/>
                      </a:lnTo>
                      <a:lnTo>
                        <a:pt x="851" y="591"/>
                      </a:lnTo>
                      <a:lnTo>
                        <a:pt x="896" y="552"/>
                      </a:lnTo>
                      <a:lnTo>
                        <a:pt x="943" y="515"/>
                      </a:lnTo>
                      <a:lnTo>
                        <a:pt x="992" y="478"/>
                      </a:lnTo>
                      <a:lnTo>
                        <a:pt x="1041" y="442"/>
                      </a:lnTo>
                      <a:lnTo>
                        <a:pt x="1091" y="408"/>
                      </a:lnTo>
                      <a:lnTo>
                        <a:pt x="1143" y="375"/>
                      </a:lnTo>
                      <a:lnTo>
                        <a:pt x="1194" y="344"/>
                      </a:lnTo>
                      <a:lnTo>
                        <a:pt x="1247" y="313"/>
                      </a:lnTo>
                      <a:lnTo>
                        <a:pt x="1300" y="283"/>
                      </a:lnTo>
                      <a:lnTo>
                        <a:pt x="1355" y="255"/>
                      </a:lnTo>
                      <a:lnTo>
                        <a:pt x="1411" y="229"/>
                      </a:lnTo>
                      <a:lnTo>
                        <a:pt x="1467" y="204"/>
                      </a:lnTo>
                      <a:lnTo>
                        <a:pt x="1523" y="180"/>
                      </a:lnTo>
                      <a:lnTo>
                        <a:pt x="1580" y="158"/>
                      </a:lnTo>
                      <a:lnTo>
                        <a:pt x="1639" y="137"/>
                      </a:lnTo>
                      <a:lnTo>
                        <a:pt x="1698" y="117"/>
                      </a:lnTo>
                      <a:lnTo>
                        <a:pt x="1757" y="99"/>
                      </a:lnTo>
                      <a:lnTo>
                        <a:pt x="1818" y="83"/>
                      </a:lnTo>
                      <a:lnTo>
                        <a:pt x="1878" y="66"/>
                      </a:lnTo>
                      <a:lnTo>
                        <a:pt x="1940" y="53"/>
                      </a:lnTo>
                      <a:lnTo>
                        <a:pt x="2002" y="41"/>
                      </a:lnTo>
                      <a:lnTo>
                        <a:pt x="2065" y="31"/>
                      </a:lnTo>
                      <a:lnTo>
                        <a:pt x="2129" y="22"/>
                      </a:lnTo>
                      <a:lnTo>
                        <a:pt x="2194" y="15"/>
                      </a:lnTo>
                      <a:lnTo>
                        <a:pt x="2257" y="9"/>
                      </a:lnTo>
                      <a:lnTo>
                        <a:pt x="2322" y="5"/>
                      </a:lnTo>
                      <a:lnTo>
                        <a:pt x="2388" y="2"/>
                      </a:lnTo>
                      <a:lnTo>
                        <a:pt x="2455" y="0"/>
                      </a:lnTo>
                      <a:lnTo>
                        <a:pt x="2455" y="0"/>
                      </a:lnTo>
                      <a:lnTo>
                        <a:pt x="2521" y="2"/>
                      </a:lnTo>
                      <a:lnTo>
                        <a:pt x="2586" y="5"/>
                      </a:lnTo>
                      <a:lnTo>
                        <a:pt x="2652" y="9"/>
                      </a:lnTo>
                      <a:lnTo>
                        <a:pt x="2717" y="15"/>
                      </a:lnTo>
                      <a:lnTo>
                        <a:pt x="2782" y="22"/>
                      </a:lnTo>
                      <a:lnTo>
                        <a:pt x="2845" y="31"/>
                      </a:lnTo>
                      <a:lnTo>
                        <a:pt x="2909" y="41"/>
                      </a:lnTo>
                      <a:lnTo>
                        <a:pt x="2972" y="53"/>
                      </a:lnTo>
                      <a:lnTo>
                        <a:pt x="3035" y="66"/>
                      </a:lnTo>
                      <a:lnTo>
                        <a:pt x="3097" y="83"/>
                      </a:lnTo>
                      <a:lnTo>
                        <a:pt x="3159" y="99"/>
                      </a:lnTo>
                      <a:lnTo>
                        <a:pt x="3221" y="117"/>
                      </a:lnTo>
                      <a:lnTo>
                        <a:pt x="3282" y="137"/>
                      </a:lnTo>
                      <a:lnTo>
                        <a:pt x="3341" y="158"/>
                      </a:lnTo>
                      <a:lnTo>
                        <a:pt x="3401" y="180"/>
                      </a:lnTo>
                      <a:lnTo>
                        <a:pt x="3460" y="204"/>
                      </a:lnTo>
                      <a:lnTo>
                        <a:pt x="3517" y="229"/>
                      </a:lnTo>
                      <a:lnTo>
                        <a:pt x="3575" y="255"/>
                      </a:lnTo>
                      <a:lnTo>
                        <a:pt x="3631" y="283"/>
                      </a:lnTo>
                      <a:lnTo>
                        <a:pt x="3687" y="313"/>
                      </a:lnTo>
                      <a:lnTo>
                        <a:pt x="3743" y="344"/>
                      </a:lnTo>
                      <a:lnTo>
                        <a:pt x="3798" y="375"/>
                      </a:lnTo>
                      <a:lnTo>
                        <a:pt x="3851" y="408"/>
                      </a:lnTo>
                      <a:lnTo>
                        <a:pt x="3904" y="442"/>
                      </a:lnTo>
                      <a:lnTo>
                        <a:pt x="3957" y="478"/>
                      </a:lnTo>
                      <a:lnTo>
                        <a:pt x="4008" y="515"/>
                      </a:lnTo>
                      <a:lnTo>
                        <a:pt x="4059" y="552"/>
                      </a:lnTo>
                      <a:lnTo>
                        <a:pt x="4107" y="591"/>
                      </a:lnTo>
                      <a:lnTo>
                        <a:pt x="4156" y="631"/>
                      </a:lnTo>
                      <a:lnTo>
                        <a:pt x="4204" y="672"/>
                      </a:lnTo>
                      <a:lnTo>
                        <a:pt x="4250" y="714"/>
                      </a:lnTo>
                      <a:lnTo>
                        <a:pt x="4296" y="758"/>
                      </a:lnTo>
                      <a:lnTo>
                        <a:pt x="4342" y="802"/>
                      </a:lnTo>
                      <a:lnTo>
                        <a:pt x="4384" y="848"/>
                      </a:lnTo>
                      <a:lnTo>
                        <a:pt x="4427" y="894"/>
                      </a:lnTo>
                      <a:lnTo>
                        <a:pt x="4470" y="941"/>
                      </a:lnTo>
                      <a:lnTo>
                        <a:pt x="4510" y="989"/>
                      </a:lnTo>
                      <a:lnTo>
                        <a:pt x="4549" y="1038"/>
                      </a:lnTo>
                      <a:lnTo>
                        <a:pt x="4588" y="1090"/>
                      </a:lnTo>
                      <a:lnTo>
                        <a:pt x="4625" y="1140"/>
                      </a:lnTo>
                      <a:lnTo>
                        <a:pt x="4661" y="1191"/>
                      </a:lnTo>
                      <a:lnTo>
                        <a:pt x="4697" y="1244"/>
                      </a:lnTo>
                      <a:lnTo>
                        <a:pt x="4729" y="1299"/>
                      </a:lnTo>
                      <a:lnTo>
                        <a:pt x="4763" y="1354"/>
                      </a:lnTo>
                      <a:lnTo>
                        <a:pt x="4794" y="1408"/>
                      </a:lnTo>
                      <a:lnTo>
                        <a:pt x="4824" y="1464"/>
                      </a:lnTo>
                      <a:lnTo>
                        <a:pt x="4853" y="1522"/>
                      </a:lnTo>
                      <a:lnTo>
                        <a:pt x="4880" y="1579"/>
                      </a:lnTo>
                      <a:lnTo>
                        <a:pt x="4906" y="1637"/>
                      </a:lnTo>
                      <a:lnTo>
                        <a:pt x="4931" y="1696"/>
                      </a:lnTo>
                      <a:lnTo>
                        <a:pt x="4953" y="1756"/>
                      </a:lnTo>
                      <a:lnTo>
                        <a:pt x="4975" y="1817"/>
                      </a:lnTo>
                      <a:lnTo>
                        <a:pt x="4996" y="1877"/>
                      </a:lnTo>
                      <a:lnTo>
                        <a:pt x="5015" y="1939"/>
                      </a:lnTo>
                      <a:lnTo>
                        <a:pt x="5033" y="2001"/>
                      </a:lnTo>
                      <a:lnTo>
                        <a:pt x="5049" y="2064"/>
                      </a:lnTo>
                      <a:lnTo>
                        <a:pt x="5064" y="2128"/>
                      </a:lnTo>
                      <a:lnTo>
                        <a:pt x="5077" y="2191"/>
                      </a:lnTo>
                      <a:lnTo>
                        <a:pt x="5089" y="2256"/>
                      </a:lnTo>
                      <a:lnTo>
                        <a:pt x="5099" y="2321"/>
                      </a:lnTo>
                      <a:lnTo>
                        <a:pt x="5108" y="2386"/>
                      </a:lnTo>
                      <a:lnTo>
                        <a:pt x="5114" y="2452"/>
                      </a:lnTo>
                      <a:lnTo>
                        <a:pt x="5120" y="2518"/>
                      </a:lnTo>
                      <a:lnTo>
                        <a:pt x="5123" y="2585"/>
                      </a:lnTo>
                      <a:lnTo>
                        <a:pt x="5123" y="2585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76" name="Freeform 8">
                  <a:extLst>
                    <a:ext uri="{FF2B5EF4-FFF2-40B4-BE49-F238E27FC236}">
                      <a16:creationId xmlns:a16="http://schemas.microsoft.com/office/drawing/2014/main" xmlns="" id="{D1AB5BDD-67AC-9842-8168-24DD4795A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93112" y="406400"/>
                  <a:ext cx="2947988" cy="2871788"/>
                </a:xfrm>
                <a:custGeom>
                  <a:avLst/>
                  <a:gdLst/>
                  <a:ahLst/>
                  <a:cxnLst>
                    <a:cxn ang="0">
                      <a:pos x="5553" y="2571"/>
                    </a:cxn>
                    <a:cxn ang="0">
                      <a:pos x="5490" y="2225"/>
                    </a:cxn>
                    <a:cxn ang="0">
                      <a:pos x="5385" y="1893"/>
                    </a:cxn>
                    <a:cxn ang="0">
                      <a:pos x="5244" y="1577"/>
                    </a:cxn>
                    <a:cxn ang="0">
                      <a:pos x="5067" y="1284"/>
                    </a:cxn>
                    <a:cxn ang="0">
                      <a:pos x="4859" y="1014"/>
                    </a:cxn>
                    <a:cxn ang="0">
                      <a:pos x="4620" y="769"/>
                    </a:cxn>
                    <a:cxn ang="0">
                      <a:pos x="4356" y="554"/>
                    </a:cxn>
                    <a:cxn ang="0">
                      <a:pos x="4069" y="370"/>
                    </a:cxn>
                    <a:cxn ang="0">
                      <a:pos x="3759" y="219"/>
                    </a:cxn>
                    <a:cxn ang="0">
                      <a:pos x="3433" y="106"/>
                    </a:cxn>
                    <a:cxn ang="0">
                      <a:pos x="3091" y="32"/>
                    </a:cxn>
                    <a:cxn ang="0">
                      <a:pos x="2737" y="1"/>
                    </a:cxn>
                    <a:cxn ang="0">
                      <a:pos x="2463" y="7"/>
                    </a:cxn>
                    <a:cxn ang="0">
                      <a:pos x="2137" y="51"/>
                    </a:cxn>
                    <a:cxn ang="0">
                      <a:pos x="1825" y="131"/>
                    </a:cxn>
                    <a:cxn ang="0">
                      <a:pos x="1530" y="246"/>
                    </a:cxn>
                    <a:cxn ang="0">
                      <a:pos x="1254" y="393"/>
                    </a:cxn>
                    <a:cxn ang="0">
                      <a:pos x="1001" y="572"/>
                    </a:cxn>
                    <a:cxn ang="0">
                      <a:pos x="769" y="778"/>
                    </a:cxn>
                    <a:cxn ang="0">
                      <a:pos x="564" y="1008"/>
                    </a:cxn>
                    <a:cxn ang="0">
                      <a:pos x="387" y="1263"/>
                    </a:cxn>
                    <a:cxn ang="0">
                      <a:pos x="240" y="1539"/>
                    </a:cxn>
                    <a:cxn ang="0">
                      <a:pos x="127" y="1832"/>
                    </a:cxn>
                    <a:cxn ang="0">
                      <a:pos x="47" y="2142"/>
                    </a:cxn>
                    <a:cxn ang="0">
                      <a:pos x="4" y="2466"/>
                    </a:cxn>
                    <a:cxn ang="0">
                      <a:pos x="199" y="2438"/>
                    </a:cxn>
                    <a:cxn ang="0">
                      <a:pos x="550" y="2322"/>
                    </a:cxn>
                    <a:cxn ang="0">
                      <a:pos x="926" y="2258"/>
                    </a:cxn>
                    <a:cxn ang="0">
                      <a:pos x="1226" y="2248"/>
                    </a:cxn>
                    <a:cxn ang="0">
                      <a:pos x="1551" y="2278"/>
                    </a:cxn>
                    <a:cxn ang="0">
                      <a:pos x="1865" y="2345"/>
                    </a:cxn>
                    <a:cxn ang="0">
                      <a:pos x="2164" y="2450"/>
                    </a:cxn>
                    <a:cxn ang="0">
                      <a:pos x="2448" y="2590"/>
                    </a:cxn>
                    <a:cxn ang="0">
                      <a:pos x="2712" y="2761"/>
                    </a:cxn>
                    <a:cxn ang="0">
                      <a:pos x="2956" y="2962"/>
                    </a:cxn>
                    <a:cxn ang="0">
                      <a:pos x="3175" y="3187"/>
                    </a:cxn>
                    <a:cxn ang="0">
                      <a:pos x="3367" y="3439"/>
                    </a:cxn>
                    <a:cxn ang="0">
                      <a:pos x="3529" y="3711"/>
                    </a:cxn>
                    <a:cxn ang="0">
                      <a:pos x="3659" y="4003"/>
                    </a:cxn>
                    <a:cxn ang="0">
                      <a:pos x="3755" y="4311"/>
                    </a:cxn>
                    <a:cxn ang="0">
                      <a:pos x="3814" y="4632"/>
                    </a:cxn>
                    <a:cxn ang="0">
                      <a:pos x="3831" y="4908"/>
                    </a:cxn>
                    <a:cxn ang="0">
                      <a:pos x="3809" y="5281"/>
                    </a:cxn>
                    <a:cxn ang="0">
                      <a:pos x="3886" y="5390"/>
                    </a:cxn>
                    <a:cxn ang="0">
                      <a:pos x="4129" y="5281"/>
                    </a:cxn>
                    <a:cxn ang="0">
                      <a:pos x="4358" y="5150"/>
                    </a:cxn>
                    <a:cxn ang="0">
                      <a:pos x="4571" y="4998"/>
                    </a:cxn>
                    <a:cxn ang="0">
                      <a:pos x="4767" y="4825"/>
                    </a:cxn>
                    <a:cxn ang="0">
                      <a:pos x="4946" y="4635"/>
                    </a:cxn>
                    <a:cxn ang="0">
                      <a:pos x="5105" y="4427"/>
                    </a:cxn>
                    <a:cxn ang="0">
                      <a:pos x="5242" y="4203"/>
                    </a:cxn>
                    <a:cxn ang="0">
                      <a:pos x="5359" y="3966"/>
                    </a:cxn>
                    <a:cxn ang="0">
                      <a:pos x="5450" y="3715"/>
                    </a:cxn>
                    <a:cxn ang="0">
                      <a:pos x="5518" y="3453"/>
                    </a:cxn>
                    <a:cxn ang="0">
                      <a:pos x="5559" y="3181"/>
                    </a:cxn>
                    <a:cxn ang="0">
                      <a:pos x="5572" y="2900"/>
                    </a:cxn>
                  </a:cxnLst>
                  <a:rect l="0" t="0" r="r" b="b"/>
                  <a:pathLst>
                    <a:path w="5572" h="5427">
                      <a:moveTo>
                        <a:pt x="5569" y="2786"/>
                      </a:moveTo>
                      <a:lnTo>
                        <a:pt x="5569" y="2786"/>
                      </a:lnTo>
                      <a:lnTo>
                        <a:pt x="5566" y="2714"/>
                      </a:lnTo>
                      <a:lnTo>
                        <a:pt x="5560" y="2642"/>
                      </a:lnTo>
                      <a:lnTo>
                        <a:pt x="5553" y="2571"/>
                      </a:lnTo>
                      <a:lnTo>
                        <a:pt x="5543" y="2500"/>
                      </a:lnTo>
                      <a:lnTo>
                        <a:pt x="5532" y="2431"/>
                      </a:lnTo>
                      <a:lnTo>
                        <a:pt x="5519" y="2362"/>
                      </a:lnTo>
                      <a:lnTo>
                        <a:pt x="5504" y="2292"/>
                      </a:lnTo>
                      <a:lnTo>
                        <a:pt x="5490" y="2225"/>
                      </a:lnTo>
                      <a:lnTo>
                        <a:pt x="5472" y="2157"/>
                      </a:lnTo>
                      <a:lnTo>
                        <a:pt x="5453" y="2089"/>
                      </a:lnTo>
                      <a:lnTo>
                        <a:pt x="5432" y="2023"/>
                      </a:lnTo>
                      <a:lnTo>
                        <a:pt x="5409" y="1958"/>
                      </a:lnTo>
                      <a:lnTo>
                        <a:pt x="5385" y="1893"/>
                      </a:lnTo>
                      <a:lnTo>
                        <a:pt x="5360" y="1828"/>
                      </a:lnTo>
                      <a:lnTo>
                        <a:pt x="5333" y="1765"/>
                      </a:lnTo>
                      <a:lnTo>
                        <a:pt x="5304" y="1701"/>
                      </a:lnTo>
                      <a:lnTo>
                        <a:pt x="5274" y="1639"/>
                      </a:lnTo>
                      <a:lnTo>
                        <a:pt x="5244" y="1577"/>
                      </a:lnTo>
                      <a:lnTo>
                        <a:pt x="5211" y="1517"/>
                      </a:lnTo>
                      <a:lnTo>
                        <a:pt x="5177" y="1458"/>
                      </a:lnTo>
                      <a:lnTo>
                        <a:pt x="5142" y="1399"/>
                      </a:lnTo>
                      <a:lnTo>
                        <a:pt x="5105" y="1341"/>
                      </a:lnTo>
                      <a:lnTo>
                        <a:pt x="5067" y="1284"/>
                      </a:lnTo>
                      <a:lnTo>
                        <a:pt x="5028" y="1228"/>
                      </a:lnTo>
                      <a:lnTo>
                        <a:pt x="4987" y="1173"/>
                      </a:lnTo>
                      <a:lnTo>
                        <a:pt x="4946" y="1119"/>
                      </a:lnTo>
                      <a:lnTo>
                        <a:pt x="4903" y="1066"/>
                      </a:lnTo>
                      <a:lnTo>
                        <a:pt x="4859" y="1014"/>
                      </a:lnTo>
                      <a:lnTo>
                        <a:pt x="4813" y="962"/>
                      </a:lnTo>
                      <a:lnTo>
                        <a:pt x="4766" y="912"/>
                      </a:lnTo>
                      <a:lnTo>
                        <a:pt x="4719" y="864"/>
                      </a:lnTo>
                      <a:lnTo>
                        <a:pt x="4670" y="817"/>
                      </a:lnTo>
                      <a:lnTo>
                        <a:pt x="4620" y="769"/>
                      </a:lnTo>
                      <a:lnTo>
                        <a:pt x="4570" y="724"/>
                      </a:lnTo>
                      <a:lnTo>
                        <a:pt x="4518" y="679"/>
                      </a:lnTo>
                      <a:lnTo>
                        <a:pt x="4465" y="637"/>
                      </a:lnTo>
                      <a:lnTo>
                        <a:pt x="4411" y="594"/>
                      </a:lnTo>
                      <a:lnTo>
                        <a:pt x="4356" y="554"/>
                      </a:lnTo>
                      <a:lnTo>
                        <a:pt x="4300" y="514"/>
                      </a:lnTo>
                      <a:lnTo>
                        <a:pt x="4244" y="476"/>
                      </a:lnTo>
                      <a:lnTo>
                        <a:pt x="4187" y="439"/>
                      </a:lnTo>
                      <a:lnTo>
                        <a:pt x="4128" y="404"/>
                      </a:lnTo>
                      <a:lnTo>
                        <a:pt x="4069" y="370"/>
                      </a:lnTo>
                      <a:lnTo>
                        <a:pt x="4008" y="336"/>
                      </a:lnTo>
                      <a:lnTo>
                        <a:pt x="3946" y="305"/>
                      </a:lnTo>
                      <a:lnTo>
                        <a:pt x="3886" y="275"/>
                      </a:lnTo>
                      <a:lnTo>
                        <a:pt x="3822" y="246"/>
                      </a:lnTo>
                      <a:lnTo>
                        <a:pt x="3759" y="219"/>
                      </a:lnTo>
                      <a:lnTo>
                        <a:pt x="3696" y="193"/>
                      </a:lnTo>
                      <a:lnTo>
                        <a:pt x="3631" y="169"/>
                      </a:lnTo>
                      <a:lnTo>
                        <a:pt x="3566" y="147"/>
                      </a:lnTo>
                      <a:lnTo>
                        <a:pt x="3500" y="125"/>
                      </a:lnTo>
                      <a:lnTo>
                        <a:pt x="3433" y="106"/>
                      </a:lnTo>
                      <a:lnTo>
                        <a:pt x="3365" y="88"/>
                      </a:lnTo>
                      <a:lnTo>
                        <a:pt x="3298" y="72"/>
                      </a:lnTo>
                      <a:lnTo>
                        <a:pt x="3230" y="57"/>
                      </a:lnTo>
                      <a:lnTo>
                        <a:pt x="3160" y="44"/>
                      </a:lnTo>
                      <a:lnTo>
                        <a:pt x="3091" y="32"/>
                      </a:lnTo>
                      <a:lnTo>
                        <a:pt x="3022" y="23"/>
                      </a:lnTo>
                      <a:lnTo>
                        <a:pt x="2951" y="14"/>
                      </a:lnTo>
                      <a:lnTo>
                        <a:pt x="2880" y="9"/>
                      </a:lnTo>
                      <a:lnTo>
                        <a:pt x="2810" y="4"/>
                      </a:lnTo>
                      <a:lnTo>
                        <a:pt x="2737" y="1"/>
                      </a:lnTo>
                      <a:lnTo>
                        <a:pt x="2667" y="0"/>
                      </a:lnTo>
                      <a:lnTo>
                        <a:pt x="2667" y="0"/>
                      </a:lnTo>
                      <a:lnTo>
                        <a:pt x="2599" y="1"/>
                      </a:lnTo>
                      <a:lnTo>
                        <a:pt x="2531" y="4"/>
                      </a:lnTo>
                      <a:lnTo>
                        <a:pt x="2463" y="7"/>
                      </a:lnTo>
                      <a:lnTo>
                        <a:pt x="2397" y="13"/>
                      </a:lnTo>
                      <a:lnTo>
                        <a:pt x="2332" y="20"/>
                      </a:lnTo>
                      <a:lnTo>
                        <a:pt x="2266" y="29"/>
                      </a:lnTo>
                      <a:lnTo>
                        <a:pt x="2201" y="39"/>
                      </a:lnTo>
                      <a:lnTo>
                        <a:pt x="2137" y="51"/>
                      </a:lnTo>
                      <a:lnTo>
                        <a:pt x="2074" y="65"/>
                      </a:lnTo>
                      <a:lnTo>
                        <a:pt x="2011" y="79"/>
                      </a:lnTo>
                      <a:lnTo>
                        <a:pt x="1949" y="94"/>
                      </a:lnTo>
                      <a:lnTo>
                        <a:pt x="1887" y="112"/>
                      </a:lnTo>
                      <a:lnTo>
                        <a:pt x="1825" y="131"/>
                      </a:lnTo>
                      <a:lnTo>
                        <a:pt x="1764" y="152"/>
                      </a:lnTo>
                      <a:lnTo>
                        <a:pt x="1705" y="174"/>
                      </a:lnTo>
                      <a:lnTo>
                        <a:pt x="1646" y="196"/>
                      </a:lnTo>
                      <a:lnTo>
                        <a:pt x="1587" y="221"/>
                      </a:lnTo>
                      <a:lnTo>
                        <a:pt x="1530" y="246"/>
                      </a:lnTo>
                      <a:lnTo>
                        <a:pt x="1474" y="274"/>
                      </a:lnTo>
                      <a:lnTo>
                        <a:pt x="1418" y="302"/>
                      </a:lnTo>
                      <a:lnTo>
                        <a:pt x="1362" y="331"/>
                      </a:lnTo>
                      <a:lnTo>
                        <a:pt x="1307" y="362"/>
                      </a:lnTo>
                      <a:lnTo>
                        <a:pt x="1254" y="393"/>
                      </a:lnTo>
                      <a:lnTo>
                        <a:pt x="1201" y="427"/>
                      </a:lnTo>
                      <a:lnTo>
                        <a:pt x="1150" y="461"/>
                      </a:lnTo>
                      <a:lnTo>
                        <a:pt x="1100" y="497"/>
                      </a:lnTo>
                      <a:lnTo>
                        <a:pt x="1049" y="533"/>
                      </a:lnTo>
                      <a:lnTo>
                        <a:pt x="1001" y="572"/>
                      </a:lnTo>
                      <a:lnTo>
                        <a:pt x="952" y="610"/>
                      </a:lnTo>
                      <a:lnTo>
                        <a:pt x="905" y="651"/>
                      </a:lnTo>
                      <a:lnTo>
                        <a:pt x="859" y="693"/>
                      </a:lnTo>
                      <a:lnTo>
                        <a:pt x="814" y="734"/>
                      </a:lnTo>
                      <a:lnTo>
                        <a:pt x="769" y="778"/>
                      </a:lnTo>
                      <a:lnTo>
                        <a:pt x="727" y="822"/>
                      </a:lnTo>
                      <a:lnTo>
                        <a:pt x="684" y="867"/>
                      </a:lnTo>
                      <a:lnTo>
                        <a:pt x="643" y="914"/>
                      </a:lnTo>
                      <a:lnTo>
                        <a:pt x="603" y="961"/>
                      </a:lnTo>
                      <a:lnTo>
                        <a:pt x="564" y="1008"/>
                      </a:lnTo>
                      <a:lnTo>
                        <a:pt x="526" y="1058"/>
                      </a:lnTo>
                      <a:lnTo>
                        <a:pt x="491" y="1108"/>
                      </a:lnTo>
                      <a:lnTo>
                        <a:pt x="455" y="1159"/>
                      </a:lnTo>
                      <a:lnTo>
                        <a:pt x="420" y="1210"/>
                      </a:lnTo>
                      <a:lnTo>
                        <a:pt x="387" y="1263"/>
                      </a:lnTo>
                      <a:lnTo>
                        <a:pt x="355" y="1316"/>
                      </a:lnTo>
                      <a:lnTo>
                        <a:pt x="326" y="1371"/>
                      </a:lnTo>
                      <a:lnTo>
                        <a:pt x="296" y="1425"/>
                      </a:lnTo>
                      <a:lnTo>
                        <a:pt x="268" y="1481"/>
                      </a:lnTo>
                      <a:lnTo>
                        <a:pt x="240" y="1539"/>
                      </a:lnTo>
                      <a:lnTo>
                        <a:pt x="215" y="1596"/>
                      </a:lnTo>
                      <a:lnTo>
                        <a:pt x="191" y="1654"/>
                      </a:lnTo>
                      <a:lnTo>
                        <a:pt x="168" y="1713"/>
                      </a:lnTo>
                      <a:lnTo>
                        <a:pt x="147" y="1772"/>
                      </a:lnTo>
                      <a:lnTo>
                        <a:pt x="127" y="1832"/>
                      </a:lnTo>
                      <a:lnTo>
                        <a:pt x="107" y="1893"/>
                      </a:lnTo>
                      <a:lnTo>
                        <a:pt x="90" y="1955"/>
                      </a:lnTo>
                      <a:lnTo>
                        <a:pt x="75" y="2017"/>
                      </a:lnTo>
                      <a:lnTo>
                        <a:pt x="60" y="2080"/>
                      </a:lnTo>
                      <a:lnTo>
                        <a:pt x="47" y="2142"/>
                      </a:lnTo>
                      <a:lnTo>
                        <a:pt x="35" y="2207"/>
                      </a:lnTo>
                      <a:lnTo>
                        <a:pt x="25" y="2270"/>
                      </a:lnTo>
                      <a:lnTo>
                        <a:pt x="17" y="2335"/>
                      </a:lnTo>
                      <a:lnTo>
                        <a:pt x="10" y="2401"/>
                      </a:lnTo>
                      <a:lnTo>
                        <a:pt x="4" y="2466"/>
                      </a:lnTo>
                      <a:lnTo>
                        <a:pt x="0" y="2533"/>
                      </a:lnTo>
                      <a:lnTo>
                        <a:pt x="0" y="2533"/>
                      </a:lnTo>
                      <a:lnTo>
                        <a:pt x="65" y="2500"/>
                      </a:lnTo>
                      <a:lnTo>
                        <a:pt x="131" y="2468"/>
                      </a:lnTo>
                      <a:lnTo>
                        <a:pt x="199" y="2438"/>
                      </a:lnTo>
                      <a:lnTo>
                        <a:pt x="267" y="2412"/>
                      </a:lnTo>
                      <a:lnTo>
                        <a:pt x="336" y="2387"/>
                      </a:lnTo>
                      <a:lnTo>
                        <a:pt x="407" y="2363"/>
                      </a:lnTo>
                      <a:lnTo>
                        <a:pt x="477" y="2341"/>
                      </a:lnTo>
                      <a:lnTo>
                        <a:pt x="550" y="2322"/>
                      </a:lnTo>
                      <a:lnTo>
                        <a:pt x="623" y="2304"/>
                      </a:lnTo>
                      <a:lnTo>
                        <a:pt x="697" y="2289"/>
                      </a:lnTo>
                      <a:lnTo>
                        <a:pt x="772" y="2278"/>
                      </a:lnTo>
                      <a:lnTo>
                        <a:pt x="849" y="2266"/>
                      </a:lnTo>
                      <a:lnTo>
                        <a:pt x="926" y="2258"/>
                      </a:lnTo>
                      <a:lnTo>
                        <a:pt x="1002" y="2253"/>
                      </a:lnTo>
                      <a:lnTo>
                        <a:pt x="1080" y="2248"/>
                      </a:lnTo>
                      <a:lnTo>
                        <a:pt x="1160" y="2248"/>
                      </a:lnTo>
                      <a:lnTo>
                        <a:pt x="1160" y="2248"/>
                      </a:lnTo>
                      <a:lnTo>
                        <a:pt x="1226" y="2248"/>
                      </a:lnTo>
                      <a:lnTo>
                        <a:pt x="1291" y="2251"/>
                      </a:lnTo>
                      <a:lnTo>
                        <a:pt x="1358" y="2256"/>
                      </a:lnTo>
                      <a:lnTo>
                        <a:pt x="1422" y="2261"/>
                      </a:lnTo>
                      <a:lnTo>
                        <a:pt x="1486" y="2269"/>
                      </a:lnTo>
                      <a:lnTo>
                        <a:pt x="1551" y="2278"/>
                      </a:lnTo>
                      <a:lnTo>
                        <a:pt x="1614" y="2288"/>
                      </a:lnTo>
                      <a:lnTo>
                        <a:pt x="1677" y="2300"/>
                      </a:lnTo>
                      <a:lnTo>
                        <a:pt x="1741" y="2313"/>
                      </a:lnTo>
                      <a:lnTo>
                        <a:pt x="1803" y="2329"/>
                      </a:lnTo>
                      <a:lnTo>
                        <a:pt x="1865" y="2345"/>
                      </a:lnTo>
                      <a:lnTo>
                        <a:pt x="1925" y="2363"/>
                      </a:lnTo>
                      <a:lnTo>
                        <a:pt x="1987" y="2384"/>
                      </a:lnTo>
                      <a:lnTo>
                        <a:pt x="2046" y="2404"/>
                      </a:lnTo>
                      <a:lnTo>
                        <a:pt x="2106" y="2427"/>
                      </a:lnTo>
                      <a:lnTo>
                        <a:pt x="2164" y="2450"/>
                      </a:lnTo>
                      <a:lnTo>
                        <a:pt x="2223" y="2475"/>
                      </a:lnTo>
                      <a:lnTo>
                        <a:pt x="2280" y="2502"/>
                      </a:lnTo>
                      <a:lnTo>
                        <a:pt x="2336" y="2530"/>
                      </a:lnTo>
                      <a:lnTo>
                        <a:pt x="2392" y="2559"/>
                      </a:lnTo>
                      <a:lnTo>
                        <a:pt x="2448" y="2590"/>
                      </a:lnTo>
                      <a:lnTo>
                        <a:pt x="2503" y="2621"/>
                      </a:lnTo>
                      <a:lnTo>
                        <a:pt x="2556" y="2655"/>
                      </a:lnTo>
                      <a:lnTo>
                        <a:pt x="2609" y="2689"/>
                      </a:lnTo>
                      <a:lnTo>
                        <a:pt x="2662" y="2724"/>
                      </a:lnTo>
                      <a:lnTo>
                        <a:pt x="2712" y="2761"/>
                      </a:lnTo>
                      <a:lnTo>
                        <a:pt x="2764" y="2798"/>
                      </a:lnTo>
                      <a:lnTo>
                        <a:pt x="2813" y="2838"/>
                      </a:lnTo>
                      <a:lnTo>
                        <a:pt x="2861" y="2878"/>
                      </a:lnTo>
                      <a:lnTo>
                        <a:pt x="2910" y="2919"/>
                      </a:lnTo>
                      <a:lnTo>
                        <a:pt x="2956" y="2962"/>
                      </a:lnTo>
                      <a:lnTo>
                        <a:pt x="3001" y="3005"/>
                      </a:lnTo>
                      <a:lnTo>
                        <a:pt x="3047" y="3049"/>
                      </a:lnTo>
                      <a:lnTo>
                        <a:pt x="3090" y="3094"/>
                      </a:lnTo>
                      <a:lnTo>
                        <a:pt x="3132" y="3140"/>
                      </a:lnTo>
                      <a:lnTo>
                        <a:pt x="3175" y="3187"/>
                      </a:lnTo>
                      <a:lnTo>
                        <a:pt x="3215" y="3236"/>
                      </a:lnTo>
                      <a:lnTo>
                        <a:pt x="3255" y="3286"/>
                      </a:lnTo>
                      <a:lnTo>
                        <a:pt x="3293" y="3336"/>
                      </a:lnTo>
                      <a:lnTo>
                        <a:pt x="3330" y="3386"/>
                      </a:lnTo>
                      <a:lnTo>
                        <a:pt x="3367" y="3439"/>
                      </a:lnTo>
                      <a:lnTo>
                        <a:pt x="3402" y="3491"/>
                      </a:lnTo>
                      <a:lnTo>
                        <a:pt x="3435" y="3546"/>
                      </a:lnTo>
                      <a:lnTo>
                        <a:pt x="3467" y="3600"/>
                      </a:lnTo>
                      <a:lnTo>
                        <a:pt x="3500" y="3655"/>
                      </a:lnTo>
                      <a:lnTo>
                        <a:pt x="3529" y="3711"/>
                      </a:lnTo>
                      <a:lnTo>
                        <a:pt x="3557" y="3768"/>
                      </a:lnTo>
                      <a:lnTo>
                        <a:pt x="3585" y="3826"/>
                      </a:lnTo>
                      <a:lnTo>
                        <a:pt x="3612" y="3885"/>
                      </a:lnTo>
                      <a:lnTo>
                        <a:pt x="3635" y="3944"/>
                      </a:lnTo>
                      <a:lnTo>
                        <a:pt x="3659" y="4003"/>
                      </a:lnTo>
                      <a:lnTo>
                        <a:pt x="3681" y="4063"/>
                      </a:lnTo>
                      <a:lnTo>
                        <a:pt x="3702" y="4124"/>
                      </a:lnTo>
                      <a:lnTo>
                        <a:pt x="3721" y="4186"/>
                      </a:lnTo>
                      <a:lnTo>
                        <a:pt x="3738" y="4247"/>
                      </a:lnTo>
                      <a:lnTo>
                        <a:pt x="3755" y="4311"/>
                      </a:lnTo>
                      <a:lnTo>
                        <a:pt x="3769" y="4374"/>
                      </a:lnTo>
                      <a:lnTo>
                        <a:pt x="3783" y="4438"/>
                      </a:lnTo>
                      <a:lnTo>
                        <a:pt x="3794" y="4503"/>
                      </a:lnTo>
                      <a:lnTo>
                        <a:pt x="3805" y="4567"/>
                      </a:lnTo>
                      <a:lnTo>
                        <a:pt x="3814" y="4632"/>
                      </a:lnTo>
                      <a:lnTo>
                        <a:pt x="3819" y="4699"/>
                      </a:lnTo>
                      <a:lnTo>
                        <a:pt x="3825" y="4765"/>
                      </a:lnTo>
                      <a:lnTo>
                        <a:pt x="3828" y="4831"/>
                      </a:lnTo>
                      <a:lnTo>
                        <a:pt x="3828" y="4831"/>
                      </a:lnTo>
                      <a:lnTo>
                        <a:pt x="3831" y="4908"/>
                      </a:lnTo>
                      <a:lnTo>
                        <a:pt x="3831" y="4985"/>
                      </a:lnTo>
                      <a:lnTo>
                        <a:pt x="3828" y="5060"/>
                      </a:lnTo>
                      <a:lnTo>
                        <a:pt x="3824" y="5134"/>
                      </a:lnTo>
                      <a:lnTo>
                        <a:pt x="3818" y="5209"/>
                      </a:lnTo>
                      <a:lnTo>
                        <a:pt x="3809" y="5281"/>
                      </a:lnTo>
                      <a:lnTo>
                        <a:pt x="3799" y="5355"/>
                      </a:lnTo>
                      <a:lnTo>
                        <a:pt x="3786" y="5427"/>
                      </a:lnTo>
                      <a:lnTo>
                        <a:pt x="3786" y="5427"/>
                      </a:lnTo>
                      <a:lnTo>
                        <a:pt x="3836" y="5408"/>
                      </a:lnTo>
                      <a:lnTo>
                        <a:pt x="3886" y="5390"/>
                      </a:lnTo>
                      <a:lnTo>
                        <a:pt x="3936" y="5369"/>
                      </a:lnTo>
                      <a:lnTo>
                        <a:pt x="3985" y="5349"/>
                      </a:lnTo>
                      <a:lnTo>
                        <a:pt x="4033" y="5327"/>
                      </a:lnTo>
                      <a:lnTo>
                        <a:pt x="4082" y="5305"/>
                      </a:lnTo>
                      <a:lnTo>
                        <a:pt x="4129" y="5281"/>
                      </a:lnTo>
                      <a:lnTo>
                        <a:pt x="4176" y="5256"/>
                      </a:lnTo>
                      <a:lnTo>
                        <a:pt x="4223" y="5231"/>
                      </a:lnTo>
                      <a:lnTo>
                        <a:pt x="4269" y="5204"/>
                      </a:lnTo>
                      <a:lnTo>
                        <a:pt x="4313" y="5178"/>
                      </a:lnTo>
                      <a:lnTo>
                        <a:pt x="4358" y="5150"/>
                      </a:lnTo>
                      <a:lnTo>
                        <a:pt x="4402" y="5122"/>
                      </a:lnTo>
                      <a:lnTo>
                        <a:pt x="4446" y="5092"/>
                      </a:lnTo>
                      <a:lnTo>
                        <a:pt x="4489" y="5061"/>
                      </a:lnTo>
                      <a:lnTo>
                        <a:pt x="4530" y="5030"/>
                      </a:lnTo>
                      <a:lnTo>
                        <a:pt x="4571" y="4998"/>
                      </a:lnTo>
                      <a:lnTo>
                        <a:pt x="4613" y="4965"/>
                      </a:lnTo>
                      <a:lnTo>
                        <a:pt x="4652" y="4932"/>
                      </a:lnTo>
                      <a:lnTo>
                        <a:pt x="4691" y="4896"/>
                      </a:lnTo>
                      <a:lnTo>
                        <a:pt x="4731" y="4861"/>
                      </a:lnTo>
                      <a:lnTo>
                        <a:pt x="4767" y="4825"/>
                      </a:lnTo>
                      <a:lnTo>
                        <a:pt x="4804" y="4789"/>
                      </a:lnTo>
                      <a:lnTo>
                        <a:pt x="4841" y="4752"/>
                      </a:lnTo>
                      <a:lnTo>
                        <a:pt x="4876" y="4713"/>
                      </a:lnTo>
                      <a:lnTo>
                        <a:pt x="4912" y="4675"/>
                      </a:lnTo>
                      <a:lnTo>
                        <a:pt x="4946" y="4635"/>
                      </a:lnTo>
                      <a:lnTo>
                        <a:pt x="4980" y="4595"/>
                      </a:lnTo>
                      <a:lnTo>
                        <a:pt x="5012" y="4554"/>
                      </a:lnTo>
                      <a:lnTo>
                        <a:pt x="5043" y="4513"/>
                      </a:lnTo>
                      <a:lnTo>
                        <a:pt x="5074" y="4470"/>
                      </a:lnTo>
                      <a:lnTo>
                        <a:pt x="5105" y="4427"/>
                      </a:lnTo>
                      <a:lnTo>
                        <a:pt x="5134" y="4383"/>
                      </a:lnTo>
                      <a:lnTo>
                        <a:pt x="5162" y="4340"/>
                      </a:lnTo>
                      <a:lnTo>
                        <a:pt x="5190" y="4295"/>
                      </a:lnTo>
                      <a:lnTo>
                        <a:pt x="5217" y="4250"/>
                      </a:lnTo>
                      <a:lnTo>
                        <a:pt x="5242" y="4203"/>
                      </a:lnTo>
                      <a:lnTo>
                        <a:pt x="5267" y="4158"/>
                      </a:lnTo>
                      <a:lnTo>
                        <a:pt x="5292" y="4110"/>
                      </a:lnTo>
                      <a:lnTo>
                        <a:pt x="5314" y="4063"/>
                      </a:lnTo>
                      <a:lnTo>
                        <a:pt x="5336" y="4014"/>
                      </a:lnTo>
                      <a:lnTo>
                        <a:pt x="5359" y="3966"/>
                      </a:lnTo>
                      <a:lnTo>
                        <a:pt x="5379" y="3917"/>
                      </a:lnTo>
                      <a:lnTo>
                        <a:pt x="5398" y="3867"/>
                      </a:lnTo>
                      <a:lnTo>
                        <a:pt x="5416" y="3817"/>
                      </a:lnTo>
                      <a:lnTo>
                        <a:pt x="5434" y="3767"/>
                      </a:lnTo>
                      <a:lnTo>
                        <a:pt x="5450" y="3715"/>
                      </a:lnTo>
                      <a:lnTo>
                        <a:pt x="5466" y="3664"/>
                      </a:lnTo>
                      <a:lnTo>
                        <a:pt x="5481" y="3612"/>
                      </a:lnTo>
                      <a:lnTo>
                        <a:pt x="5494" y="3559"/>
                      </a:lnTo>
                      <a:lnTo>
                        <a:pt x="5506" y="3507"/>
                      </a:lnTo>
                      <a:lnTo>
                        <a:pt x="5518" y="3453"/>
                      </a:lnTo>
                      <a:lnTo>
                        <a:pt x="5528" y="3400"/>
                      </a:lnTo>
                      <a:lnTo>
                        <a:pt x="5537" y="3345"/>
                      </a:lnTo>
                      <a:lnTo>
                        <a:pt x="5546" y="3291"/>
                      </a:lnTo>
                      <a:lnTo>
                        <a:pt x="5553" y="3236"/>
                      </a:lnTo>
                      <a:lnTo>
                        <a:pt x="5559" y="3181"/>
                      </a:lnTo>
                      <a:lnTo>
                        <a:pt x="5563" y="3125"/>
                      </a:lnTo>
                      <a:lnTo>
                        <a:pt x="5568" y="3069"/>
                      </a:lnTo>
                      <a:lnTo>
                        <a:pt x="5571" y="3013"/>
                      </a:lnTo>
                      <a:lnTo>
                        <a:pt x="5572" y="2957"/>
                      </a:lnTo>
                      <a:lnTo>
                        <a:pt x="5572" y="2900"/>
                      </a:lnTo>
                      <a:lnTo>
                        <a:pt x="5571" y="2842"/>
                      </a:lnTo>
                      <a:lnTo>
                        <a:pt x="5569" y="2786"/>
                      </a:lnTo>
                      <a:lnTo>
                        <a:pt x="5569" y="2786"/>
                      </a:lnTo>
                      <a:close/>
                    </a:path>
                  </a:pathLst>
                </a:custGeom>
                <a:gradFill flip="none" rotWithShape="1">
                  <a:gsLst>
                    <a:gs pos="45000">
                      <a:schemeClr val="accent4">
                        <a:lumMod val="75000"/>
                      </a:schemeClr>
                    </a:gs>
                    <a:gs pos="100000">
                      <a:schemeClr val="accent4">
                        <a:lumMod val="60000"/>
                        <a:lumOff val="40000"/>
                      </a:schemeClr>
                    </a:gs>
                    <a:gs pos="30000">
                      <a:schemeClr val="accent4">
                        <a:lumMod val="50000"/>
                      </a:schemeClr>
                    </a:gs>
                    <a:gs pos="83000">
                      <a:schemeClr val="accent4">
                        <a:lumMod val="75000"/>
                      </a:schemeClr>
                    </a:gs>
                    <a:gs pos="55000">
                      <a:schemeClr val="accent4">
                        <a:lumMod val="50000"/>
                      </a:schemeClr>
                    </a:gs>
                    <a:gs pos="69000">
                      <a:schemeClr val="accent4">
                        <a:lumMod val="50000"/>
                      </a:schemeClr>
                    </a:gs>
                  </a:gsLst>
                  <a:lin ang="27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77" name="Freeform 10">
                  <a:extLst>
                    <a:ext uri="{FF2B5EF4-FFF2-40B4-BE49-F238E27FC236}">
                      <a16:creationId xmlns:a16="http://schemas.microsoft.com/office/drawing/2014/main" xmlns="" id="{87CE0D39-1238-C946-8C1E-99B8AC872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42325" y="1582738"/>
                  <a:ext cx="2017713" cy="1719263"/>
                </a:xfrm>
                <a:custGeom>
                  <a:avLst/>
                  <a:gdLst/>
                  <a:ahLst/>
                  <a:cxnLst>
                    <a:cxn ang="0">
                      <a:pos x="3757" y="3095"/>
                    </a:cxn>
                    <a:cxn ang="0">
                      <a:pos x="3794" y="3057"/>
                    </a:cxn>
                    <a:cxn ang="0">
                      <a:pos x="3810" y="3002"/>
                    </a:cxn>
                    <a:cxn ang="0">
                      <a:pos x="3809" y="2896"/>
                    </a:cxn>
                    <a:cxn ang="0">
                      <a:pos x="3774" y="2695"/>
                    </a:cxn>
                    <a:cxn ang="0">
                      <a:pos x="3759" y="2585"/>
                    </a:cxn>
                    <a:cxn ang="0">
                      <a:pos x="3735" y="2321"/>
                    </a:cxn>
                    <a:cxn ang="0">
                      <a:pos x="3685" y="2064"/>
                    </a:cxn>
                    <a:cxn ang="0">
                      <a:pos x="3611" y="1817"/>
                    </a:cxn>
                    <a:cxn ang="0">
                      <a:pos x="3516" y="1579"/>
                    </a:cxn>
                    <a:cxn ang="0">
                      <a:pos x="3399" y="1354"/>
                    </a:cxn>
                    <a:cxn ang="0">
                      <a:pos x="3261" y="1140"/>
                    </a:cxn>
                    <a:cxn ang="0">
                      <a:pos x="3106" y="941"/>
                    </a:cxn>
                    <a:cxn ang="0">
                      <a:pos x="2932" y="758"/>
                    </a:cxn>
                    <a:cxn ang="0">
                      <a:pos x="2743" y="591"/>
                    </a:cxn>
                    <a:cxn ang="0">
                      <a:pos x="2540" y="442"/>
                    </a:cxn>
                    <a:cxn ang="0">
                      <a:pos x="2323" y="313"/>
                    </a:cxn>
                    <a:cxn ang="0">
                      <a:pos x="2096" y="204"/>
                    </a:cxn>
                    <a:cxn ang="0">
                      <a:pos x="1857" y="117"/>
                    </a:cxn>
                    <a:cxn ang="0">
                      <a:pos x="1608" y="53"/>
                    </a:cxn>
                    <a:cxn ang="0">
                      <a:pos x="1353" y="15"/>
                    </a:cxn>
                    <a:cxn ang="0">
                      <a:pos x="1091" y="0"/>
                    </a:cxn>
                    <a:cxn ang="0">
                      <a:pos x="902" y="7"/>
                    </a:cxn>
                    <a:cxn ang="0">
                      <a:pos x="676" y="31"/>
                    </a:cxn>
                    <a:cxn ang="0">
                      <a:pos x="480" y="69"/>
                    </a:cxn>
                    <a:cxn ang="0">
                      <a:pos x="216" y="149"/>
                    </a:cxn>
                    <a:cxn ang="0">
                      <a:pos x="41" y="229"/>
                    </a:cxn>
                    <a:cxn ang="0">
                      <a:pos x="1" y="308"/>
                    </a:cxn>
                    <a:cxn ang="0">
                      <a:pos x="37" y="667"/>
                    </a:cxn>
                    <a:cxn ang="0">
                      <a:pos x="95" y="972"/>
                    </a:cxn>
                    <a:cxn ang="0">
                      <a:pos x="166" y="1246"/>
                    </a:cxn>
                    <a:cxn ang="0">
                      <a:pos x="265" y="1536"/>
                    </a:cxn>
                    <a:cxn ang="0">
                      <a:pos x="395" y="1833"/>
                    </a:cxn>
                    <a:cxn ang="0">
                      <a:pos x="560" y="2125"/>
                    </a:cxn>
                    <a:cxn ang="0">
                      <a:pos x="762" y="2403"/>
                    </a:cxn>
                    <a:cxn ang="0">
                      <a:pos x="1007" y="2658"/>
                    </a:cxn>
                    <a:cxn ang="0">
                      <a:pos x="1145" y="2775"/>
                    </a:cxn>
                    <a:cxn ang="0">
                      <a:pos x="1297" y="2881"/>
                    </a:cxn>
                    <a:cxn ang="0">
                      <a:pos x="1461" y="2975"/>
                    </a:cxn>
                    <a:cxn ang="0">
                      <a:pos x="1637" y="3059"/>
                    </a:cxn>
                    <a:cxn ang="0">
                      <a:pos x="1828" y="3129"/>
                    </a:cxn>
                    <a:cxn ang="0">
                      <a:pos x="2031" y="3185"/>
                    </a:cxn>
                    <a:cxn ang="0">
                      <a:pos x="2249" y="3223"/>
                    </a:cxn>
                    <a:cxn ang="0">
                      <a:pos x="2484" y="3247"/>
                    </a:cxn>
                    <a:cxn ang="0">
                      <a:pos x="2731" y="3251"/>
                    </a:cxn>
                    <a:cxn ang="0">
                      <a:pos x="2997" y="3236"/>
                    </a:cxn>
                    <a:cxn ang="0">
                      <a:pos x="3277" y="3201"/>
                    </a:cxn>
                    <a:cxn ang="0">
                      <a:pos x="3575" y="3144"/>
                    </a:cxn>
                  </a:cxnLst>
                  <a:rect l="0" t="0" r="r" b="b"/>
                  <a:pathLst>
                    <a:path w="3813" h="3251">
                      <a:moveTo>
                        <a:pt x="3729" y="3105"/>
                      </a:moveTo>
                      <a:lnTo>
                        <a:pt x="3729" y="3105"/>
                      </a:lnTo>
                      <a:lnTo>
                        <a:pt x="3744" y="3101"/>
                      </a:lnTo>
                      <a:lnTo>
                        <a:pt x="3757" y="3095"/>
                      </a:lnTo>
                      <a:lnTo>
                        <a:pt x="3768" y="3087"/>
                      </a:lnTo>
                      <a:lnTo>
                        <a:pt x="3778" y="3079"/>
                      </a:lnTo>
                      <a:lnTo>
                        <a:pt x="3787" y="3068"/>
                      </a:lnTo>
                      <a:lnTo>
                        <a:pt x="3794" y="3057"/>
                      </a:lnTo>
                      <a:lnTo>
                        <a:pt x="3800" y="3045"/>
                      </a:lnTo>
                      <a:lnTo>
                        <a:pt x="3805" y="3031"/>
                      </a:lnTo>
                      <a:lnTo>
                        <a:pt x="3809" y="3017"/>
                      </a:lnTo>
                      <a:lnTo>
                        <a:pt x="3810" y="3002"/>
                      </a:lnTo>
                      <a:lnTo>
                        <a:pt x="3812" y="2986"/>
                      </a:lnTo>
                      <a:lnTo>
                        <a:pt x="3813" y="2970"/>
                      </a:lnTo>
                      <a:lnTo>
                        <a:pt x="3812" y="2934"/>
                      </a:lnTo>
                      <a:lnTo>
                        <a:pt x="3809" y="2896"/>
                      </a:lnTo>
                      <a:lnTo>
                        <a:pt x="3803" y="2857"/>
                      </a:lnTo>
                      <a:lnTo>
                        <a:pt x="3797" y="2816"/>
                      </a:lnTo>
                      <a:lnTo>
                        <a:pt x="3781" y="2735"/>
                      </a:lnTo>
                      <a:lnTo>
                        <a:pt x="3774" y="2695"/>
                      </a:lnTo>
                      <a:lnTo>
                        <a:pt x="3768" y="2657"/>
                      </a:lnTo>
                      <a:lnTo>
                        <a:pt x="3762" y="2620"/>
                      </a:lnTo>
                      <a:lnTo>
                        <a:pt x="3759" y="2585"/>
                      </a:lnTo>
                      <a:lnTo>
                        <a:pt x="3759" y="2585"/>
                      </a:lnTo>
                      <a:lnTo>
                        <a:pt x="3756" y="2518"/>
                      </a:lnTo>
                      <a:lnTo>
                        <a:pt x="3750" y="2452"/>
                      </a:lnTo>
                      <a:lnTo>
                        <a:pt x="3744" y="2386"/>
                      </a:lnTo>
                      <a:lnTo>
                        <a:pt x="3735" y="2321"/>
                      </a:lnTo>
                      <a:lnTo>
                        <a:pt x="3725" y="2256"/>
                      </a:lnTo>
                      <a:lnTo>
                        <a:pt x="3713" y="2191"/>
                      </a:lnTo>
                      <a:lnTo>
                        <a:pt x="3700" y="2128"/>
                      </a:lnTo>
                      <a:lnTo>
                        <a:pt x="3685" y="2064"/>
                      </a:lnTo>
                      <a:lnTo>
                        <a:pt x="3669" y="2001"/>
                      </a:lnTo>
                      <a:lnTo>
                        <a:pt x="3651" y="1939"/>
                      </a:lnTo>
                      <a:lnTo>
                        <a:pt x="3632" y="1877"/>
                      </a:lnTo>
                      <a:lnTo>
                        <a:pt x="3611" y="1817"/>
                      </a:lnTo>
                      <a:lnTo>
                        <a:pt x="3589" y="1756"/>
                      </a:lnTo>
                      <a:lnTo>
                        <a:pt x="3567" y="1696"/>
                      </a:lnTo>
                      <a:lnTo>
                        <a:pt x="3542" y="1637"/>
                      </a:lnTo>
                      <a:lnTo>
                        <a:pt x="3516" y="1579"/>
                      </a:lnTo>
                      <a:lnTo>
                        <a:pt x="3489" y="1522"/>
                      </a:lnTo>
                      <a:lnTo>
                        <a:pt x="3460" y="1464"/>
                      </a:lnTo>
                      <a:lnTo>
                        <a:pt x="3430" y="1408"/>
                      </a:lnTo>
                      <a:lnTo>
                        <a:pt x="3399" y="1354"/>
                      </a:lnTo>
                      <a:lnTo>
                        <a:pt x="3365" y="1299"/>
                      </a:lnTo>
                      <a:lnTo>
                        <a:pt x="3333" y="1244"/>
                      </a:lnTo>
                      <a:lnTo>
                        <a:pt x="3297" y="1191"/>
                      </a:lnTo>
                      <a:lnTo>
                        <a:pt x="3261" y="1140"/>
                      </a:lnTo>
                      <a:lnTo>
                        <a:pt x="3224" y="1090"/>
                      </a:lnTo>
                      <a:lnTo>
                        <a:pt x="3185" y="1038"/>
                      </a:lnTo>
                      <a:lnTo>
                        <a:pt x="3146" y="989"/>
                      </a:lnTo>
                      <a:lnTo>
                        <a:pt x="3106" y="941"/>
                      </a:lnTo>
                      <a:lnTo>
                        <a:pt x="3063" y="894"/>
                      </a:lnTo>
                      <a:lnTo>
                        <a:pt x="3020" y="848"/>
                      </a:lnTo>
                      <a:lnTo>
                        <a:pt x="2978" y="802"/>
                      </a:lnTo>
                      <a:lnTo>
                        <a:pt x="2932" y="758"/>
                      </a:lnTo>
                      <a:lnTo>
                        <a:pt x="2886" y="714"/>
                      </a:lnTo>
                      <a:lnTo>
                        <a:pt x="2840" y="672"/>
                      </a:lnTo>
                      <a:lnTo>
                        <a:pt x="2792" y="631"/>
                      </a:lnTo>
                      <a:lnTo>
                        <a:pt x="2743" y="591"/>
                      </a:lnTo>
                      <a:lnTo>
                        <a:pt x="2695" y="552"/>
                      </a:lnTo>
                      <a:lnTo>
                        <a:pt x="2644" y="515"/>
                      </a:lnTo>
                      <a:lnTo>
                        <a:pt x="2593" y="478"/>
                      </a:lnTo>
                      <a:lnTo>
                        <a:pt x="2540" y="442"/>
                      </a:lnTo>
                      <a:lnTo>
                        <a:pt x="2487" y="408"/>
                      </a:lnTo>
                      <a:lnTo>
                        <a:pt x="2434" y="375"/>
                      </a:lnTo>
                      <a:lnTo>
                        <a:pt x="2379" y="344"/>
                      </a:lnTo>
                      <a:lnTo>
                        <a:pt x="2323" y="313"/>
                      </a:lnTo>
                      <a:lnTo>
                        <a:pt x="2267" y="283"/>
                      </a:lnTo>
                      <a:lnTo>
                        <a:pt x="2211" y="255"/>
                      </a:lnTo>
                      <a:lnTo>
                        <a:pt x="2153" y="229"/>
                      </a:lnTo>
                      <a:lnTo>
                        <a:pt x="2096" y="204"/>
                      </a:lnTo>
                      <a:lnTo>
                        <a:pt x="2037" y="180"/>
                      </a:lnTo>
                      <a:lnTo>
                        <a:pt x="1977" y="158"/>
                      </a:lnTo>
                      <a:lnTo>
                        <a:pt x="1918" y="137"/>
                      </a:lnTo>
                      <a:lnTo>
                        <a:pt x="1857" y="117"/>
                      </a:lnTo>
                      <a:lnTo>
                        <a:pt x="1795" y="99"/>
                      </a:lnTo>
                      <a:lnTo>
                        <a:pt x="1733" y="83"/>
                      </a:lnTo>
                      <a:lnTo>
                        <a:pt x="1671" y="66"/>
                      </a:lnTo>
                      <a:lnTo>
                        <a:pt x="1608" y="53"/>
                      </a:lnTo>
                      <a:lnTo>
                        <a:pt x="1545" y="41"/>
                      </a:lnTo>
                      <a:lnTo>
                        <a:pt x="1481" y="31"/>
                      </a:lnTo>
                      <a:lnTo>
                        <a:pt x="1418" y="22"/>
                      </a:lnTo>
                      <a:lnTo>
                        <a:pt x="1353" y="15"/>
                      </a:lnTo>
                      <a:lnTo>
                        <a:pt x="1288" y="9"/>
                      </a:lnTo>
                      <a:lnTo>
                        <a:pt x="1222" y="5"/>
                      </a:lnTo>
                      <a:lnTo>
                        <a:pt x="1157" y="2"/>
                      </a:lnTo>
                      <a:lnTo>
                        <a:pt x="1091" y="0"/>
                      </a:lnTo>
                      <a:lnTo>
                        <a:pt x="1091" y="0"/>
                      </a:lnTo>
                      <a:lnTo>
                        <a:pt x="1026" y="2"/>
                      </a:lnTo>
                      <a:lnTo>
                        <a:pt x="962" y="3"/>
                      </a:lnTo>
                      <a:lnTo>
                        <a:pt x="902" y="7"/>
                      </a:lnTo>
                      <a:lnTo>
                        <a:pt x="841" y="12"/>
                      </a:lnTo>
                      <a:lnTo>
                        <a:pt x="785" y="18"/>
                      </a:lnTo>
                      <a:lnTo>
                        <a:pt x="729" y="24"/>
                      </a:lnTo>
                      <a:lnTo>
                        <a:pt x="676" y="31"/>
                      </a:lnTo>
                      <a:lnTo>
                        <a:pt x="625" y="40"/>
                      </a:lnTo>
                      <a:lnTo>
                        <a:pt x="575" y="49"/>
                      </a:lnTo>
                      <a:lnTo>
                        <a:pt x="527" y="59"/>
                      </a:lnTo>
                      <a:lnTo>
                        <a:pt x="480" y="69"/>
                      </a:lnTo>
                      <a:lnTo>
                        <a:pt x="437" y="80"/>
                      </a:lnTo>
                      <a:lnTo>
                        <a:pt x="355" y="103"/>
                      </a:lnTo>
                      <a:lnTo>
                        <a:pt x="283" y="125"/>
                      </a:lnTo>
                      <a:lnTo>
                        <a:pt x="216" y="149"/>
                      </a:lnTo>
                      <a:lnTo>
                        <a:pt x="160" y="173"/>
                      </a:lnTo>
                      <a:lnTo>
                        <a:pt x="112" y="193"/>
                      </a:lnTo>
                      <a:lnTo>
                        <a:pt x="72" y="212"/>
                      </a:lnTo>
                      <a:lnTo>
                        <a:pt x="41" y="229"/>
                      </a:lnTo>
                      <a:lnTo>
                        <a:pt x="17" y="240"/>
                      </a:lnTo>
                      <a:lnTo>
                        <a:pt x="0" y="251"/>
                      </a:lnTo>
                      <a:lnTo>
                        <a:pt x="0" y="251"/>
                      </a:lnTo>
                      <a:lnTo>
                        <a:pt x="1" y="308"/>
                      </a:lnTo>
                      <a:lnTo>
                        <a:pt x="6" y="379"/>
                      </a:lnTo>
                      <a:lnTo>
                        <a:pt x="11" y="463"/>
                      </a:lnTo>
                      <a:lnTo>
                        <a:pt x="23" y="559"/>
                      </a:lnTo>
                      <a:lnTo>
                        <a:pt x="37" y="667"/>
                      </a:lnTo>
                      <a:lnTo>
                        <a:pt x="57" y="782"/>
                      </a:lnTo>
                      <a:lnTo>
                        <a:pt x="67" y="843"/>
                      </a:lnTo>
                      <a:lnTo>
                        <a:pt x="81" y="907"/>
                      </a:lnTo>
                      <a:lnTo>
                        <a:pt x="95" y="972"/>
                      </a:lnTo>
                      <a:lnTo>
                        <a:pt x="110" y="1038"/>
                      </a:lnTo>
                      <a:lnTo>
                        <a:pt x="128" y="1106"/>
                      </a:lnTo>
                      <a:lnTo>
                        <a:pt x="147" y="1175"/>
                      </a:lnTo>
                      <a:lnTo>
                        <a:pt x="166" y="1246"/>
                      </a:lnTo>
                      <a:lnTo>
                        <a:pt x="188" y="1318"/>
                      </a:lnTo>
                      <a:lnTo>
                        <a:pt x="212" y="1390"/>
                      </a:lnTo>
                      <a:lnTo>
                        <a:pt x="238" y="1463"/>
                      </a:lnTo>
                      <a:lnTo>
                        <a:pt x="265" y="1536"/>
                      </a:lnTo>
                      <a:lnTo>
                        <a:pt x="294" y="1610"/>
                      </a:lnTo>
                      <a:lnTo>
                        <a:pt x="327" y="1684"/>
                      </a:lnTo>
                      <a:lnTo>
                        <a:pt x="359" y="1759"/>
                      </a:lnTo>
                      <a:lnTo>
                        <a:pt x="395" y="1833"/>
                      </a:lnTo>
                      <a:lnTo>
                        <a:pt x="433" y="1906"/>
                      </a:lnTo>
                      <a:lnTo>
                        <a:pt x="473" y="1980"/>
                      </a:lnTo>
                      <a:lnTo>
                        <a:pt x="514" y="2052"/>
                      </a:lnTo>
                      <a:lnTo>
                        <a:pt x="560" y="2125"/>
                      </a:lnTo>
                      <a:lnTo>
                        <a:pt x="606" y="2197"/>
                      </a:lnTo>
                      <a:lnTo>
                        <a:pt x="656" y="2266"/>
                      </a:lnTo>
                      <a:lnTo>
                        <a:pt x="707" y="2336"/>
                      </a:lnTo>
                      <a:lnTo>
                        <a:pt x="762" y="2403"/>
                      </a:lnTo>
                      <a:lnTo>
                        <a:pt x="819" y="2470"/>
                      </a:lnTo>
                      <a:lnTo>
                        <a:pt x="878" y="2535"/>
                      </a:lnTo>
                      <a:lnTo>
                        <a:pt x="940" y="2598"/>
                      </a:lnTo>
                      <a:lnTo>
                        <a:pt x="1007" y="2658"/>
                      </a:lnTo>
                      <a:lnTo>
                        <a:pt x="1040" y="2688"/>
                      </a:lnTo>
                      <a:lnTo>
                        <a:pt x="1074" y="2717"/>
                      </a:lnTo>
                      <a:lnTo>
                        <a:pt x="1110" y="2747"/>
                      </a:lnTo>
                      <a:lnTo>
                        <a:pt x="1145" y="2775"/>
                      </a:lnTo>
                      <a:lnTo>
                        <a:pt x="1182" y="2801"/>
                      </a:lnTo>
                      <a:lnTo>
                        <a:pt x="1220" y="2829"/>
                      </a:lnTo>
                      <a:lnTo>
                        <a:pt x="1257" y="2855"/>
                      </a:lnTo>
                      <a:lnTo>
                        <a:pt x="1297" y="2881"/>
                      </a:lnTo>
                      <a:lnTo>
                        <a:pt x="1337" y="2905"/>
                      </a:lnTo>
                      <a:lnTo>
                        <a:pt x="1377" y="2930"/>
                      </a:lnTo>
                      <a:lnTo>
                        <a:pt x="1418" y="2953"/>
                      </a:lnTo>
                      <a:lnTo>
                        <a:pt x="1461" y="2975"/>
                      </a:lnTo>
                      <a:lnTo>
                        <a:pt x="1503" y="2998"/>
                      </a:lnTo>
                      <a:lnTo>
                        <a:pt x="1548" y="3018"/>
                      </a:lnTo>
                      <a:lnTo>
                        <a:pt x="1592" y="3039"/>
                      </a:lnTo>
                      <a:lnTo>
                        <a:pt x="1637" y="3059"/>
                      </a:lnTo>
                      <a:lnTo>
                        <a:pt x="1683" y="3077"/>
                      </a:lnTo>
                      <a:lnTo>
                        <a:pt x="1730" y="3095"/>
                      </a:lnTo>
                      <a:lnTo>
                        <a:pt x="1779" y="3113"/>
                      </a:lnTo>
                      <a:lnTo>
                        <a:pt x="1828" y="3129"/>
                      </a:lnTo>
                      <a:lnTo>
                        <a:pt x="1878" y="3144"/>
                      </a:lnTo>
                      <a:lnTo>
                        <a:pt x="1928" y="3158"/>
                      </a:lnTo>
                      <a:lnTo>
                        <a:pt x="1980" y="3172"/>
                      </a:lnTo>
                      <a:lnTo>
                        <a:pt x="2031" y="3185"/>
                      </a:lnTo>
                      <a:lnTo>
                        <a:pt x="2084" y="3195"/>
                      </a:lnTo>
                      <a:lnTo>
                        <a:pt x="2139" y="3205"/>
                      </a:lnTo>
                      <a:lnTo>
                        <a:pt x="2193" y="3216"/>
                      </a:lnTo>
                      <a:lnTo>
                        <a:pt x="2249" y="3223"/>
                      </a:lnTo>
                      <a:lnTo>
                        <a:pt x="2307" y="3231"/>
                      </a:lnTo>
                      <a:lnTo>
                        <a:pt x="2364" y="3238"/>
                      </a:lnTo>
                      <a:lnTo>
                        <a:pt x="2423" y="3242"/>
                      </a:lnTo>
                      <a:lnTo>
                        <a:pt x="2484" y="3247"/>
                      </a:lnTo>
                      <a:lnTo>
                        <a:pt x="2544" y="3250"/>
                      </a:lnTo>
                      <a:lnTo>
                        <a:pt x="2606" y="3251"/>
                      </a:lnTo>
                      <a:lnTo>
                        <a:pt x="2668" y="3251"/>
                      </a:lnTo>
                      <a:lnTo>
                        <a:pt x="2731" y="3251"/>
                      </a:lnTo>
                      <a:lnTo>
                        <a:pt x="2796" y="3250"/>
                      </a:lnTo>
                      <a:lnTo>
                        <a:pt x="2863" y="3247"/>
                      </a:lnTo>
                      <a:lnTo>
                        <a:pt x="2929" y="3242"/>
                      </a:lnTo>
                      <a:lnTo>
                        <a:pt x="2997" y="3236"/>
                      </a:lnTo>
                      <a:lnTo>
                        <a:pt x="3065" y="3229"/>
                      </a:lnTo>
                      <a:lnTo>
                        <a:pt x="3134" y="3220"/>
                      </a:lnTo>
                      <a:lnTo>
                        <a:pt x="3205" y="3211"/>
                      </a:lnTo>
                      <a:lnTo>
                        <a:pt x="3277" y="3201"/>
                      </a:lnTo>
                      <a:lnTo>
                        <a:pt x="3349" y="3188"/>
                      </a:lnTo>
                      <a:lnTo>
                        <a:pt x="3423" y="3174"/>
                      </a:lnTo>
                      <a:lnTo>
                        <a:pt x="3498" y="3160"/>
                      </a:lnTo>
                      <a:lnTo>
                        <a:pt x="3575" y="3144"/>
                      </a:lnTo>
                      <a:lnTo>
                        <a:pt x="3651" y="3124"/>
                      </a:lnTo>
                      <a:lnTo>
                        <a:pt x="3729" y="3105"/>
                      </a:lnTo>
                      <a:lnTo>
                        <a:pt x="3729" y="3105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accent4">
                        <a:lumMod val="60000"/>
                        <a:lumOff val="40000"/>
                      </a:schemeClr>
                    </a:gs>
                    <a:gs pos="3000">
                      <a:schemeClr val="accent4">
                        <a:lumMod val="5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11">
                  <a:extLst>
                    <a:ext uri="{FF2B5EF4-FFF2-40B4-BE49-F238E27FC236}">
                      <a16:creationId xmlns:a16="http://schemas.microsoft.com/office/drawing/2014/main" xmlns="" id="{723799E8-B520-CE48-9762-4AD3940135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9550" y="862013"/>
                  <a:ext cx="3157538" cy="3313113"/>
                </a:xfrm>
                <a:custGeom>
                  <a:avLst/>
                  <a:gdLst/>
                  <a:ahLst/>
                  <a:cxnLst>
                    <a:cxn ang="0">
                      <a:pos x="4176" y="5653"/>
                    </a:cxn>
                    <a:cxn ang="0">
                      <a:pos x="3948" y="5836"/>
                    </a:cxn>
                    <a:cxn ang="0">
                      <a:pos x="3697" y="5989"/>
                    </a:cxn>
                    <a:cxn ang="0">
                      <a:pos x="3426" y="6110"/>
                    </a:cxn>
                    <a:cxn ang="0">
                      <a:pos x="3137" y="6199"/>
                    </a:cxn>
                    <a:cxn ang="0">
                      <a:pos x="2832" y="6249"/>
                    </a:cxn>
                    <a:cxn ang="0">
                      <a:pos x="2578" y="6262"/>
                    </a:cxn>
                    <a:cxn ang="0">
                      <a:pos x="2263" y="6243"/>
                    </a:cxn>
                    <a:cxn ang="0">
                      <a:pos x="1958" y="6184"/>
                    </a:cxn>
                    <a:cxn ang="0">
                      <a:pos x="1666" y="6091"/>
                    </a:cxn>
                    <a:cxn ang="0">
                      <a:pos x="1389" y="5964"/>
                    </a:cxn>
                    <a:cxn ang="0">
                      <a:pos x="1129" y="5806"/>
                    </a:cxn>
                    <a:cxn ang="0">
                      <a:pos x="890" y="5621"/>
                    </a:cxn>
                    <a:cxn ang="0">
                      <a:pos x="674" y="5408"/>
                    </a:cxn>
                    <a:cxn ang="0">
                      <a:pos x="484" y="5172"/>
                    </a:cxn>
                    <a:cxn ang="0">
                      <a:pos x="320" y="4916"/>
                    </a:cxn>
                    <a:cxn ang="0">
                      <a:pos x="189" y="4640"/>
                    </a:cxn>
                    <a:cxn ang="0">
                      <a:pos x="90" y="4348"/>
                    </a:cxn>
                    <a:cxn ang="0">
                      <a:pos x="25" y="4043"/>
                    </a:cxn>
                    <a:cxn ang="0">
                      <a:pos x="3" y="3791"/>
                    </a:cxn>
                    <a:cxn ang="0">
                      <a:pos x="9" y="3521"/>
                    </a:cxn>
                    <a:cxn ang="0">
                      <a:pos x="47" y="3263"/>
                    </a:cxn>
                    <a:cxn ang="0">
                      <a:pos x="113" y="3017"/>
                    </a:cxn>
                    <a:cxn ang="0">
                      <a:pos x="245" y="2686"/>
                    </a:cxn>
                    <a:cxn ang="0">
                      <a:pos x="485" y="2237"/>
                    </a:cxn>
                    <a:cxn ang="0">
                      <a:pos x="1589" y="146"/>
                    </a:cxn>
                    <a:cxn ang="0">
                      <a:pos x="1418" y="406"/>
                    </a:cxn>
                    <a:cxn ang="0">
                      <a:pos x="1277" y="684"/>
                    </a:cxn>
                    <a:cxn ang="0">
                      <a:pos x="1168" y="984"/>
                    </a:cxn>
                    <a:cxn ang="0">
                      <a:pos x="1095" y="1296"/>
                    </a:cxn>
                    <a:cxn ang="0">
                      <a:pos x="1058" y="1623"/>
                    </a:cxn>
                    <a:cxn ang="0">
                      <a:pos x="1057" y="1893"/>
                    </a:cxn>
                    <a:cxn ang="0">
                      <a:pos x="1095" y="2253"/>
                    </a:cxn>
                    <a:cxn ang="0">
                      <a:pos x="1175" y="2599"/>
                    </a:cxn>
                    <a:cxn ang="0">
                      <a:pos x="1296" y="2928"/>
                    </a:cxn>
                    <a:cxn ang="0">
                      <a:pos x="1455" y="3238"/>
                    </a:cxn>
                    <a:cxn ang="0">
                      <a:pos x="1647" y="3527"/>
                    </a:cxn>
                    <a:cxn ang="0">
                      <a:pos x="1871" y="3791"/>
                    </a:cxn>
                    <a:cxn ang="0">
                      <a:pos x="2123" y="4027"/>
                    </a:cxn>
                    <a:cxn ang="0">
                      <a:pos x="2400" y="4233"/>
                    </a:cxn>
                    <a:cxn ang="0">
                      <a:pos x="2701" y="4406"/>
                    </a:cxn>
                    <a:cxn ang="0">
                      <a:pos x="3021" y="4544"/>
                    </a:cxn>
                    <a:cxn ang="0">
                      <a:pos x="3357" y="4643"/>
                    </a:cxn>
                    <a:cxn ang="0">
                      <a:pos x="3708" y="4701"/>
                    </a:cxn>
                    <a:cxn ang="0">
                      <a:pos x="3997" y="4715"/>
                    </a:cxn>
                    <a:cxn ang="0">
                      <a:pos x="4358" y="4692"/>
                    </a:cxn>
                    <a:cxn ang="0">
                      <a:pos x="4701" y="4625"/>
                    </a:cxn>
                    <a:cxn ang="0">
                      <a:pos x="5028" y="4518"/>
                    </a:cxn>
                    <a:cxn ang="0">
                      <a:pos x="5334" y="4372"/>
                    </a:cxn>
                    <a:cxn ang="0">
                      <a:pos x="5615" y="4189"/>
                    </a:cxn>
                    <a:cxn ang="0">
                      <a:pos x="5870" y="3975"/>
                    </a:cxn>
                  </a:cxnLst>
                  <a:rect l="0" t="0" r="r" b="b"/>
                  <a:pathLst>
                    <a:path w="5965" h="6262">
                      <a:moveTo>
                        <a:pt x="4302" y="5531"/>
                      </a:moveTo>
                      <a:lnTo>
                        <a:pt x="4302" y="5531"/>
                      </a:lnTo>
                      <a:lnTo>
                        <a:pt x="4262" y="5573"/>
                      </a:lnTo>
                      <a:lnTo>
                        <a:pt x="4219" y="5613"/>
                      </a:lnTo>
                      <a:lnTo>
                        <a:pt x="4176" y="5653"/>
                      </a:lnTo>
                      <a:lnTo>
                        <a:pt x="4134" y="5693"/>
                      </a:lnTo>
                      <a:lnTo>
                        <a:pt x="4088" y="5730"/>
                      </a:lnTo>
                      <a:lnTo>
                        <a:pt x="4042" y="5767"/>
                      </a:lnTo>
                      <a:lnTo>
                        <a:pt x="3997" y="5802"/>
                      </a:lnTo>
                      <a:lnTo>
                        <a:pt x="3948" y="5836"/>
                      </a:lnTo>
                      <a:lnTo>
                        <a:pt x="3899" y="5868"/>
                      </a:lnTo>
                      <a:lnTo>
                        <a:pt x="3851" y="5901"/>
                      </a:lnTo>
                      <a:lnTo>
                        <a:pt x="3800" y="5932"/>
                      </a:lnTo>
                      <a:lnTo>
                        <a:pt x="3749" y="5961"/>
                      </a:lnTo>
                      <a:lnTo>
                        <a:pt x="3697" y="5989"/>
                      </a:lnTo>
                      <a:lnTo>
                        <a:pt x="3644" y="6016"/>
                      </a:lnTo>
                      <a:lnTo>
                        <a:pt x="3591" y="6041"/>
                      </a:lnTo>
                      <a:lnTo>
                        <a:pt x="3537" y="6066"/>
                      </a:lnTo>
                      <a:lnTo>
                        <a:pt x="3482" y="6089"/>
                      </a:lnTo>
                      <a:lnTo>
                        <a:pt x="3426" y="6110"/>
                      </a:lnTo>
                      <a:lnTo>
                        <a:pt x="3370" y="6131"/>
                      </a:lnTo>
                      <a:lnTo>
                        <a:pt x="3313" y="6150"/>
                      </a:lnTo>
                      <a:lnTo>
                        <a:pt x="3255" y="6168"/>
                      </a:lnTo>
                      <a:lnTo>
                        <a:pt x="3196" y="6184"/>
                      </a:lnTo>
                      <a:lnTo>
                        <a:pt x="3137" y="6199"/>
                      </a:lnTo>
                      <a:lnTo>
                        <a:pt x="3077" y="6212"/>
                      </a:lnTo>
                      <a:lnTo>
                        <a:pt x="3016" y="6224"/>
                      </a:lnTo>
                      <a:lnTo>
                        <a:pt x="2956" y="6234"/>
                      </a:lnTo>
                      <a:lnTo>
                        <a:pt x="2894" y="6241"/>
                      </a:lnTo>
                      <a:lnTo>
                        <a:pt x="2832" y="6249"/>
                      </a:lnTo>
                      <a:lnTo>
                        <a:pt x="2770" y="6255"/>
                      </a:lnTo>
                      <a:lnTo>
                        <a:pt x="2707" y="6259"/>
                      </a:lnTo>
                      <a:lnTo>
                        <a:pt x="2643" y="6260"/>
                      </a:lnTo>
                      <a:lnTo>
                        <a:pt x="2578" y="6262"/>
                      </a:lnTo>
                      <a:lnTo>
                        <a:pt x="2578" y="6262"/>
                      </a:lnTo>
                      <a:lnTo>
                        <a:pt x="2515" y="6260"/>
                      </a:lnTo>
                      <a:lnTo>
                        <a:pt x="2452" y="6259"/>
                      </a:lnTo>
                      <a:lnTo>
                        <a:pt x="2388" y="6255"/>
                      </a:lnTo>
                      <a:lnTo>
                        <a:pt x="2325" y="6249"/>
                      </a:lnTo>
                      <a:lnTo>
                        <a:pt x="2263" y="6243"/>
                      </a:lnTo>
                      <a:lnTo>
                        <a:pt x="2201" y="6234"/>
                      </a:lnTo>
                      <a:lnTo>
                        <a:pt x="2139" y="6224"/>
                      </a:lnTo>
                      <a:lnTo>
                        <a:pt x="2079" y="6212"/>
                      </a:lnTo>
                      <a:lnTo>
                        <a:pt x="2018" y="6199"/>
                      </a:lnTo>
                      <a:lnTo>
                        <a:pt x="1958" y="6184"/>
                      </a:lnTo>
                      <a:lnTo>
                        <a:pt x="1899" y="6168"/>
                      </a:lnTo>
                      <a:lnTo>
                        <a:pt x="1838" y="6151"/>
                      </a:lnTo>
                      <a:lnTo>
                        <a:pt x="1781" y="6132"/>
                      </a:lnTo>
                      <a:lnTo>
                        <a:pt x="1722" y="6112"/>
                      </a:lnTo>
                      <a:lnTo>
                        <a:pt x="1666" y="6091"/>
                      </a:lnTo>
                      <a:lnTo>
                        <a:pt x="1608" y="6067"/>
                      </a:lnTo>
                      <a:lnTo>
                        <a:pt x="1552" y="6044"/>
                      </a:lnTo>
                      <a:lnTo>
                        <a:pt x="1496" y="6019"/>
                      </a:lnTo>
                      <a:lnTo>
                        <a:pt x="1442" y="5992"/>
                      </a:lnTo>
                      <a:lnTo>
                        <a:pt x="1389" y="5964"/>
                      </a:lnTo>
                      <a:lnTo>
                        <a:pt x="1334" y="5935"/>
                      </a:lnTo>
                      <a:lnTo>
                        <a:pt x="1283" y="5904"/>
                      </a:lnTo>
                      <a:lnTo>
                        <a:pt x="1229" y="5873"/>
                      </a:lnTo>
                      <a:lnTo>
                        <a:pt x="1179" y="5840"/>
                      </a:lnTo>
                      <a:lnTo>
                        <a:pt x="1129" y="5806"/>
                      </a:lnTo>
                      <a:lnTo>
                        <a:pt x="1079" y="5771"/>
                      </a:lnTo>
                      <a:lnTo>
                        <a:pt x="1030" y="5734"/>
                      </a:lnTo>
                      <a:lnTo>
                        <a:pt x="983" y="5697"/>
                      </a:lnTo>
                      <a:lnTo>
                        <a:pt x="936" y="5659"/>
                      </a:lnTo>
                      <a:lnTo>
                        <a:pt x="890" y="5621"/>
                      </a:lnTo>
                      <a:lnTo>
                        <a:pt x="845" y="5579"/>
                      </a:lnTo>
                      <a:lnTo>
                        <a:pt x="800" y="5538"/>
                      </a:lnTo>
                      <a:lnTo>
                        <a:pt x="758" y="5495"/>
                      </a:lnTo>
                      <a:lnTo>
                        <a:pt x="715" y="5452"/>
                      </a:lnTo>
                      <a:lnTo>
                        <a:pt x="674" y="5408"/>
                      </a:lnTo>
                      <a:lnTo>
                        <a:pt x="634" y="5363"/>
                      </a:lnTo>
                      <a:lnTo>
                        <a:pt x="594" y="5317"/>
                      </a:lnTo>
                      <a:lnTo>
                        <a:pt x="556" y="5270"/>
                      </a:lnTo>
                      <a:lnTo>
                        <a:pt x="519" y="5221"/>
                      </a:lnTo>
                      <a:lnTo>
                        <a:pt x="484" y="5172"/>
                      </a:lnTo>
                      <a:lnTo>
                        <a:pt x="448" y="5122"/>
                      </a:lnTo>
                      <a:lnTo>
                        <a:pt x="414" y="5072"/>
                      </a:lnTo>
                      <a:lnTo>
                        <a:pt x="382" y="5020"/>
                      </a:lnTo>
                      <a:lnTo>
                        <a:pt x="351" y="4969"/>
                      </a:lnTo>
                      <a:lnTo>
                        <a:pt x="320" y="4916"/>
                      </a:lnTo>
                      <a:lnTo>
                        <a:pt x="292" y="4861"/>
                      </a:lnTo>
                      <a:lnTo>
                        <a:pt x="264" y="4808"/>
                      </a:lnTo>
                      <a:lnTo>
                        <a:pt x="237" y="4752"/>
                      </a:lnTo>
                      <a:lnTo>
                        <a:pt x="212" y="4696"/>
                      </a:lnTo>
                      <a:lnTo>
                        <a:pt x="189" y="4640"/>
                      </a:lnTo>
                      <a:lnTo>
                        <a:pt x="165" y="4583"/>
                      </a:lnTo>
                      <a:lnTo>
                        <a:pt x="144" y="4525"/>
                      </a:lnTo>
                      <a:lnTo>
                        <a:pt x="125" y="4468"/>
                      </a:lnTo>
                      <a:lnTo>
                        <a:pt x="106" y="4409"/>
                      </a:lnTo>
                      <a:lnTo>
                        <a:pt x="90" y="4348"/>
                      </a:lnTo>
                      <a:lnTo>
                        <a:pt x="74" y="4289"/>
                      </a:lnTo>
                      <a:lnTo>
                        <a:pt x="59" y="4227"/>
                      </a:lnTo>
                      <a:lnTo>
                        <a:pt x="47" y="4167"/>
                      </a:lnTo>
                      <a:lnTo>
                        <a:pt x="35" y="4105"/>
                      </a:lnTo>
                      <a:lnTo>
                        <a:pt x="25" y="4043"/>
                      </a:lnTo>
                      <a:lnTo>
                        <a:pt x="18" y="3981"/>
                      </a:lnTo>
                      <a:lnTo>
                        <a:pt x="10" y="3918"/>
                      </a:lnTo>
                      <a:lnTo>
                        <a:pt x="6" y="3854"/>
                      </a:lnTo>
                      <a:lnTo>
                        <a:pt x="3" y="3791"/>
                      </a:lnTo>
                      <a:lnTo>
                        <a:pt x="3" y="3791"/>
                      </a:lnTo>
                      <a:lnTo>
                        <a:pt x="0" y="3735"/>
                      </a:lnTo>
                      <a:lnTo>
                        <a:pt x="0" y="3682"/>
                      </a:lnTo>
                      <a:lnTo>
                        <a:pt x="1" y="3627"/>
                      </a:lnTo>
                      <a:lnTo>
                        <a:pt x="4" y="3574"/>
                      </a:lnTo>
                      <a:lnTo>
                        <a:pt x="9" y="3521"/>
                      </a:lnTo>
                      <a:lnTo>
                        <a:pt x="13" y="3468"/>
                      </a:lnTo>
                      <a:lnTo>
                        <a:pt x="21" y="3416"/>
                      </a:lnTo>
                      <a:lnTo>
                        <a:pt x="28" y="3365"/>
                      </a:lnTo>
                      <a:lnTo>
                        <a:pt x="37" y="3315"/>
                      </a:lnTo>
                      <a:lnTo>
                        <a:pt x="47" y="3263"/>
                      </a:lnTo>
                      <a:lnTo>
                        <a:pt x="59" y="3213"/>
                      </a:lnTo>
                      <a:lnTo>
                        <a:pt x="71" y="3164"/>
                      </a:lnTo>
                      <a:lnTo>
                        <a:pt x="84" y="3114"/>
                      </a:lnTo>
                      <a:lnTo>
                        <a:pt x="99" y="3065"/>
                      </a:lnTo>
                      <a:lnTo>
                        <a:pt x="113" y="3017"/>
                      </a:lnTo>
                      <a:lnTo>
                        <a:pt x="130" y="2968"/>
                      </a:lnTo>
                      <a:lnTo>
                        <a:pt x="147" y="2921"/>
                      </a:lnTo>
                      <a:lnTo>
                        <a:pt x="165" y="2874"/>
                      </a:lnTo>
                      <a:lnTo>
                        <a:pt x="203" y="2779"/>
                      </a:lnTo>
                      <a:lnTo>
                        <a:pt x="245" y="2686"/>
                      </a:lnTo>
                      <a:lnTo>
                        <a:pt x="289" y="2594"/>
                      </a:lnTo>
                      <a:lnTo>
                        <a:pt x="335" y="2504"/>
                      </a:lnTo>
                      <a:lnTo>
                        <a:pt x="383" y="2414"/>
                      </a:lnTo>
                      <a:lnTo>
                        <a:pt x="433" y="2325"/>
                      </a:lnTo>
                      <a:lnTo>
                        <a:pt x="485" y="2237"/>
                      </a:lnTo>
                      <a:lnTo>
                        <a:pt x="1706" y="0"/>
                      </a:lnTo>
                      <a:lnTo>
                        <a:pt x="1706" y="0"/>
                      </a:lnTo>
                      <a:lnTo>
                        <a:pt x="1666" y="47"/>
                      </a:lnTo>
                      <a:lnTo>
                        <a:pt x="1627" y="96"/>
                      </a:lnTo>
                      <a:lnTo>
                        <a:pt x="1589" y="146"/>
                      </a:lnTo>
                      <a:lnTo>
                        <a:pt x="1552" y="196"/>
                      </a:lnTo>
                      <a:lnTo>
                        <a:pt x="1517" y="246"/>
                      </a:lnTo>
                      <a:lnTo>
                        <a:pt x="1483" y="299"/>
                      </a:lnTo>
                      <a:lnTo>
                        <a:pt x="1449" y="351"/>
                      </a:lnTo>
                      <a:lnTo>
                        <a:pt x="1418" y="406"/>
                      </a:lnTo>
                      <a:lnTo>
                        <a:pt x="1387" y="460"/>
                      </a:lnTo>
                      <a:lnTo>
                        <a:pt x="1358" y="515"/>
                      </a:lnTo>
                      <a:lnTo>
                        <a:pt x="1330" y="571"/>
                      </a:lnTo>
                      <a:lnTo>
                        <a:pt x="1302" y="627"/>
                      </a:lnTo>
                      <a:lnTo>
                        <a:pt x="1277" y="684"/>
                      </a:lnTo>
                      <a:lnTo>
                        <a:pt x="1252" y="743"/>
                      </a:lnTo>
                      <a:lnTo>
                        <a:pt x="1229" y="802"/>
                      </a:lnTo>
                      <a:lnTo>
                        <a:pt x="1207" y="861"/>
                      </a:lnTo>
                      <a:lnTo>
                        <a:pt x="1187" y="922"/>
                      </a:lnTo>
                      <a:lnTo>
                        <a:pt x="1168" y="984"/>
                      </a:lnTo>
                      <a:lnTo>
                        <a:pt x="1151" y="1044"/>
                      </a:lnTo>
                      <a:lnTo>
                        <a:pt x="1135" y="1106"/>
                      </a:lnTo>
                      <a:lnTo>
                        <a:pt x="1120" y="1169"/>
                      </a:lnTo>
                      <a:lnTo>
                        <a:pt x="1107" y="1233"/>
                      </a:lnTo>
                      <a:lnTo>
                        <a:pt x="1095" y="1296"/>
                      </a:lnTo>
                      <a:lnTo>
                        <a:pt x="1084" y="1361"/>
                      </a:lnTo>
                      <a:lnTo>
                        <a:pt x="1075" y="1426"/>
                      </a:lnTo>
                      <a:lnTo>
                        <a:pt x="1067" y="1492"/>
                      </a:lnTo>
                      <a:lnTo>
                        <a:pt x="1063" y="1557"/>
                      </a:lnTo>
                      <a:lnTo>
                        <a:pt x="1058" y="1623"/>
                      </a:lnTo>
                      <a:lnTo>
                        <a:pt x="1056" y="1691"/>
                      </a:lnTo>
                      <a:lnTo>
                        <a:pt x="1054" y="1758"/>
                      </a:lnTo>
                      <a:lnTo>
                        <a:pt x="1054" y="1825"/>
                      </a:lnTo>
                      <a:lnTo>
                        <a:pt x="1057" y="1893"/>
                      </a:lnTo>
                      <a:lnTo>
                        <a:pt x="1057" y="1893"/>
                      </a:lnTo>
                      <a:lnTo>
                        <a:pt x="1061" y="1967"/>
                      </a:lnTo>
                      <a:lnTo>
                        <a:pt x="1066" y="2039"/>
                      </a:lnTo>
                      <a:lnTo>
                        <a:pt x="1075" y="2111"/>
                      </a:lnTo>
                      <a:lnTo>
                        <a:pt x="1084" y="2182"/>
                      </a:lnTo>
                      <a:lnTo>
                        <a:pt x="1095" y="2253"/>
                      </a:lnTo>
                      <a:lnTo>
                        <a:pt x="1107" y="2324"/>
                      </a:lnTo>
                      <a:lnTo>
                        <a:pt x="1122" y="2393"/>
                      </a:lnTo>
                      <a:lnTo>
                        <a:pt x="1138" y="2462"/>
                      </a:lnTo>
                      <a:lnTo>
                        <a:pt x="1156" y="2532"/>
                      </a:lnTo>
                      <a:lnTo>
                        <a:pt x="1175" y="2599"/>
                      </a:lnTo>
                      <a:lnTo>
                        <a:pt x="1197" y="2666"/>
                      </a:lnTo>
                      <a:lnTo>
                        <a:pt x="1219" y="2732"/>
                      </a:lnTo>
                      <a:lnTo>
                        <a:pt x="1243" y="2799"/>
                      </a:lnTo>
                      <a:lnTo>
                        <a:pt x="1269" y="2863"/>
                      </a:lnTo>
                      <a:lnTo>
                        <a:pt x="1296" y="2928"/>
                      </a:lnTo>
                      <a:lnTo>
                        <a:pt x="1325" y="2992"/>
                      </a:lnTo>
                      <a:lnTo>
                        <a:pt x="1355" y="3055"/>
                      </a:lnTo>
                      <a:lnTo>
                        <a:pt x="1387" y="3117"/>
                      </a:lnTo>
                      <a:lnTo>
                        <a:pt x="1420" y="3179"/>
                      </a:lnTo>
                      <a:lnTo>
                        <a:pt x="1455" y="3238"/>
                      </a:lnTo>
                      <a:lnTo>
                        <a:pt x="1490" y="3298"/>
                      </a:lnTo>
                      <a:lnTo>
                        <a:pt x="1527" y="3357"/>
                      </a:lnTo>
                      <a:lnTo>
                        <a:pt x="1566" y="3415"/>
                      </a:lnTo>
                      <a:lnTo>
                        <a:pt x="1605" y="3471"/>
                      </a:lnTo>
                      <a:lnTo>
                        <a:pt x="1647" y="3527"/>
                      </a:lnTo>
                      <a:lnTo>
                        <a:pt x="1689" y="3581"/>
                      </a:lnTo>
                      <a:lnTo>
                        <a:pt x="1732" y="3636"/>
                      </a:lnTo>
                      <a:lnTo>
                        <a:pt x="1776" y="3689"/>
                      </a:lnTo>
                      <a:lnTo>
                        <a:pt x="1824" y="3741"/>
                      </a:lnTo>
                      <a:lnTo>
                        <a:pt x="1871" y="3791"/>
                      </a:lnTo>
                      <a:lnTo>
                        <a:pt x="1918" y="3841"/>
                      </a:lnTo>
                      <a:lnTo>
                        <a:pt x="1968" y="3888"/>
                      </a:lnTo>
                      <a:lnTo>
                        <a:pt x="2018" y="3935"/>
                      </a:lnTo>
                      <a:lnTo>
                        <a:pt x="2070" y="3982"/>
                      </a:lnTo>
                      <a:lnTo>
                        <a:pt x="2123" y="4027"/>
                      </a:lnTo>
                      <a:lnTo>
                        <a:pt x="2176" y="4071"/>
                      </a:lnTo>
                      <a:lnTo>
                        <a:pt x="2230" y="4114"/>
                      </a:lnTo>
                      <a:lnTo>
                        <a:pt x="2286" y="4155"/>
                      </a:lnTo>
                      <a:lnTo>
                        <a:pt x="2342" y="4195"/>
                      </a:lnTo>
                      <a:lnTo>
                        <a:pt x="2400" y="4233"/>
                      </a:lnTo>
                      <a:lnTo>
                        <a:pt x="2457" y="4270"/>
                      </a:lnTo>
                      <a:lnTo>
                        <a:pt x="2518" y="4307"/>
                      </a:lnTo>
                      <a:lnTo>
                        <a:pt x="2577" y="4341"/>
                      </a:lnTo>
                      <a:lnTo>
                        <a:pt x="2639" y="4375"/>
                      </a:lnTo>
                      <a:lnTo>
                        <a:pt x="2701" y="4406"/>
                      </a:lnTo>
                      <a:lnTo>
                        <a:pt x="2763" y="4437"/>
                      </a:lnTo>
                      <a:lnTo>
                        <a:pt x="2826" y="4466"/>
                      </a:lnTo>
                      <a:lnTo>
                        <a:pt x="2889" y="4493"/>
                      </a:lnTo>
                      <a:lnTo>
                        <a:pt x="2954" y="4519"/>
                      </a:lnTo>
                      <a:lnTo>
                        <a:pt x="3021" y="4544"/>
                      </a:lnTo>
                      <a:lnTo>
                        <a:pt x="3087" y="4566"/>
                      </a:lnTo>
                      <a:lnTo>
                        <a:pt x="3153" y="4588"/>
                      </a:lnTo>
                      <a:lnTo>
                        <a:pt x="3221" y="4608"/>
                      </a:lnTo>
                      <a:lnTo>
                        <a:pt x="3289" y="4627"/>
                      </a:lnTo>
                      <a:lnTo>
                        <a:pt x="3357" y="4643"/>
                      </a:lnTo>
                      <a:lnTo>
                        <a:pt x="3426" y="4658"/>
                      </a:lnTo>
                      <a:lnTo>
                        <a:pt x="3497" y="4671"/>
                      </a:lnTo>
                      <a:lnTo>
                        <a:pt x="3566" y="4683"/>
                      </a:lnTo>
                      <a:lnTo>
                        <a:pt x="3637" y="4692"/>
                      </a:lnTo>
                      <a:lnTo>
                        <a:pt x="3708" y="4701"/>
                      </a:lnTo>
                      <a:lnTo>
                        <a:pt x="3780" y="4706"/>
                      </a:lnTo>
                      <a:lnTo>
                        <a:pt x="3852" y="4711"/>
                      </a:lnTo>
                      <a:lnTo>
                        <a:pt x="3924" y="4714"/>
                      </a:lnTo>
                      <a:lnTo>
                        <a:pt x="3997" y="4715"/>
                      </a:lnTo>
                      <a:lnTo>
                        <a:pt x="3997" y="4715"/>
                      </a:lnTo>
                      <a:lnTo>
                        <a:pt x="4070" y="4714"/>
                      </a:lnTo>
                      <a:lnTo>
                        <a:pt x="4142" y="4711"/>
                      </a:lnTo>
                      <a:lnTo>
                        <a:pt x="4215" y="4706"/>
                      </a:lnTo>
                      <a:lnTo>
                        <a:pt x="4287" y="4701"/>
                      </a:lnTo>
                      <a:lnTo>
                        <a:pt x="4358" y="4692"/>
                      </a:lnTo>
                      <a:lnTo>
                        <a:pt x="4427" y="4683"/>
                      </a:lnTo>
                      <a:lnTo>
                        <a:pt x="4498" y="4671"/>
                      </a:lnTo>
                      <a:lnTo>
                        <a:pt x="4566" y="4658"/>
                      </a:lnTo>
                      <a:lnTo>
                        <a:pt x="4635" y="4642"/>
                      </a:lnTo>
                      <a:lnTo>
                        <a:pt x="4701" y="4625"/>
                      </a:lnTo>
                      <a:lnTo>
                        <a:pt x="4769" y="4606"/>
                      </a:lnTo>
                      <a:lnTo>
                        <a:pt x="4835" y="4587"/>
                      </a:lnTo>
                      <a:lnTo>
                        <a:pt x="4900" y="4565"/>
                      </a:lnTo>
                      <a:lnTo>
                        <a:pt x="4965" y="4543"/>
                      </a:lnTo>
                      <a:lnTo>
                        <a:pt x="5028" y="4518"/>
                      </a:lnTo>
                      <a:lnTo>
                        <a:pt x="5090" y="4491"/>
                      </a:lnTo>
                      <a:lnTo>
                        <a:pt x="5152" y="4463"/>
                      </a:lnTo>
                      <a:lnTo>
                        <a:pt x="5214" y="4434"/>
                      </a:lnTo>
                      <a:lnTo>
                        <a:pt x="5275" y="4403"/>
                      </a:lnTo>
                      <a:lnTo>
                        <a:pt x="5334" y="4372"/>
                      </a:lnTo>
                      <a:lnTo>
                        <a:pt x="5391" y="4338"/>
                      </a:lnTo>
                      <a:lnTo>
                        <a:pt x="5449" y="4302"/>
                      </a:lnTo>
                      <a:lnTo>
                        <a:pt x="5505" y="4266"/>
                      </a:lnTo>
                      <a:lnTo>
                        <a:pt x="5561" y="4229"/>
                      </a:lnTo>
                      <a:lnTo>
                        <a:pt x="5615" y="4189"/>
                      </a:lnTo>
                      <a:lnTo>
                        <a:pt x="5668" y="4149"/>
                      </a:lnTo>
                      <a:lnTo>
                        <a:pt x="5720" y="4108"/>
                      </a:lnTo>
                      <a:lnTo>
                        <a:pt x="5772" y="4065"/>
                      </a:lnTo>
                      <a:lnTo>
                        <a:pt x="5822" y="4021"/>
                      </a:lnTo>
                      <a:lnTo>
                        <a:pt x="5870" y="3975"/>
                      </a:lnTo>
                      <a:lnTo>
                        <a:pt x="5917" y="3928"/>
                      </a:lnTo>
                      <a:lnTo>
                        <a:pt x="5965" y="3881"/>
                      </a:lnTo>
                      <a:lnTo>
                        <a:pt x="4302" y="5531"/>
                      </a:lnTo>
                      <a:close/>
                    </a:path>
                  </a:pathLst>
                </a:custGeom>
                <a:gradFill flip="none" rotWithShape="1">
                  <a:gsLst>
                    <a:gs pos="66000">
                      <a:schemeClr val="accent4">
                        <a:lumMod val="60000"/>
                        <a:lumOff val="40000"/>
                      </a:schemeClr>
                    </a:gs>
                    <a:gs pos="30000">
                      <a:schemeClr val="accent4">
                        <a:lumMod val="50000"/>
                      </a:schemeClr>
                    </a:gs>
                    <a:gs pos="57000">
                      <a:schemeClr val="accent4">
                        <a:lumMod val="75000"/>
                      </a:schemeClr>
                    </a:gs>
                    <a:gs pos="96000">
                      <a:schemeClr val="accent4">
                        <a:lumMod val="40000"/>
                        <a:lumOff val="60000"/>
                      </a:schemeClr>
                    </a:gs>
                  </a:gsLst>
                  <a:lin ang="13260000" scaled="0"/>
                  <a:tileRect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79" name="Freeform 12">
                  <a:extLst>
                    <a:ext uri="{FF2B5EF4-FFF2-40B4-BE49-F238E27FC236}">
                      <a16:creationId xmlns:a16="http://schemas.microsoft.com/office/drawing/2014/main" xmlns="" id="{DA854637-B24E-CC44-B73E-6E3A8E107B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5062" y="407988"/>
                  <a:ext cx="2586038" cy="2505075"/>
                </a:xfrm>
                <a:custGeom>
                  <a:avLst/>
                  <a:gdLst/>
                  <a:ahLst/>
                  <a:cxnLst>
                    <a:cxn ang="0">
                      <a:pos x="372" y="914"/>
                    </a:cxn>
                    <a:cxn ang="0">
                      <a:pos x="605" y="734"/>
                    </a:cxn>
                    <a:cxn ang="0">
                      <a:pos x="857" y="586"/>
                    </a:cxn>
                    <a:cxn ang="0">
                      <a:pos x="1125" y="471"/>
                    </a:cxn>
                    <a:cxn ang="0">
                      <a:pos x="1407" y="389"/>
                    </a:cxn>
                    <a:cxn ang="0">
                      <a:pos x="1702" y="343"/>
                    </a:cxn>
                    <a:cxn ang="0">
                      <a:pos x="1943" y="331"/>
                    </a:cxn>
                    <a:cxn ang="0">
                      <a:pos x="2263" y="351"/>
                    </a:cxn>
                    <a:cxn ang="0">
                      <a:pos x="2573" y="410"/>
                    </a:cxn>
                    <a:cxn ang="0">
                      <a:pos x="2868" y="505"/>
                    </a:cxn>
                    <a:cxn ang="0">
                      <a:pos x="3149" y="634"/>
                    </a:cxn>
                    <a:cxn ang="0">
                      <a:pos x="3412" y="793"/>
                    </a:cxn>
                    <a:cxn ang="0">
                      <a:pos x="3653" y="982"/>
                    </a:cxn>
                    <a:cxn ang="0">
                      <a:pos x="3873" y="1197"/>
                    </a:cxn>
                    <a:cxn ang="0">
                      <a:pos x="4066" y="1436"/>
                    </a:cxn>
                    <a:cxn ang="0">
                      <a:pos x="4231" y="1695"/>
                    </a:cxn>
                    <a:cxn ang="0">
                      <a:pos x="4364" y="1974"/>
                    </a:cxn>
                    <a:cxn ang="0">
                      <a:pos x="4466" y="2270"/>
                    </a:cxn>
                    <a:cxn ang="0">
                      <a:pos x="4529" y="2578"/>
                    </a:cxn>
                    <a:cxn ang="0">
                      <a:pos x="4553" y="2835"/>
                    </a:cxn>
                    <a:cxn ang="0">
                      <a:pos x="4548" y="3125"/>
                    </a:cxn>
                    <a:cxn ang="0">
                      <a:pos x="4511" y="3408"/>
                    </a:cxn>
                    <a:cxn ang="0">
                      <a:pos x="4442" y="3683"/>
                    </a:cxn>
                    <a:cxn ang="0">
                      <a:pos x="4340" y="3944"/>
                    </a:cxn>
                    <a:cxn ang="0">
                      <a:pos x="4208" y="4191"/>
                    </a:cxn>
                    <a:cxn ang="0">
                      <a:pos x="4046" y="4423"/>
                    </a:cxn>
                    <a:cxn ang="0">
                      <a:pos x="4256" y="4688"/>
                    </a:cxn>
                    <a:cxn ang="0">
                      <a:pos x="4445" y="4436"/>
                    </a:cxn>
                    <a:cxn ang="0">
                      <a:pos x="4603" y="4162"/>
                    </a:cxn>
                    <a:cxn ang="0">
                      <a:pos x="4728" y="3867"/>
                    </a:cxn>
                    <a:cxn ang="0">
                      <a:pos x="4819" y="3556"/>
                    </a:cxn>
                    <a:cxn ang="0">
                      <a:pos x="4873" y="3229"/>
                    </a:cxn>
                    <a:cxn ang="0">
                      <a:pos x="4887" y="2889"/>
                    </a:cxn>
                    <a:cxn ang="0">
                      <a:pos x="4867" y="2603"/>
                    </a:cxn>
                    <a:cxn ang="0">
                      <a:pos x="4803" y="2251"/>
                    </a:cxn>
                    <a:cxn ang="0">
                      <a:pos x="4699" y="1915"/>
                    </a:cxn>
                    <a:cxn ang="0">
                      <a:pos x="4554" y="1598"/>
                    </a:cxn>
                    <a:cxn ang="0">
                      <a:pos x="4376" y="1300"/>
                    </a:cxn>
                    <a:cxn ang="0">
                      <a:pos x="4165" y="1026"/>
                    </a:cxn>
                    <a:cxn ang="0">
                      <a:pos x="3923" y="778"/>
                    </a:cxn>
                    <a:cxn ang="0">
                      <a:pos x="3655" y="560"/>
                    </a:cxn>
                    <a:cxn ang="0">
                      <a:pos x="3364" y="373"/>
                    </a:cxn>
                    <a:cxn ang="0">
                      <a:pos x="3052" y="221"/>
                    </a:cxn>
                    <a:cxn ang="0">
                      <a:pos x="2720" y="106"/>
                    </a:cxn>
                    <a:cxn ang="0">
                      <a:pos x="2375" y="32"/>
                    </a:cxn>
                    <a:cxn ang="0">
                      <a:pos x="2017" y="0"/>
                    </a:cxn>
                    <a:cxn ang="0">
                      <a:pos x="1730" y="7"/>
                    </a:cxn>
                    <a:cxn ang="0">
                      <a:pos x="1383" y="56"/>
                    </a:cxn>
                    <a:cxn ang="0">
                      <a:pos x="1054" y="144"/>
                    </a:cxn>
                    <a:cxn ang="0">
                      <a:pos x="745" y="272"/>
                    </a:cxn>
                    <a:cxn ang="0">
                      <a:pos x="456" y="435"/>
                    </a:cxn>
                    <a:cxn ang="0">
                      <a:pos x="192" y="631"/>
                    </a:cxn>
                    <a:cxn ang="0">
                      <a:pos x="244" y="1036"/>
                    </a:cxn>
                  </a:cxnLst>
                  <a:rect l="0" t="0" r="r" b="b"/>
                  <a:pathLst>
                    <a:path w="4887" h="4735">
                      <a:moveTo>
                        <a:pt x="244" y="1036"/>
                      </a:moveTo>
                      <a:lnTo>
                        <a:pt x="244" y="1036"/>
                      </a:lnTo>
                      <a:lnTo>
                        <a:pt x="285" y="993"/>
                      </a:lnTo>
                      <a:lnTo>
                        <a:pt x="329" y="954"/>
                      </a:lnTo>
                      <a:lnTo>
                        <a:pt x="372" y="914"/>
                      </a:lnTo>
                      <a:lnTo>
                        <a:pt x="417" y="875"/>
                      </a:lnTo>
                      <a:lnTo>
                        <a:pt x="463" y="837"/>
                      </a:lnTo>
                      <a:lnTo>
                        <a:pt x="509" y="802"/>
                      </a:lnTo>
                      <a:lnTo>
                        <a:pt x="556" y="768"/>
                      </a:lnTo>
                      <a:lnTo>
                        <a:pt x="605" y="734"/>
                      </a:lnTo>
                      <a:lnTo>
                        <a:pt x="653" y="701"/>
                      </a:lnTo>
                      <a:lnTo>
                        <a:pt x="703" y="670"/>
                      </a:lnTo>
                      <a:lnTo>
                        <a:pt x="754" y="641"/>
                      </a:lnTo>
                      <a:lnTo>
                        <a:pt x="805" y="613"/>
                      </a:lnTo>
                      <a:lnTo>
                        <a:pt x="857" y="586"/>
                      </a:lnTo>
                      <a:lnTo>
                        <a:pt x="908" y="560"/>
                      </a:lnTo>
                      <a:lnTo>
                        <a:pt x="961" y="536"/>
                      </a:lnTo>
                      <a:lnTo>
                        <a:pt x="1016" y="513"/>
                      </a:lnTo>
                      <a:lnTo>
                        <a:pt x="1071" y="491"/>
                      </a:lnTo>
                      <a:lnTo>
                        <a:pt x="1125" y="471"/>
                      </a:lnTo>
                      <a:lnTo>
                        <a:pt x="1180" y="452"/>
                      </a:lnTo>
                      <a:lnTo>
                        <a:pt x="1236" y="435"/>
                      </a:lnTo>
                      <a:lnTo>
                        <a:pt x="1293" y="418"/>
                      </a:lnTo>
                      <a:lnTo>
                        <a:pt x="1349" y="402"/>
                      </a:lnTo>
                      <a:lnTo>
                        <a:pt x="1407" y="389"/>
                      </a:lnTo>
                      <a:lnTo>
                        <a:pt x="1466" y="377"/>
                      </a:lnTo>
                      <a:lnTo>
                        <a:pt x="1523" y="367"/>
                      </a:lnTo>
                      <a:lnTo>
                        <a:pt x="1582" y="356"/>
                      </a:lnTo>
                      <a:lnTo>
                        <a:pt x="1643" y="349"/>
                      </a:lnTo>
                      <a:lnTo>
                        <a:pt x="1702" y="343"/>
                      </a:lnTo>
                      <a:lnTo>
                        <a:pt x="1762" y="337"/>
                      </a:lnTo>
                      <a:lnTo>
                        <a:pt x="1822" y="334"/>
                      </a:lnTo>
                      <a:lnTo>
                        <a:pt x="1883" y="331"/>
                      </a:lnTo>
                      <a:lnTo>
                        <a:pt x="1943" y="331"/>
                      </a:lnTo>
                      <a:lnTo>
                        <a:pt x="1943" y="331"/>
                      </a:lnTo>
                      <a:lnTo>
                        <a:pt x="2008" y="331"/>
                      </a:lnTo>
                      <a:lnTo>
                        <a:pt x="2073" y="334"/>
                      </a:lnTo>
                      <a:lnTo>
                        <a:pt x="2136" y="339"/>
                      </a:lnTo>
                      <a:lnTo>
                        <a:pt x="2200" y="345"/>
                      </a:lnTo>
                      <a:lnTo>
                        <a:pt x="2263" y="351"/>
                      </a:lnTo>
                      <a:lnTo>
                        <a:pt x="2327" y="359"/>
                      </a:lnTo>
                      <a:lnTo>
                        <a:pt x="2388" y="370"/>
                      </a:lnTo>
                      <a:lnTo>
                        <a:pt x="2450" y="382"/>
                      </a:lnTo>
                      <a:lnTo>
                        <a:pt x="2511" y="395"/>
                      </a:lnTo>
                      <a:lnTo>
                        <a:pt x="2573" y="410"/>
                      </a:lnTo>
                      <a:lnTo>
                        <a:pt x="2632" y="426"/>
                      </a:lnTo>
                      <a:lnTo>
                        <a:pt x="2692" y="443"/>
                      </a:lnTo>
                      <a:lnTo>
                        <a:pt x="2751" y="463"/>
                      </a:lnTo>
                      <a:lnTo>
                        <a:pt x="2810" y="483"/>
                      </a:lnTo>
                      <a:lnTo>
                        <a:pt x="2868" y="505"/>
                      </a:lnTo>
                      <a:lnTo>
                        <a:pt x="2925" y="527"/>
                      </a:lnTo>
                      <a:lnTo>
                        <a:pt x="2983" y="553"/>
                      </a:lnTo>
                      <a:lnTo>
                        <a:pt x="3039" y="578"/>
                      </a:lnTo>
                      <a:lnTo>
                        <a:pt x="3095" y="606"/>
                      </a:lnTo>
                      <a:lnTo>
                        <a:pt x="3149" y="634"/>
                      </a:lnTo>
                      <a:lnTo>
                        <a:pt x="3202" y="663"/>
                      </a:lnTo>
                      <a:lnTo>
                        <a:pt x="3257" y="694"/>
                      </a:lnTo>
                      <a:lnTo>
                        <a:pt x="3308" y="727"/>
                      </a:lnTo>
                      <a:lnTo>
                        <a:pt x="3360" y="759"/>
                      </a:lnTo>
                      <a:lnTo>
                        <a:pt x="3412" y="793"/>
                      </a:lnTo>
                      <a:lnTo>
                        <a:pt x="3462" y="828"/>
                      </a:lnTo>
                      <a:lnTo>
                        <a:pt x="3510" y="865"/>
                      </a:lnTo>
                      <a:lnTo>
                        <a:pt x="3559" y="903"/>
                      </a:lnTo>
                      <a:lnTo>
                        <a:pt x="3608" y="942"/>
                      </a:lnTo>
                      <a:lnTo>
                        <a:pt x="3653" y="982"/>
                      </a:lnTo>
                      <a:lnTo>
                        <a:pt x="3699" y="1023"/>
                      </a:lnTo>
                      <a:lnTo>
                        <a:pt x="3745" y="1066"/>
                      </a:lnTo>
                      <a:lnTo>
                        <a:pt x="3788" y="1108"/>
                      </a:lnTo>
                      <a:lnTo>
                        <a:pt x="3830" y="1153"/>
                      </a:lnTo>
                      <a:lnTo>
                        <a:pt x="3873" y="1197"/>
                      </a:lnTo>
                      <a:lnTo>
                        <a:pt x="3913" y="1243"/>
                      </a:lnTo>
                      <a:lnTo>
                        <a:pt x="3953" y="1290"/>
                      </a:lnTo>
                      <a:lnTo>
                        <a:pt x="3992" y="1337"/>
                      </a:lnTo>
                      <a:lnTo>
                        <a:pt x="4029" y="1386"/>
                      </a:lnTo>
                      <a:lnTo>
                        <a:pt x="4066" y="1436"/>
                      </a:lnTo>
                      <a:lnTo>
                        <a:pt x="4102" y="1486"/>
                      </a:lnTo>
                      <a:lnTo>
                        <a:pt x="4135" y="1537"/>
                      </a:lnTo>
                      <a:lnTo>
                        <a:pt x="4168" y="1589"/>
                      </a:lnTo>
                      <a:lnTo>
                        <a:pt x="4200" y="1642"/>
                      </a:lnTo>
                      <a:lnTo>
                        <a:pt x="4231" y="1695"/>
                      </a:lnTo>
                      <a:lnTo>
                        <a:pt x="4259" y="1750"/>
                      </a:lnTo>
                      <a:lnTo>
                        <a:pt x="4289" y="1806"/>
                      </a:lnTo>
                      <a:lnTo>
                        <a:pt x="4315" y="1860"/>
                      </a:lnTo>
                      <a:lnTo>
                        <a:pt x="4340" y="1918"/>
                      </a:lnTo>
                      <a:lnTo>
                        <a:pt x="4364" y="1974"/>
                      </a:lnTo>
                      <a:lnTo>
                        <a:pt x="4388" y="2033"/>
                      </a:lnTo>
                      <a:lnTo>
                        <a:pt x="4410" y="2090"/>
                      </a:lnTo>
                      <a:lnTo>
                        <a:pt x="4429" y="2149"/>
                      </a:lnTo>
                      <a:lnTo>
                        <a:pt x="4448" y="2210"/>
                      </a:lnTo>
                      <a:lnTo>
                        <a:pt x="4466" y="2270"/>
                      </a:lnTo>
                      <a:lnTo>
                        <a:pt x="4480" y="2331"/>
                      </a:lnTo>
                      <a:lnTo>
                        <a:pt x="4495" y="2391"/>
                      </a:lnTo>
                      <a:lnTo>
                        <a:pt x="4508" y="2453"/>
                      </a:lnTo>
                      <a:lnTo>
                        <a:pt x="4520" y="2516"/>
                      </a:lnTo>
                      <a:lnTo>
                        <a:pt x="4529" y="2578"/>
                      </a:lnTo>
                      <a:lnTo>
                        <a:pt x="4538" y="2642"/>
                      </a:lnTo>
                      <a:lnTo>
                        <a:pt x="4545" y="2705"/>
                      </a:lnTo>
                      <a:lnTo>
                        <a:pt x="4550" y="2770"/>
                      </a:lnTo>
                      <a:lnTo>
                        <a:pt x="4553" y="2835"/>
                      </a:lnTo>
                      <a:lnTo>
                        <a:pt x="4553" y="2835"/>
                      </a:lnTo>
                      <a:lnTo>
                        <a:pt x="4556" y="2892"/>
                      </a:lnTo>
                      <a:lnTo>
                        <a:pt x="4556" y="2951"/>
                      </a:lnTo>
                      <a:lnTo>
                        <a:pt x="4554" y="3010"/>
                      </a:lnTo>
                      <a:lnTo>
                        <a:pt x="4553" y="3068"/>
                      </a:lnTo>
                      <a:lnTo>
                        <a:pt x="4548" y="3125"/>
                      </a:lnTo>
                      <a:lnTo>
                        <a:pt x="4544" y="3183"/>
                      </a:lnTo>
                      <a:lnTo>
                        <a:pt x="4538" y="3240"/>
                      </a:lnTo>
                      <a:lnTo>
                        <a:pt x="4531" y="3296"/>
                      </a:lnTo>
                      <a:lnTo>
                        <a:pt x="4522" y="3352"/>
                      </a:lnTo>
                      <a:lnTo>
                        <a:pt x="4511" y="3408"/>
                      </a:lnTo>
                      <a:lnTo>
                        <a:pt x="4500" y="3464"/>
                      </a:lnTo>
                      <a:lnTo>
                        <a:pt x="4488" y="3519"/>
                      </a:lnTo>
                      <a:lnTo>
                        <a:pt x="4473" y="3574"/>
                      </a:lnTo>
                      <a:lnTo>
                        <a:pt x="4458" y="3628"/>
                      </a:lnTo>
                      <a:lnTo>
                        <a:pt x="4442" y="3683"/>
                      </a:lnTo>
                      <a:lnTo>
                        <a:pt x="4424" y="3736"/>
                      </a:lnTo>
                      <a:lnTo>
                        <a:pt x="4405" y="3789"/>
                      </a:lnTo>
                      <a:lnTo>
                        <a:pt x="4385" y="3840"/>
                      </a:lnTo>
                      <a:lnTo>
                        <a:pt x="4362" y="3894"/>
                      </a:lnTo>
                      <a:lnTo>
                        <a:pt x="4340" y="3944"/>
                      </a:lnTo>
                      <a:lnTo>
                        <a:pt x="4317" y="3995"/>
                      </a:lnTo>
                      <a:lnTo>
                        <a:pt x="4290" y="4045"/>
                      </a:lnTo>
                      <a:lnTo>
                        <a:pt x="4264" y="4094"/>
                      </a:lnTo>
                      <a:lnTo>
                        <a:pt x="4237" y="4143"/>
                      </a:lnTo>
                      <a:lnTo>
                        <a:pt x="4208" y="4191"/>
                      </a:lnTo>
                      <a:lnTo>
                        <a:pt x="4178" y="4239"/>
                      </a:lnTo>
                      <a:lnTo>
                        <a:pt x="4147" y="4286"/>
                      </a:lnTo>
                      <a:lnTo>
                        <a:pt x="4115" y="4333"/>
                      </a:lnTo>
                      <a:lnTo>
                        <a:pt x="4081" y="4377"/>
                      </a:lnTo>
                      <a:lnTo>
                        <a:pt x="4046" y="4423"/>
                      </a:lnTo>
                      <a:lnTo>
                        <a:pt x="4010" y="4467"/>
                      </a:lnTo>
                      <a:lnTo>
                        <a:pt x="3973" y="4510"/>
                      </a:lnTo>
                      <a:lnTo>
                        <a:pt x="4215" y="4735"/>
                      </a:lnTo>
                      <a:lnTo>
                        <a:pt x="4215" y="4735"/>
                      </a:lnTo>
                      <a:lnTo>
                        <a:pt x="4256" y="4688"/>
                      </a:lnTo>
                      <a:lnTo>
                        <a:pt x="4296" y="4640"/>
                      </a:lnTo>
                      <a:lnTo>
                        <a:pt x="4336" y="4589"/>
                      </a:lnTo>
                      <a:lnTo>
                        <a:pt x="4373" y="4539"/>
                      </a:lnTo>
                      <a:lnTo>
                        <a:pt x="4410" y="4488"/>
                      </a:lnTo>
                      <a:lnTo>
                        <a:pt x="4445" y="4436"/>
                      </a:lnTo>
                      <a:lnTo>
                        <a:pt x="4479" y="4383"/>
                      </a:lnTo>
                      <a:lnTo>
                        <a:pt x="4511" y="4328"/>
                      </a:lnTo>
                      <a:lnTo>
                        <a:pt x="4544" y="4274"/>
                      </a:lnTo>
                      <a:lnTo>
                        <a:pt x="4575" y="4218"/>
                      </a:lnTo>
                      <a:lnTo>
                        <a:pt x="4603" y="4162"/>
                      </a:lnTo>
                      <a:lnTo>
                        <a:pt x="4631" y="4104"/>
                      </a:lnTo>
                      <a:lnTo>
                        <a:pt x="4657" y="4045"/>
                      </a:lnTo>
                      <a:lnTo>
                        <a:pt x="4682" y="3986"/>
                      </a:lnTo>
                      <a:lnTo>
                        <a:pt x="4706" y="3927"/>
                      </a:lnTo>
                      <a:lnTo>
                        <a:pt x="4728" y="3867"/>
                      </a:lnTo>
                      <a:lnTo>
                        <a:pt x="4750" y="3807"/>
                      </a:lnTo>
                      <a:lnTo>
                        <a:pt x="4769" y="3745"/>
                      </a:lnTo>
                      <a:lnTo>
                        <a:pt x="4787" y="3681"/>
                      </a:lnTo>
                      <a:lnTo>
                        <a:pt x="4803" y="3619"/>
                      </a:lnTo>
                      <a:lnTo>
                        <a:pt x="4819" y="3556"/>
                      </a:lnTo>
                      <a:lnTo>
                        <a:pt x="4833" y="3491"/>
                      </a:lnTo>
                      <a:lnTo>
                        <a:pt x="4845" y="3426"/>
                      </a:lnTo>
                      <a:lnTo>
                        <a:pt x="4856" y="3361"/>
                      </a:lnTo>
                      <a:lnTo>
                        <a:pt x="4865" y="3295"/>
                      </a:lnTo>
                      <a:lnTo>
                        <a:pt x="4873" y="3229"/>
                      </a:lnTo>
                      <a:lnTo>
                        <a:pt x="4878" y="3162"/>
                      </a:lnTo>
                      <a:lnTo>
                        <a:pt x="4883" y="3094"/>
                      </a:lnTo>
                      <a:lnTo>
                        <a:pt x="4886" y="3027"/>
                      </a:lnTo>
                      <a:lnTo>
                        <a:pt x="4887" y="2959"/>
                      </a:lnTo>
                      <a:lnTo>
                        <a:pt x="4887" y="2889"/>
                      </a:lnTo>
                      <a:lnTo>
                        <a:pt x="4884" y="2820"/>
                      </a:lnTo>
                      <a:lnTo>
                        <a:pt x="4884" y="2820"/>
                      </a:lnTo>
                      <a:lnTo>
                        <a:pt x="4880" y="2748"/>
                      </a:lnTo>
                      <a:lnTo>
                        <a:pt x="4875" y="2676"/>
                      </a:lnTo>
                      <a:lnTo>
                        <a:pt x="4867" y="2603"/>
                      </a:lnTo>
                      <a:lnTo>
                        <a:pt x="4858" y="2531"/>
                      </a:lnTo>
                      <a:lnTo>
                        <a:pt x="4846" y="2460"/>
                      </a:lnTo>
                      <a:lnTo>
                        <a:pt x="4834" y="2391"/>
                      </a:lnTo>
                      <a:lnTo>
                        <a:pt x="4819" y="2320"/>
                      </a:lnTo>
                      <a:lnTo>
                        <a:pt x="4803" y="2251"/>
                      </a:lnTo>
                      <a:lnTo>
                        <a:pt x="4786" y="2183"/>
                      </a:lnTo>
                      <a:lnTo>
                        <a:pt x="4766" y="2115"/>
                      </a:lnTo>
                      <a:lnTo>
                        <a:pt x="4744" y="2048"/>
                      </a:lnTo>
                      <a:lnTo>
                        <a:pt x="4722" y="1981"/>
                      </a:lnTo>
                      <a:lnTo>
                        <a:pt x="4699" y="1915"/>
                      </a:lnTo>
                      <a:lnTo>
                        <a:pt x="4672" y="1850"/>
                      </a:lnTo>
                      <a:lnTo>
                        <a:pt x="4646" y="1785"/>
                      </a:lnTo>
                      <a:lnTo>
                        <a:pt x="4616" y="1722"/>
                      </a:lnTo>
                      <a:lnTo>
                        <a:pt x="4587" y="1660"/>
                      </a:lnTo>
                      <a:lnTo>
                        <a:pt x="4554" y="1598"/>
                      </a:lnTo>
                      <a:lnTo>
                        <a:pt x="4522" y="1536"/>
                      </a:lnTo>
                      <a:lnTo>
                        <a:pt x="4486" y="1476"/>
                      </a:lnTo>
                      <a:lnTo>
                        <a:pt x="4451" y="1417"/>
                      </a:lnTo>
                      <a:lnTo>
                        <a:pt x="4414" y="1358"/>
                      </a:lnTo>
                      <a:lnTo>
                        <a:pt x="4376" y="1300"/>
                      </a:lnTo>
                      <a:lnTo>
                        <a:pt x="4336" y="1243"/>
                      </a:lnTo>
                      <a:lnTo>
                        <a:pt x="4295" y="1187"/>
                      </a:lnTo>
                      <a:lnTo>
                        <a:pt x="4252" y="1132"/>
                      </a:lnTo>
                      <a:lnTo>
                        <a:pt x="4209" y="1079"/>
                      </a:lnTo>
                      <a:lnTo>
                        <a:pt x="4165" y="1026"/>
                      </a:lnTo>
                      <a:lnTo>
                        <a:pt x="4118" y="974"/>
                      </a:lnTo>
                      <a:lnTo>
                        <a:pt x="4071" y="924"/>
                      </a:lnTo>
                      <a:lnTo>
                        <a:pt x="4023" y="874"/>
                      </a:lnTo>
                      <a:lnTo>
                        <a:pt x="3973" y="825"/>
                      </a:lnTo>
                      <a:lnTo>
                        <a:pt x="3923" y="778"/>
                      </a:lnTo>
                      <a:lnTo>
                        <a:pt x="3872" y="732"/>
                      </a:lnTo>
                      <a:lnTo>
                        <a:pt x="3818" y="687"/>
                      </a:lnTo>
                      <a:lnTo>
                        <a:pt x="3765" y="644"/>
                      </a:lnTo>
                      <a:lnTo>
                        <a:pt x="3711" y="601"/>
                      </a:lnTo>
                      <a:lnTo>
                        <a:pt x="3655" y="560"/>
                      </a:lnTo>
                      <a:lnTo>
                        <a:pt x="3599" y="520"/>
                      </a:lnTo>
                      <a:lnTo>
                        <a:pt x="3541" y="482"/>
                      </a:lnTo>
                      <a:lnTo>
                        <a:pt x="3484" y="443"/>
                      </a:lnTo>
                      <a:lnTo>
                        <a:pt x="3423" y="408"/>
                      </a:lnTo>
                      <a:lnTo>
                        <a:pt x="3364" y="373"/>
                      </a:lnTo>
                      <a:lnTo>
                        <a:pt x="3303" y="340"/>
                      </a:lnTo>
                      <a:lnTo>
                        <a:pt x="3241" y="308"/>
                      </a:lnTo>
                      <a:lnTo>
                        <a:pt x="3179" y="277"/>
                      </a:lnTo>
                      <a:lnTo>
                        <a:pt x="3115" y="249"/>
                      </a:lnTo>
                      <a:lnTo>
                        <a:pt x="3052" y="221"/>
                      </a:lnTo>
                      <a:lnTo>
                        <a:pt x="2987" y="194"/>
                      </a:lnTo>
                      <a:lnTo>
                        <a:pt x="2921" y="171"/>
                      </a:lnTo>
                      <a:lnTo>
                        <a:pt x="2854" y="147"/>
                      </a:lnTo>
                      <a:lnTo>
                        <a:pt x="2788" y="126"/>
                      </a:lnTo>
                      <a:lnTo>
                        <a:pt x="2720" y="106"/>
                      </a:lnTo>
                      <a:lnTo>
                        <a:pt x="2652" y="88"/>
                      </a:lnTo>
                      <a:lnTo>
                        <a:pt x="2585" y="72"/>
                      </a:lnTo>
                      <a:lnTo>
                        <a:pt x="2515" y="57"/>
                      </a:lnTo>
                      <a:lnTo>
                        <a:pt x="2445" y="44"/>
                      </a:lnTo>
                      <a:lnTo>
                        <a:pt x="2375" y="32"/>
                      </a:lnTo>
                      <a:lnTo>
                        <a:pt x="2304" y="22"/>
                      </a:lnTo>
                      <a:lnTo>
                        <a:pt x="2234" y="14"/>
                      </a:lnTo>
                      <a:lnTo>
                        <a:pt x="2161" y="7"/>
                      </a:lnTo>
                      <a:lnTo>
                        <a:pt x="2089" y="3"/>
                      </a:lnTo>
                      <a:lnTo>
                        <a:pt x="2017" y="0"/>
                      </a:lnTo>
                      <a:lnTo>
                        <a:pt x="1943" y="0"/>
                      </a:lnTo>
                      <a:lnTo>
                        <a:pt x="1943" y="0"/>
                      </a:lnTo>
                      <a:lnTo>
                        <a:pt x="1873" y="0"/>
                      </a:lnTo>
                      <a:lnTo>
                        <a:pt x="1800" y="3"/>
                      </a:lnTo>
                      <a:lnTo>
                        <a:pt x="1730" y="7"/>
                      </a:lnTo>
                      <a:lnTo>
                        <a:pt x="1659" y="13"/>
                      </a:lnTo>
                      <a:lnTo>
                        <a:pt x="1589" y="22"/>
                      </a:lnTo>
                      <a:lnTo>
                        <a:pt x="1520" y="31"/>
                      </a:lnTo>
                      <a:lnTo>
                        <a:pt x="1452" y="42"/>
                      </a:lnTo>
                      <a:lnTo>
                        <a:pt x="1383" y="56"/>
                      </a:lnTo>
                      <a:lnTo>
                        <a:pt x="1317" y="70"/>
                      </a:lnTo>
                      <a:lnTo>
                        <a:pt x="1250" y="87"/>
                      </a:lnTo>
                      <a:lnTo>
                        <a:pt x="1184" y="104"/>
                      </a:lnTo>
                      <a:lnTo>
                        <a:pt x="1119" y="123"/>
                      </a:lnTo>
                      <a:lnTo>
                        <a:pt x="1054" y="144"/>
                      </a:lnTo>
                      <a:lnTo>
                        <a:pt x="991" y="168"/>
                      </a:lnTo>
                      <a:lnTo>
                        <a:pt x="928" y="191"/>
                      </a:lnTo>
                      <a:lnTo>
                        <a:pt x="866" y="216"/>
                      </a:lnTo>
                      <a:lnTo>
                        <a:pt x="805" y="243"/>
                      </a:lnTo>
                      <a:lnTo>
                        <a:pt x="745" y="272"/>
                      </a:lnTo>
                      <a:lnTo>
                        <a:pt x="684" y="302"/>
                      </a:lnTo>
                      <a:lnTo>
                        <a:pt x="627" y="333"/>
                      </a:lnTo>
                      <a:lnTo>
                        <a:pt x="569" y="365"/>
                      </a:lnTo>
                      <a:lnTo>
                        <a:pt x="512" y="399"/>
                      </a:lnTo>
                      <a:lnTo>
                        <a:pt x="456" y="435"/>
                      </a:lnTo>
                      <a:lnTo>
                        <a:pt x="401" y="471"/>
                      </a:lnTo>
                      <a:lnTo>
                        <a:pt x="348" y="510"/>
                      </a:lnTo>
                      <a:lnTo>
                        <a:pt x="295" y="548"/>
                      </a:lnTo>
                      <a:lnTo>
                        <a:pt x="244" y="589"/>
                      </a:lnTo>
                      <a:lnTo>
                        <a:pt x="192" y="631"/>
                      </a:lnTo>
                      <a:lnTo>
                        <a:pt x="143" y="673"/>
                      </a:lnTo>
                      <a:lnTo>
                        <a:pt x="95" y="718"/>
                      </a:lnTo>
                      <a:lnTo>
                        <a:pt x="46" y="763"/>
                      </a:lnTo>
                      <a:lnTo>
                        <a:pt x="0" y="809"/>
                      </a:lnTo>
                      <a:lnTo>
                        <a:pt x="244" y="1036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86000">
                      <a:srgbClr val="CFCFCF"/>
                    </a:gs>
                    <a:gs pos="0">
                      <a:srgbClr val="A6A6A6"/>
                    </a:gs>
                    <a:gs pos="35000">
                      <a:srgbClr val="262626"/>
                    </a:gs>
                    <a:gs pos="66000">
                      <a:srgbClr val="454545"/>
                    </a:gs>
                    <a:gs pos="46000">
                      <a:srgbClr val="616161"/>
                    </a:gs>
                    <a:gs pos="100000">
                      <a:srgbClr val="A6A6A6"/>
                    </a:gs>
                  </a:gsLst>
                  <a:lin ang="1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80" name="Freeform 13">
                  <a:extLst>
                    <a:ext uri="{FF2B5EF4-FFF2-40B4-BE49-F238E27FC236}">
                      <a16:creationId xmlns:a16="http://schemas.microsoft.com/office/drawing/2014/main" xmlns="" id="{7EEEF576-E9D6-FF4A-AE4A-6EA80001277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385175" y="374650"/>
                  <a:ext cx="2987675" cy="2986088"/>
                </a:xfrm>
                <a:custGeom>
                  <a:avLst/>
                  <a:gdLst/>
                  <a:ahLst/>
                  <a:cxnLst>
                    <a:cxn ang="0">
                      <a:pos x="3147" y="371"/>
                    </a:cxn>
                    <a:cxn ang="0">
                      <a:pos x="3686" y="529"/>
                    </a:cxn>
                    <a:cxn ang="0">
                      <a:pos x="4171" y="794"/>
                    </a:cxn>
                    <a:cxn ang="0">
                      <a:pos x="4591" y="1153"/>
                    </a:cxn>
                    <a:cxn ang="0">
                      <a:pos x="4927" y="1591"/>
                    </a:cxn>
                    <a:cxn ang="0">
                      <a:pos x="5169" y="2092"/>
                    </a:cxn>
                    <a:cxn ang="0">
                      <a:pos x="5297" y="2643"/>
                    </a:cxn>
                    <a:cxn ang="0">
                      <a:pos x="5307" y="3142"/>
                    </a:cxn>
                    <a:cxn ang="0">
                      <a:pos x="5204" y="3672"/>
                    </a:cxn>
                    <a:cxn ang="0">
                      <a:pos x="4987" y="4159"/>
                    </a:cxn>
                    <a:cxn ang="0">
                      <a:pos x="4663" y="4587"/>
                    </a:cxn>
                    <a:cxn ang="0">
                      <a:pos x="4299" y="4896"/>
                    </a:cxn>
                    <a:cxn ang="0">
                      <a:pos x="3829" y="5145"/>
                    </a:cxn>
                    <a:cxn ang="0">
                      <a:pos x="3310" y="5284"/>
                    </a:cxn>
                    <a:cxn ang="0">
                      <a:pos x="2814" y="5308"/>
                    </a:cxn>
                    <a:cxn ang="0">
                      <a:pos x="2256" y="5215"/>
                    </a:cxn>
                    <a:cxn ang="0">
                      <a:pos x="1738" y="5008"/>
                    </a:cxn>
                    <a:cxn ang="0">
                      <a:pos x="1280" y="4699"/>
                    </a:cxn>
                    <a:cxn ang="0">
                      <a:pos x="895" y="4303"/>
                    </a:cxn>
                    <a:cxn ang="0">
                      <a:pos x="599" y="3836"/>
                    </a:cxn>
                    <a:cxn ang="0">
                      <a:pos x="407" y="3311"/>
                    </a:cxn>
                    <a:cxn ang="0">
                      <a:pos x="335" y="2807"/>
                    </a:cxn>
                    <a:cxn ang="0">
                      <a:pos x="370" y="2260"/>
                    </a:cxn>
                    <a:cxn ang="0">
                      <a:pos x="525" y="1747"/>
                    </a:cxn>
                    <a:cxn ang="0">
                      <a:pos x="790" y="1285"/>
                    </a:cxn>
                    <a:cxn ang="0">
                      <a:pos x="1115" y="929"/>
                    </a:cxn>
                    <a:cxn ang="0">
                      <a:pos x="1549" y="620"/>
                    </a:cxn>
                    <a:cxn ang="0">
                      <a:pos x="2043" y="421"/>
                    </a:cxn>
                    <a:cxn ang="0">
                      <a:pos x="2580" y="334"/>
                    </a:cxn>
                    <a:cxn ang="0">
                      <a:pos x="2345" y="23"/>
                    </a:cxn>
                    <a:cxn ang="0">
                      <a:pos x="1741" y="171"/>
                    </a:cxn>
                    <a:cxn ang="0">
                      <a:pos x="1202" y="445"/>
                    </a:cxn>
                    <a:cxn ang="0">
                      <a:pos x="745" y="827"/>
                    </a:cxn>
                    <a:cxn ang="0">
                      <a:pos x="382" y="1300"/>
                    </a:cxn>
                    <a:cxn ang="0">
                      <a:pos x="133" y="1852"/>
                    </a:cxn>
                    <a:cxn ang="0">
                      <a:pos x="10" y="2462"/>
                    </a:cxn>
                    <a:cxn ang="0">
                      <a:pos x="21" y="3038"/>
                    </a:cxn>
                    <a:cxn ang="0">
                      <a:pos x="165" y="3659"/>
                    </a:cxn>
                    <a:cxn ang="0">
                      <a:pos x="436" y="4225"/>
                    </a:cxn>
                    <a:cxn ang="0">
                      <a:pos x="817" y="4718"/>
                    </a:cxn>
                    <a:cxn ang="0">
                      <a:pos x="1288" y="5122"/>
                    </a:cxn>
                    <a:cxn ang="0">
                      <a:pos x="1835" y="5420"/>
                    </a:cxn>
                    <a:cxn ang="0">
                      <a:pos x="2443" y="5598"/>
                    </a:cxn>
                    <a:cxn ang="0">
                      <a:pos x="3016" y="5641"/>
                    </a:cxn>
                    <a:cxn ang="0">
                      <a:pos x="3644" y="5554"/>
                    </a:cxn>
                    <a:cxn ang="0">
                      <a:pos x="4215" y="5333"/>
                    </a:cxn>
                    <a:cxn ang="0">
                      <a:pos x="4710" y="4998"/>
                    </a:cxn>
                    <a:cxn ang="0">
                      <a:pos x="5117" y="4563"/>
                    </a:cxn>
                    <a:cxn ang="0">
                      <a:pos x="5418" y="4044"/>
                    </a:cxn>
                    <a:cxn ang="0">
                      <a:pos x="5599" y="3459"/>
                    </a:cxn>
                    <a:cxn ang="0">
                      <a:pos x="5643" y="2820"/>
                    </a:cxn>
                    <a:cxn ang="0">
                      <a:pos x="5562" y="2253"/>
                    </a:cxn>
                    <a:cxn ang="0">
                      <a:pos x="5346" y="1660"/>
                    </a:cxn>
                    <a:cxn ang="0">
                      <a:pos x="5012" y="1134"/>
                    </a:cxn>
                    <a:cxn ang="0">
                      <a:pos x="4579" y="688"/>
                    </a:cxn>
                    <a:cxn ang="0">
                      <a:pos x="4061" y="340"/>
                    </a:cxn>
                    <a:cxn ang="0">
                      <a:pos x="3481" y="107"/>
                    </a:cxn>
                    <a:cxn ang="0">
                      <a:pos x="2848" y="4"/>
                    </a:cxn>
                  </a:cxnLst>
                  <a:rect l="0" t="0" r="r" b="b"/>
                  <a:pathLst>
                    <a:path w="5646" h="5642">
                      <a:moveTo>
                        <a:pt x="2704" y="331"/>
                      </a:moveTo>
                      <a:lnTo>
                        <a:pt x="2704" y="331"/>
                      </a:lnTo>
                      <a:lnTo>
                        <a:pt x="2767" y="333"/>
                      </a:lnTo>
                      <a:lnTo>
                        <a:pt x="2832" y="334"/>
                      </a:lnTo>
                      <a:lnTo>
                        <a:pt x="2895" y="339"/>
                      </a:lnTo>
                      <a:lnTo>
                        <a:pt x="2959" y="345"/>
                      </a:lnTo>
                      <a:lnTo>
                        <a:pt x="3022" y="352"/>
                      </a:lnTo>
                      <a:lnTo>
                        <a:pt x="3086" y="361"/>
                      </a:lnTo>
                      <a:lnTo>
                        <a:pt x="3147" y="371"/>
                      </a:lnTo>
                      <a:lnTo>
                        <a:pt x="3209" y="383"/>
                      </a:lnTo>
                      <a:lnTo>
                        <a:pt x="3270" y="396"/>
                      </a:lnTo>
                      <a:lnTo>
                        <a:pt x="3332" y="411"/>
                      </a:lnTo>
                      <a:lnTo>
                        <a:pt x="3392" y="427"/>
                      </a:lnTo>
                      <a:lnTo>
                        <a:pt x="3451" y="445"/>
                      </a:lnTo>
                      <a:lnTo>
                        <a:pt x="3510" y="464"/>
                      </a:lnTo>
                      <a:lnTo>
                        <a:pt x="3569" y="483"/>
                      </a:lnTo>
                      <a:lnTo>
                        <a:pt x="3628" y="505"/>
                      </a:lnTo>
                      <a:lnTo>
                        <a:pt x="3686" y="529"/>
                      </a:lnTo>
                      <a:lnTo>
                        <a:pt x="3742" y="553"/>
                      </a:lnTo>
                      <a:lnTo>
                        <a:pt x="3798" y="579"/>
                      </a:lnTo>
                      <a:lnTo>
                        <a:pt x="3854" y="606"/>
                      </a:lnTo>
                      <a:lnTo>
                        <a:pt x="3908" y="634"/>
                      </a:lnTo>
                      <a:lnTo>
                        <a:pt x="3963" y="663"/>
                      </a:lnTo>
                      <a:lnTo>
                        <a:pt x="4016" y="694"/>
                      </a:lnTo>
                      <a:lnTo>
                        <a:pt x="4067" y="727"/>
                      </a:lnTo>
                      <a:lnTo>
                        <a:pt x="4120" y="761"/>
                      </a:lnTo>
                      <a:lnTo>
                        <a:pt x="4171" y="794"/>
                      </a:lnTo>
                      <a:lnTo>
                        <a:pt x="4221" y="830"/>
                      </a:lnTo>
                      <a:lnTo>
                        <a:pt x="4271" y="867"/>
                      </a:lnTo>
                      <a:lnTo>
                        <a:pt x="4318" y="904"/>
                      </a:lnTo>
                      <a:lnTo>
                        <a:pt x="4367" y="943"/>
                      </a:lnTo>
                      <a:lnTo>
                        <a:pt x="4412" y="983"/>
                      </a:lnTo>
                      <a:lnTo>
                        <a:pt x="4458" y="1024"/>
                      </a:lnTo>
                      <a:lnTo>
                        <a:pt x="4504" y="1066"/>
                      </a:lnTo>
                      <a:lnTo>
                        <a:pt x="4546" y="1108"/>
                      </a:lnTo>
                      <a:lnTo>
                        <a:pt x="4591" y="1153"/>
                      </a:lnTo>
                      <a:lnTo>
                        <a:pt x="4632" y="1198"/>
                      </a:lnTo>
                      <a:lnTo>
                        <a:pt x="4673" y="1244"/>
                      </a:lnTo>
                      <a:lnTo>
                        <a:pt x="4712" y="1290"/>
                      </a:lnTo>
                      <a:lnTo>
                        <a:pt x="4751" y="1338"/>
                      </a:lnTo>
                      <a:lnTo>
                        <a:pt x="4788" y="1387"/>
                      </a:lnTo>
                      <a:lnTo>
                        <a:pt x="4825" y="1436"/>
                      </a:lnTo>
                      <a:lnTo>
                        <a:pt x="4861" y="1487"/>
                      </a:lnTo>
                      <a:lnTo>
                        <a:pt x="4894" y="1538"/>
                      </a:lnTo>
                      <a:lnTo>
                        <a:pt x="4927" y="1591"/>
                      </a:lnTo>
                      <a:lnTo>
                        <a:pt x="4959" y="1642"/>
                      </a:lnTo>
                      <a:lnTo>
                        <a:pt x="4990" y="1697"/>
                      </a:lnTo>
                      <a:lnTo>
                        <a:pt x="5020" y="1751"/>
                      </a:lnTo>
                      <a:lnTo>
                        <a:pt x="5048" y="1806"/>
                      </a:lnTo>
                      <a:lnTo>
                        <a:pt x="5074" y="1862"/>
                      </a:lnTo>
                      <a:lnTo>
                        <a:pt x="5099" y="1918"/>
                      </a:lnTo>
                      <a:lnTo>
                        <a:pt x="5124" y="1975"/>
                      </a:lnTo>
                      <a:lnTo>
                        <a:pt x="5146" y="2033"/>
                      </a:lnTo>
                      <a:lnTo>
                        <a:pt x="5169" y="2092"/>
                      </a:lnTo>
                      <a:lnTo>
                        <a:pt x="5188" y="2151"/>
                      </a:lnTo>
                      <a:lnTo>
                        <a:pt x="5207" y="2210"/>
                      </a:lnTo>
                      <a:lnTo>
                        <a:pt x="5225" y="2270"/>
                      </a:lnTo>
                      <a:lnTo>
                        <a:pt x="5241" y="2331"/>
                      </a:lnTo>
                      <a:lnTo>
                        <a:pt x="5254" y="2393"/>
                      </a:lnTo>
                      <a:lnTo>
                        <a:pt x="5267" y="2455"/>
                      </a:lnTo>
                      <a:lnTo>
                        <a:pt x="5279" y="2517"/>
                      </a:lnTo>
                      <a:lnTo>
                        <a:pt x="5288" y="2580"/>
                      </a:lnTo>
                      <a:lnTo>
                        <a:pt x="5297" y="2643"/>
                      </a:lnTo>
                      <a:lnTo>
                        <a:pt x="5304" y="2707"/>
                      </a:lnTo>
                      <a:lnTo>
                        <a:pt x="5309" y="2770"/>
                      </a:lnTo>
                      <a:lnTo>
                        <a:pt x="5313" y="2835"/>
                      </a:lnTo>
                      <a:lnTo>
                        <a:pt x="5313" y="2835"/>
                      </a:lnTo>
                      <a:lnTo>
                        <a:pt x="5315" y="2897"/>
                      </a:lnTo>
                      <a:lnTo>
                        <a:pt x="5315" y="2959"/>
                      </a:lnTo>
                      <a:lnTo>
                        <a:pt x="5313" y="3021"/>
                      </a:lnTo>
                      <a:lnTo>
                        <a:pt x="5312" y="3081"/>
                      </a:lnTo>
                      <a:lnTo>
                        <a:pt x="5307" y="3142"/>
                      </a:lnTo>
                      <a:lnTo>
                        <a:pt x="5301" y="3202"/>
                      </a:lnTo>
                      <a:lnTo>
                        <a:pt x="5294" y="3263"/>
                      </a:lnTo>
                      <a:lnTo>
                        <a:pt x="5285" y="3323"/>
                      </a:lnTo>
                      <a:lnTo>
                        <a:pt x="5276" y="3382"/>
                      </a:lnTo>
                      <a:lnTo>
                        <a:pt x="5264" y="3441"/>
                      </a:lnTo>
                      <a:lnTo>
                        <a:pt x="5251" y="3500"/>
                      </a:lnTo>
                      <a:lnTo>
                        <a:pt x="5238" y="3557"/>
                      </a:lnTo>
                      <a:lnTo>
                        <a:pt x="5222" y="3615"/>
                      </a:lnTo>
                      <a:lnTo>
                        <a:pt x="5204" y="3672"/>
                      </a:lnTo>
                      <a:lnTo>
                        <a:pt x="5186" y="3728"/>
                      </a:lnTo>
                      <a:lnTo>
                        <a:pt x="5166" y="3785"/>
                      </a:lnTo>
                      <a:lnTo>
                        <a:pt x="5145" y="3841"/>
                      </a:lnTo>
                      <a:lnTo>
                        <a:pt x="5121" y="3895"/>
                      </a:lnTo>
                      <a:lnTo>
                        <a:pt x="5098" y="3948"/>
                      </a:lnTo>
                      <a:lnTo>
                        <a:pt x="5073" y="4003"/>
                      </a:lnTo>
                      <a:lnTo>
                        <a:pt x="5045" y="4056"/>
                      </a:lnTo>
                      <a:lnTo>
                        <a:pt x="5017" y="4107"/>
                      </a:lnTo>
                      <a:lnTo>
                        <a:pt x="4987" y="4159"/>
                      </a:lnTo>
                      <a:lnTo>
                        <a:pt x="4956" y="4209"/>
                      </a:lnTo>
                      <a:lnTo>
                        <a:pt x="4924" y="4259"/>
                      </a:lnTo>
                      <a:lnTo>
                        <a:pt x="4891" y="4309"/>
                      </a:lnTo>
                      <a:lnTo>
                        <a:pt x="4856" y="4357"/>
                      </a:lnTo>
                      <a:lnTo>
                        <a:pt x="4819" y="4405"/>
                      </a:lnTo>
                      <a:lnTo>
                        <a:pt x="4782" y="4452"/>
                      </a:lnTo>
                      <a:lnTo>
                        <a:pt x="4744" y="4498"/>
                      </a:lnTo>
                      <a:lnTo>
                        <a:pt x="4704" y="4542"/>
                      </a:lnTo>
                      <a:lnTo>
                        <a:pt x="4663" y="4587"/>
                      </a:lnTo>
                      <a:lnTo>
                        <a:pt x="4663" y="4587"/>
                      </a:lnTo>
                      <a:lnTo>
                        <a:pt x="4620" y="4631"/>
                      </a:lnTo>
                      <a:lnTo>
                        <a:pt x="4576" y="4672"/>
                      </a:lnTo>
                      <a:lnTo>
                        <a:pt x="4532" y="4713"/>
                      </a:lnTo>
                      <a:lnTo>
                        <a:pt x="4488" y="4752"/>
                      </a:lnTo>
                      <a:lnTo>
                        <a:pt x="4442" y="4790"/>
                      </a:lnTo>
                      <a:lnTo>
                        <a:pt x="4395" y="4827"/>
                      </a:lnTo>
                      <a:lnTo>
                        <a:pt x="4346" y="4862"/>
                      </a:lnTo>
                      <a:lnTo>
                        <a:pt x="4299" y="4896"/>
                      </a:lnTo>
                      <a:lnTo>
                        <a:pt x="4249" y="4930"/>
                      </a:lnTo>
                      <a:lnTo>
                        <a:pt x="4199" y="4961"/>
                      </a:lnTo>
                      <a:lnTo>
                        <a:pt x="4148" y="4992"/>
                      </a:lnTo>
                      <a:lnTo>
                        <a:pt x="4097" y="5022"/>
                      </a:lnTo>
                      <a:lnTo>
                        <a:pt x="4044" y="5048"/>
                      </a:lnTo>
                      <a:lnTo>
                        <a:pt x="3991" y="5075"/>
                      </a:lnTo>
                      <a:lnTo>
                        <a:pt x="3938" y="5100"/>
                      </a:lnTo>
                      <a:lnTo>
                        <a:pt x="3883" y="5123"/>
                      </a:lnTo>
                      <a:lnTo>
                        <a:pt x="3829" y="5145"/>
                      </a:lnTo>
                      <a:lnTo>
                        <a:pt x="3773" y="5166"/>
                      </a:lnTo>
                      <a:lnTo>
                        <a:pt x="3717" y="5187"/>
                      </a:lnTo>
                      <a:lnTo>
                        <a:pt x="3660" y="5204"/>
                      </a:lnTo>
                      <a:lnTo>
                        <a:pt x="3603" y="5221"/>
                      </a:lnTo>
                      <a:lnTo>
                        <a:pt x="3546" y="5237"/>
                      </a:lnTo>
                      <a:lnTo>
                        <a:pt x="3487" y="5250"/>
                      </a:lnTo>
                      <a:lnTo>
                        <a:pt x="3428" y="5263"/>
                      </a:lnTo>
                      <a:lnTo>
                        <a:pt x="3369" y="5274"/>
                      </a:lnTo>
                      <a:lnTo>
                        <a:pt x="3310" y="5284"/>
                      </a:lnTo>
                      <a:lnTo>
                        <a:pt x="3249" y="5291"/>
                      </a:lnTo>
                      <a:lnTo>
                        <a:pt x="3189" y="5299"/>
                      </a:lnTo>
                      <a:lnTo>
                        <a:pt x="3128" y="5303"/>
                      </a:lnTo>
                      <a:lnTo>
                        <a:pt x="3066" y="5308"/>
                      </a:lnTo>
                      <a:lnTo>
                        <a:pt x="3004" y="5309"/>
                      </a:lnTo>
                      <a:lnTo>
                        <a:pt x="2943" y="5311"/>
                      </a:lnTo>
                      <a:lnTo>
                        <a:pt x="2943" y="5311"/>
                      </a:lnTo>
                      <a:lnTo>
                        <a:pt x="2879" y="5309"/>
                      </a:lnTo>
                      <a:lnTo>
                        <a:pt x="2814" y="5308"/>
                      </a:lnTo>
                      <a:lnTo>
                        <a:pt x="2751" y="5303"/>
                      </a:lnTo>
                      <a:lnTo>
                        <a:pt x="2688" y="5297"/>
                      </a:lnTo>
                      <a:lnTo>
                        <a:pt x="2624" y="5290"/>
                      </a:lnTo>
                      <a:lnTo>
                        <a:pt x="2561" y="5281"/>
                      </a:lnTo>
                      <a:lnTo>
                        <a:pt x="2499" y="5271"/>
                      </a:lnTo>
                      <a:lnTo>
                        <a:pt x="2437" y="5259"/>
                      </a:lnTo>
                      <a:lnTo>
                        <a:pt x="2376" y="5246"/>
                      </a:lnTo>
                      <a:lnTo>
                        <a:pt x="2315" y="5231"/>
                      </a:lnTo>
                      <a:lnTo>
                        <a:pt x="2256" y="5215"/>
                      </a:lnTo>
                      <a:lnTo>
                        <a:pt x="2195" y="5197"/>
                      </a:lnTo>
                      <a:lnTo>
                        <a:pt x="2136" y="5178"/>
                      </a:lnTo>
                      <a:lnTo>
                        <a:pt x="2077" y="5159"/>
                      </a:lnTo>
                      <a:lnTo>
                        <a:pt x="2020" y="5137"/>
                      </a:lnTo>
                      <a:lnTo>
                        <a:pt x="1962" y="5113"/>
                      </a:lnTo>
                      <a:lnTo>
                        <a:pt x="1905" y="5089"/>
                      </a:lnTo>
                      <a:lnTo>
                        <a:pt x="1849" y="5063"/>
                      </a:lnTo>
                      <a:lnTo>
                        <a:pt x="1793" y="5036"/>
                      </a:lnTo>
                      <a:lnTo>
                        <a:pt x="1738" y="5008"/>
                      </a:lnTo>
                      <a:lnTo>
                        <a:pt x="1685" y="4979"/>
                      </a:lnTo>
                      <a:lnTo>
                        <a:pt x="1631" y="4948"/>
                      </a:lnTo>
                      <a:lnTo>
                        <a:pt x="1579" y="4915"/>
                      </a:lnTo>
                      <a:lnTo>
                        <a:pt x="1527" y="4881"/>
                      </a:lnTo>
                      <a:lnTo>
                        <a:pt x="1476" y="4848"/>
                      </a:lnTo>
                      <a:lnTo>
                        <a:pt x="1426" y="4812"/>
                      </a:lnTo>
                      <a:lnTo>
                        <a:pt x="1377" y="4775"/>
                      </a:lnTo>
                      <a:lnTo>
                        <a:pt x="1328" y="4738"/>
                      </a:lnTo>
                      <a:lnTo>
                        <a:pt x="1280" y="4699"/>
                      </a:lnTo>
                      <a:lnTo>
                        <a:pt x="1234" y="4659"/>
                      </a:lnTo>
                      <a:lnTo>
                        <a:pt x="1188" y="4618"/>
                      </a:lnTo>
                      <a:lnTo>
                        <a:pt x="1143" y="4576"/>
                      </a:lnTo>
                      <a:lnTo>
                        <a:pt x="1100" y="4534"/>
                      </a:lnTo>
                      <a:lnTo>
                        <a:pt x="1057" y="4489"/>
                      </a:lnTo>
                      <a:lnTo>
                        <a:pt x="1014" y="4444"/>
                      </a:lnTo>
                      <a:lnTo>
                        <a:pt x="974" y="4398"/>
                      </a:lnTo>
                      <a:lnTo>
                        <a:pt x="935" y="4352"/>
                      </a:lnTo>
                      <a:lnTo>
                        <a:pt x="895" y="4303"/>
                      </a:lnTo>
                      <a:lnTo>
                        <a:pt x="858" y="4255"/>
                      </a:lnTo>
                      <a:lnTo>
                        <a:pt x="821" y="4206"/>
                      </a:lnTo>
                      <a:lnTo>
                        <a:pt x="786" y="4155"/>
                      </a:lnTo>
                      <a:lnTo>
                        <a:pt x="752" y="4104"/>
                      </a:lnTo>
                      <a:lnTo>
                        <a:pt x="719" y="4051"/>
                      </a:lnTo>
                      <a:lnTo>
                        <a:pt x="687" y="4000"/>
                      </a:lnTo>
                      <a:lnTo>
                        <a:pt x="656" y="3945"/>
                      </a:lnTo>
                      <a:lnTo>
                        <a:pt x="628" y="3891"/>
                      </a:lnTo>
                      <a:lnTo>
                        <a:pt x="599" y="3836"/>
                      </a:lnTo>
                      <a:lnTo>
                        <a:pt x="572" y="3780"/>
                      </a:lnTo>
                      <a:lnTo>
                        <a:pt x="547" y="3724"/>
                      </a:lnTo>
                      <a:lnTo>
                        <a:pt x="523" y="3667"/>
                      </a:lnTo>
                      <a:lnTo>
                        <a:pt x="500" y="3609"/>
                      </a:lnTo>
                      <a:lnTo>
                        <a:pt x="478" y="3550"/>
                      </a:lnTo>
                      <a:lnTo>
                        <a:pt x="459" y="3491"/>
                      </a:lnTo>
                      <a:lnTo>
                        <a:pt x="439" y="3432"/>
                      </a:lnTo>
                      <a:lnTo>
                        <a:pt x="422" y="3372"/>
                      </a:lnTo>
                      <a:lnTo>
                        <a:pt x="407" y="3311"/>
                      </a:lnTo>
                      <a:lnTo>
                        <a:pt x="392" y="3249"/>
                      </a:lnTo>
                      <a:lnTo>
                        <a:pt x="379" y="3187"/>
                      </a:lnTo>
                      <a:lnTo>
                        <a:pt x="367" y="3125"/>
                      </a:lnTo>
                      <a:lnTo>
                        <a:pt x="358" y="3062"/>
                      </a:lnTo>
                      <a:lnTo>
                        <a:pt x="349" y="2999"/>
                      </a:lnTo>
                      <a:lnTo>
                        <a:pt x="342" y="2935"/>
                      </a:lnTo>
                      <a:lnTo>
                        <a:pt x="338" y="2872"/>
                      </a:lnTo>
                      <a:lnTo>
                        <a:pt x="335" y="2807"/>
                      </a:lnTo>
                      <a:lnTo>
                        <a:pt x="335" y="2807"/>
                      </a:lnTo>
                      <a:lnTo>
                        <a:pt x="332" y="2745"/>
                      </a:lnTo>
                      <a:lnTo>
                        <a:pt x="332" y="2683"/>
                      </a:lnTo>
                      <a:lnTo>
                        <a:pt x="333" y="2621"/>
                      </a:lnTo>
                      <a:lnTo>
                        <a:pt x="336" y="2561"/>
                      </a:lnTo>
                      <a:lnTo>
                        <a:pt x="339" y="2500"/>
                      </a:lnTo>
                      <a:lnTo>
                        <a:pt x="345" y="2438"/>
                      </a:lnTo>
                      <a:lnTo>
                        <a:pt x="352" y="2379"/>
                      </a:lnTo>
                      <a:lnTo>
                        <a:pt x="361" y="2319"/>
                      </a:lnTo>
                      <a:lnTo>
                        <a:pt x="370" y="2260"/>
                      </a:lnTo>
                      <a:lnTo>
                        <a:pt x="382" y="2201"/>
                      </a:lnTo>
                      <a:lnTo>
                        <a:pt x="395" y="2142"/>
                      </a:lnTo>
                      <a:lnTo>
                        <a:pt x="410" y="2085"/>
                      </a:lnTo>
                      <a:lnTo>
                        <a:pt x="425" y="2027"/>
                      </a:lnTo>
                      <a:lnTo>
                        <a:pt x="442" y="1970"/>
                      </a:lnTo>
                      <a:lnTo>
                        <a:pt x="461" y="1913"/>
                      </a:lnTo>
                      <a:lnTo>
                        <a:pt x="481" y="1857"/>
                      </a:lnTo>
                      <a:lnTo>
                        <a:pt x="503" y="1801"/>
                      </a:lnTo>
                      <a:lnTo>
                        <a:pt x="525" y="1747"/>
                      </a:lnTo>
                      <a:lnTo>
                        <a:pt x="548" y="1694"/>
                      </a:lnTo>
                      <a:lnTo>
                        <a:pt x="575" y="1639"/>
                      </a:lnTo>
                      <a:lnTo>
                        <a:pt x="602" y="1586"/>
                      </a:lnTo>
                      <a:lnTo>
                        <a:pt x="630" y="1535"/>
                      </a:lnTo>
                      <a:lnTo>
                        <a:pt x="659" y="1483"/>
                      </a:lnTo>
                      <a:lnTo>
                        <a:pt x="690" y="1433"/>
                      </a:lnTo>
                      <a:lnTo>
                        <a:pt x="722" y="1383"/>
                      </a:lnTo>
                      <a:lnTo>
                        <a:pt x="756" y="1333"/>
                      </a:lnTo>
                      <a:lnTo>
                        <a:pt x="790" y="1285"/>
                      </a:lnTo>
                      <a:lnTo>
                        <a:pt x="827" y="1237"/>
                      </a:lnTo>
                      <a:lnTo>
                        <a:pt x="864" y="1190"/>
                      </a:lnTo>
                      <a:lnTo>
                        <a:pt x="902" y="1144"/>
                      </a:lnTo>
                      <a:lnTo>
                        <a:pt x="944" y="1100"/>
                      </a:lnTo>
                      <a:lnTo>
                        <a:pt x="985" y="1055"/>
                      </a:lnTo>
                      <a:lnTo>
                        <a:pt x="985" y="1055"/>
                      </a:lnTo>
                      <a:lnTo>
                        <a:pt x="1026" y="1011"/>
                      </a:lnTo>
                      <a:lnTo>
                        <a:pt x="1070" y="970"/>
                      </a:lnTo>
                      <a:lnTo>
                        <a:pt x="1115" y="929"/>
                      </a:lnTo>
                      <a:lnTo>
                        <a:pt x="1159" y="890"/>
                      </a:lnTo>
                      <a:lnTo>
                        <a:pt x="1206" y="852"/>
                      </a:lnTo>
                      <a:lnTo>
                        <a:pt x="1252" y="815"/>
                      </a:lnTo>
                      <a:lnTo>
                        <a:pt x="1300" y="780"/>
                      </a:lnTo>
                      <a:lnTo>
                        <a:pt x="1349" y="746"/>
                      </a:lnTo>
                      <a:lnTo>
                        <a:pt x="1398" y="712"/>
                      </a:lnTo>
                      <a:lnTo>
                        <a:pt x="1448" y="681"/>
                      </a:lnTo>
                      <a:lnTo>
                        <a:pt x="1498" y="650"/>
                      </a:lnTo>
                      <a:lnTo>
                        <a:pt x="1549" y="620"/>
                      </a:lnTo>
                      <a:lnTo>
                        <a:pt x="1602" y="594"/>
                      </a:lnTo>
                      <a:lnTo>
                        <a:pt x="1656" y="567"/>
                      </a:lnTo>
                      <a:lnTo>
                        <a:pt x="1709" y="542"/>
                      </a:lnTo>
                      <a:lnTo>
                        <a:pt x="1763" y="519"/>
                      </a:lnTo>
                      <a:lnTo>
                        <a:pt x="1818" y="497"/>
                      </a:lnTo>
                      <a:lnTo>
                        <a:pt x="1874" y="474"/>
                      </a:lnTo>
                      <a:lnTo>
                        <a:pt x="1930" y="455"/>
                      </a:lnTo>
                      <a:lnTo>
                        <a:pt x="1986" y="438"/>
                      </a:lnTo>
                      <a:lnTo>
                        <a:pt x="2043" y="421"/>
                      </a:lnTo>
                      <a:lnTo>
                        <a:pt x="2101" y="405"/>
                      </a:lnTo>
                      <a:lnTo>
                        <a:pt x="2160" y="392"/>
                      </a:lnTo>
                      <a:lnTo>
                        <a:pt x="2219" y="379"/>
                      </a:lnTo>
                      <a:lnTo>
                        <a:pt x="2278" y="368"/>
                      </a:lnTo>
                      <a:lnTo>
                        <a:pt x="2337" y="358"/>
                      </a:lnTo>
                      <a:lnTo>
                        <a:pt x="2397" y="351"/>
                      </a:lnTo>
                      <a:lnTo>
                        <a:pt x="2458" y="343"/>
                      </a:lnTo>
                      <a:lnTo>
                        <a:pt x="2518" y="339"/>
                      </a:lnTo>
                      <a:lnTo>
                        <a:pt x="2580" y="334"/>
                      </a:lnTo>
                      <a:lnTo>
                        <a:pt x="2642" y="333"/>
                      </a:lnTo>
                      <a:lnTo>
                        <a:pt x="2704" y="331"/>
                      </a:lnTo>
                      <a:close/>
                      <a:moveTo>
                        <a:pt x="2704" y="0"/>
                      </a:moveTo>
                      <a:lnTo>
                        <a:pt x="2704" y="0"/>
                      </a:lnTo>
                      <a:lnTo>
                        <a:pt x="2630" y="1"/>
                      </a:lnTo>
                      <a:lnTo>
                        <a:pt x="2558" y="4"/>
                      </a:lnTo>
                      <a:lnTo>
                        <a:pt x="2487" y="9"/>
                      </a:lnTo>
                      <a:lnTo>
                        <a:pt x="2415" y="14"/>
                      </a:lnTo>
                      <a:lnTo>
                        <a:pt x="2345" y="23"/>
                      </a:lnTo>
                      <a:lnTo>
                        <a:pt x="2275" y="32"/>
                      </a:lnTo>
                      <a:lnTo>
                        <a:pt x="2205" y="44"/>
                      </a:lnTo>
                      <a:lnTo>
                        <a:pt x="2138" y="57"/>
                      </a:lnTo>
                      <a:lnTo>
                        <a:pt x="2070" y="72"/>
                      </a:lnTo>
                      <a:lnTo>
                        <a:pt x="2002" y="88"/>
                      </a:lnTo>
                      <a:lnTo>
                        <a:pt x="1936" y="107"/>
                      </a:lnTo>
                      <a:lnTo>
                        <a:pt x="1869" y="127"/>
                      </a:lnTo>
                      <a:lnTo>
                        <a:pt x="1804" y="149"/>
                      </a:lnTo>
                      <a:lnTo>
                        <a:pt x="1741" y="171"/>
                      </a:lnTo>
                      <a:lnTo>
                        <a:pt x="1678" y="196"/>
                      </a:lnTo>
                      <a:lnTo>
                        <a:pt x="1614" y="222"/>
                      </a:lnTo>
                      <a:lnTo>
                        <a:pt x="1552" y="249"/>
                      </a:lnTo>
                      <a:lnTo>
                        <a:pt x="1492" y="278"/>
                      </a:lnTo>
                      <a:lnTo>
                        <a:pt x="1433" y="308"/>
                      </a:lnTo>
                      <a:lnTo>
                        <a:pt x="1373" y="340"/>
                      </a:lnTo>
                      <a:lnTo>
                        <a:pt x="1315" y="374"/>
                      </a:lnTo>
                      <a:lnTo>
                        <a:pt x="1258" y="408"/>
                      </a:lnTo>
                      <a:lnTo>
                        <a:pt x="1202" y="445"/>
                      </a:lnTo>
                      <a:lnTo>
                        <a:pt x="1147" y="482"/>
                      </a:lnTo>
                      <a:lnTo>
                        <a:pt x="1092" y="520"/>
                      </a:lnTo>
                      <a:lnTo>
                        <a:pt x="1039" y="560"/>
                      </a:lnTo>
                      <a:lnTo>
                        <a:pt x="988" y="601"/>
                      </a:lnTo>
                      <a:lnTo>
                        <a:pt x="936" y="644"/>
                      </a:lnTo>
                      <a:lnTo>
                        <a:pt x="886" y="688"/>
                      </a:lnTo>
                      <a:lnTo>
                        <a:pt x="837" y="732"/>
                      </a:lnTo>
                      <a:lnTo>
                        <a:pt x="790" y="778"/>
                      </a:lnTo>
                      <a:lnTo>
                        <a:pt x="745" y="827"/>
                      </a:lnTo>
                      <a:lnTo>
                        <a:pt x="699" y="874"/>
                      </a:lnTo>
                      <a:lnTo>
                        <a:pt x="655" y="924"/>
                      </a:lnTo>
                      <a:lnTo>
                        <a:pt x="612" y="974"/>
                      </a:lnTo>
                      <a:lnTo>
                        <a:pt x="571" y="1026"/>
                      </a:lnTo>
                      <a:lnTo>
                        <a:pt x="531" y="1079"/>
                      </a:lnTo>
                      <a:lnTo>
                        <a:pt x="491" y="1134"/>
                      </a:lnTo>
                      <a:lnTo>
                        <a:pt x="454" y="1188"/>
                      </a:lnTo>
                      <a:lnTo>
                        <a:pt x="417" y="1244"/>
                      </a:lnTo>
                      <a:lnTo>
                        <a:pt x="382" y="1300"/>
                      </a:lnTo>
                      <a:lnTo>
                        <a:pt x="349" y="1358"/>
                      </a:lnTo>
                      <a:lnTo>
                        <a:pt x="317" y="1417"/>
                      </a:lnTo>
                      <a:lnTo>
                        <a:pt x="286" y="1476"/>
                      </a:lnTo>
                      <a:lnTo>
                        <a:pt x="257" y="1536"/>
                      </a:lnTo>
                      <a:lnTo>
                        <a:pt x="229" y="1598"/>
                      </a:lnTo>
                      <a:lnTo>
                        <a:pt x="202" y="1660"/>
                      </a:lnTo>
                      <a:lnTo>
                        <a:pt x="177" y="1723"/>
                      </a:lnTo>
                      <a:lnTo>
                        <a:pt x="155" y="1787"/>
                      </a:lnTo>
                      <a:lnTo>
                        <a:pt x="133" y="1852"/>
                      </a:lnTo>
                      <a:lnTo>
                        <a:pt x="112" y="1916"/>
                      </a:lnTo>
                      <a:lnTo>
                        <a:pt x="94" y="1983"/>
                      </a:lnTo>
                      <a:lnTo>
                        <a:pt x="77" y="2049"/>
                      </a:lnTo>
                      <a:lnTo>
                        <a:pt x="62" y="2115"/>
                      </a:lnTo>
                      <a:lnTo>
                        <a:pt x="47" y="2183"/>
                      </a:lnTo>
                      <a:lnTo>
                        <a:pt x="35" y="2253"/>
                      </a:lnTo>
                      <a:lnTo>
                        <a:pt x="25" y="2322"/>
                      </a:lnTo>
                      <a:lnTo>
                        <a:pt x="16" y="2391"/>
                      </a:lnTo>
                      <a:lnTo>
                        <a:pt x="10" y="2462"/>
                      </a:lnTo>
                      <a:lnTo>
                        <a:pt x="4" y="2533"/>
                      </a:lnTo>
                      <a:lnTo>
                        <a:pt x="2" y="2604"/>
                      </a:lnTo>
                      <a:lnTo>
                        <a:pt x="0" y="2676"/>
                      </a:lnTo>
                      <a:lnTo>
                        <a:pt x="0" y="2748"/>
                      </a:lnTo>
                      <a:lnTo>
                        <a:pt x="3" y="2820"/>
                      </a:lnTo>
                      <a:lnTo>
                        <a:pt x="3" y="2820"/>
                      </a:lnTo>
                      <a:lnTo>
                        <a:pt x="7" y="2894"/>
                      </a:lnTo>
                      <a:lnTo>
                        <a:pt x="12" y="2966"/>
                      </a:lnTo>
                      <a:lnTo>
                        <a:pt x="21" y="3038"/>
                      </a:lnTo>
                      <a:lnTo>
                        <a:pt x="30" y="3109"/>
                      </a:lnTo>
                      <a:lnTo>
                        <a:pt x="41" y="3180"/>
                      </a:lnTo>
                      <a:lnTo>
                        <a:pt x="53" y="3251"/>
                      </a:lnTo>
                      <a:lnTo>
                        <a:pt x="68" y="3320"/>
                      </a:lnTo>
                      <a:lnTo>
                        <a:pt x="84" y="3389"/>
                      </a:lnTo>
                      <a:lnTo>
                        <a:pt x="102" y="3459"/>
                      </a:lnTo>
                      <a:lnTo>
                        <a:pt x="121" y="3526"/>
                      </a:lnTo>
                      <a:lnTo>
                        <a:pt x="143" y="3593"/>
                      </a:lnTo>
                      <a:lnTo>
                        <a:pt x="165" y="3659"/>
                      </a:lnTo>
                      <a:lnTo>
                        <a:pt x="189" y="3726"/>
                      </a:lnTo>
                      <a:lnTo>
                        <a:pt x="215" y="3790"/>
                      </a:lnTo>
                      <a:lnTo>
                        <a:pt x="242" y="3855"/>
                      </a:lnTo>
                      <a:lnTo>
                        <a:pt x="271" y="3919"/>
                      </a:lnTo>
                      <a:lnTo>
                        <a:pt x="301" y="3982"/>
                      </a:lnTo>
                      <a:lnTo>
                        <a:pt x="333" y="4044"/>
                      </a:lnTo>
                      <a:lnTo>
                        <a:pt x="366" y="4106"/>
                      </a:lnTo>
                      <a:lnTo>
                        <a:pt x="401" y="4165"/>
                      </a:lnTo>
                      <a:lnTo>
                        <a:pt x="436" y="4225"/>
                      </a:lnTo>
                      <a:lnTo>
                        <a:pt x="473" y="4284"/>
                      </a:lnTo>
                      <a:lnTo>
                        <a:pt x="512" y="4342"/>
                      </a:lnTo>
                      <a:lnTo>
                        <a:pt x="551" y="4398"/>
                      </a:lnTo>
                      <a:lnTo>
                        <a:pt x="593" y="4454"/>
                      </a:lnTo>
                      <a:lnTo>
                        <a:pt x="635" y="4508"/>
                      </a:lnTo>
                      <a:lnTo>
                        <a:pt x="678" y="4563"/>
                      </a:lnTo>
                      <a:lnTo>
                        <a:pt x="722" y="4616"/>
                      </a:lnTo>
                      <a:lnTo>
                        <a:pt x="770" y="4668"/>
                      </a:lnTo>
                      <a:lnTo>
                        <a:pt x="817" y="4718"/>
                      </a:lnTo>
                      <a:lnTo>
                        <a:pt x="864" y="4768"/>
                      </a:lnTo>
                      <a:lnTo>
                        <a:pt x="914" y="4815"/>
                      </a:lnTo>
                      <a:lnTo>
                        <a:pt x="964" y="4862"/>
                      </a:lnTo>
                      <a:lnTo>
                        <a:pt x="1016" y="4909"/>
                      </a:lnTo>
                      <a:lnTo>
                        <a:pt x="1069" y="4954"/>
                      </a:lnTo>
                      <a:lnTo>
                        <a:pt x="1122" y="4998"/>
                      </a:lnTo>
                      <a:lnTo>
                        <a:pt x="1176" y="5041"/>
                      </a:lnTo>
                      <a:lnTo>
                        <a:pt x="1232" y="5082"/>
                      </a:lnTo>
                      <a:lnTo>
                        <a:pt x="1288" y="5122"/>
                      </a:lnTo>
                      <a:lnTo>
                        <a:pt x="1346" y="5160"/>
                      </a:lnTo>
                      <a:lnTo>
                        <a:pt x="1403" y="5197"/>
                      </a:lnTo>
                      <a:lnTo>
                        <a:pt x="1464" y="5234"/>
                      </a:lnTo>
                      <a:lnTo>
                        <a:pt x="1523" y="5268"/>
                      </a:lnTo>
                      <a:lnTo>
                        <a:pt x="1585" y="5302"/>
                      </a:lnTo>
                      <a:lnTo>
                        <a:pt x="1647" y="5333"/>
                      </a:lnTo>
                      <a:lnTo>
                        <a:pt x="1709" y="5364"/>
                      </a:lnTo>
                      <a:lnTo>
                        <a:pt x="1772" y="5393"/>
                      </a:lnTo>
                      <a:lnTo>
                        <a:pt x="1835" y="5420"/>
                      </a:lnTo>
                      <a:lnTo>
                        <a:pt x="1900" y="5446"/>
                      </a:lnTo>
                      <a:lnTo>
                        <a:pt x="1967" y="5471"/>
                      </a:lnTo>
                      <a:lnTo>
                        <a:pt x="2033" y="5493"/>
                      </a:lnTo>
                      <a:lnTo>
                        <a:pt x="2099" y="5515"/>
                      </a:lnTo>
                      <a:lnTo>
                        <a:pt x="2167" y="5535"/>
                      </a:lnTo>
                      <a:lnTo>
                        <a:pt x="2235" y="5554"/>
                      </a:lnTo>
                      <a:lnTo>
                        <a:pt x="2303" y="5570"/>
                      </a:lnTo>
                      <a:lnTo>
                        <a:pt x="2372" y="5585"/>
                      </a:lnTo>
                      <a:lnTo>
                        <a:pt x="2443" y="5598"/>
                      </a:lnTo>
                      <a:lnTo>
                        <a:pt x="2512" y="5610"/>
                      </a:lnTo>
                      <a:lnTo>
                        <a:pt x="2583" y="5619"/>
                      </a:lnTo>
                      <a:lnTo>
                        <a:pt x="2654" y="5628"/>
                      </a:lnTo>
                      <a:lnTo>
                        <a:pt x="2726" y="5633"/>
                      </a:lnTo>
                      <a:lnTo>
                        <a:pt x="2798" y="5638"/>
                      </a:lnTo>
                      <a:lnTo>
                        <a:pt x="2870" y="5641"/>
                      </a:lnTo>
                      <a:lnTo>
                        <a:pt x="2943" y="5642"/>
                      </a:lnTo>
                      <a:lnTo>
                        <a:pt x="2943" y="5642"/>
                      </a:lnTo>
                      <a:lnTo>
                        <a:pt x="3016" y="5641"/>
                      </a:lnTo>
                      <a:lnTo>
                        <a:pt x="3088" y="5638"/>
                      </a:lnTo>
                      <a:lnTo>
                        <a:pt x="3159" y="5633"/>
                      </a:lnTo>
                      <a:lnTo>
                        <a:pt x="3231" y="5628"/>
                      </a:lnTo>
                      <a:lnTo>
                        <a:pt x="3302" y="5619"/>
                      </a:lnTo>
                      <a:lnTo>
                        <a:pt x="3372" y="5610"/>
                      </a:lnTo>
                      <a:lnTo>
                        <a:pt x="3441" y="5598"/>
                      </a:lnTo>
                      <a:lnTo>
                        <a:pt x="3509" y="5585"/>
                      </a:lnTo>
                      <a:lnTo>
                        <a:pt x="3578" y="5570"/>
                      </a:lnTo>
                      <a:lnTo>
                        <a:pt x="3644" y="5554"/>
                      </a:lnTo>
                      <a:lnTo>
                        <a:pt x="3711" y="5535"/>
                      </a:lnTo>
                      <a:lnTo>
                        <a:pt x="3777" y="5515"/>
                      </a:lnTo>
                      <a:lnTo>
                        <a:pt x="3842" y="5493"/>
                      </a:lnTo>
                      <a:lnTo>
                        <a:pt x="3905" y="5471"/>
                      </a:lnTo>
                      <a:lnTo>
                        <a:pt x="3969" y="5446"/>
                      </a:lnTo>
                      <a:lnTo>
                        <a:pt x="4032" y="5420"/>
                      </a:lnTo>
                      <a:lnTo>
                        <a:pt x="4094" y="5393"/>
                      </a:lnTo>
                      <a:lnTo>
                        <a:pt x="4154" y="5364"/>
                      </a:lnTo>
                      <a:lnTo>
                        <a:pt x="4215" y="5333"/>
                      </a:lnTo>
                      <a:lnTo>
                        <a:pt x="4274" y="5302"/>
                      </a:lnTo>
                      <a:lnTo>
                        <a:pt x="4331" y="5268"/>
                      </a:lnTo>
                      <a:lnTo>
                        <a:pt x="4389" y="5234"/>
                      </a:lnTo>
                      <a:lnTo>
                        <a:pt x="4445" y="5197"/>
                      </a:lnTo>
                      <a:lnTo>
                        <a:pt x="4499" y="5160"/>
                      </a:lnTo>
                      <a:lnTo>
                        <a:pt x="4554" y="5122"/>
                      </a:lnTo>
                      <a:lnTo>
                        <a:pt x="4607" y="5082"/>
                      </a:lnTo>
                      <a:lnTo>
                        <a:pt x="4659" y="5041"/>
                      </a:lnTo>
                      <a:lnTo>
                        <a:pt x="4710" y="4998"/>
                      </a:lnTo>
                      <a:lnTo>
                        <a:pt x="4760" y="4954"/>
                      </a:lnTo>
                      <a:lnTo>
                        <a:pt x="4809" y="4909"/>
                      </a:lnTo>
                      <a:lnTo>
                        <a:pt x="4856" y="4862"/>
                      </a:lnTo>
                      <a:lnTo>
                        <a:pt x="4903" y="4815"/>
                      </a:lnTo>
                      <a:lnTo>
                        <a:pt x="4947" y="4768"/>
                      </a:lnTo>
                      <a:lnTo>
                        <a:pt x="4992" y="4718"/>
                      </a:lnTo>
                      <a:lnTo>
                        <a:pt x="5034" y="4668"/>
                      </a:lnTo>
                      <a:lnTo>
                        <a:pt x="5076" y="4616"/>
                      </a:lnTo>
                      <a:lnTo>
                        <a:pt x="5117" y="4563"/>
                      </a:lnTo>
                      <a:lnTo>
                        <a:pt x="5155" y="4508"/>
                      </a:lnTo>
                      <a:lnTo>
                        <a:pt x="5194" y="4454"/>
                      </a:lnTo>
                      <a:lnTo>
                        <a:pt x="5229" y="4398"/>
                      </a:lnTo>
                      <a:lnTo>
                        <a:pt x="5264" y="4342"/>
                      </a:lnTo>
                      <a:lnTo>
                        <a:pt x="5298" y="4284"/>
                      </a:lnTo>
                      <a:lnTo>
                        <a:pt x="5329" y="4225"/>
                      </a:lnTo>
                      <a:lnTo>
                        <a:pt x="5360" y="4165"/>
                      </a:lnTo>
                      <a:lnTo>
                        <a:pt x="5390" y="4106"/>
                      </a:lnTo>
                      <a:lnTo>
                        <a:pt x="5418" y="4044"/>
                      </a:lnTo>
                      <a:lnTo>
                        <a:pt x="5444" y="3982"/>
                      </a:lnTo>
                      <a:lnTo>
                        <a:pt x="5469" y="3919"/>
                      </a:lnTo>
                      <a:lnTo>
                        <a:pt x="5493" y="3855"/>
                      </a:lnTo>
                      <a:lnTo>
                        <a:pt x="5514" y="3790"/>
                      </a:lnTo>
                      <a:lnTo>
                        <a:pt x="5534" y="3726"/>
                      </a:lnTo>
                      <a:lnTo>
                        <a:pt x="5553" y="3659"/>
                      </a:lnTo>
                      <a:lnTo>
                        <a:pt x="5570" y="3593"/>
                      </a:lnTo>
                      <a:lnTo>
                        <a:pt x="5584" y="3526"/>
                      </a:lnTo>
                      <a:lnTo>
                        <a:pt x="5599" y="3459"/>
                      </a:lnTo>
                      <a:lnTo>
                        <a:pt x="5611" y="3389"/>
                      </a:lnTo>
                      <a:lnTo>
                        <a:pt x="5621" y="3320"/>
                      </a:lnTo>
                      <a:lnTo>
                        <a:pt x="5630" y="3251"/>
                      </a:lnTo>
                      <a:lnTo>
                        <a:pt x="5636" y="3180"/>
                      </a:lnTo>
                      <a:lnTo>
                        <a:pt x="5642" y="3109"/>
                      </a:lnTo>
                      <a:lnTo>
                        <a:pt x="5645" y="3038"/>
                      </a:lnTo>
                      <a:lnTo>
                        <a:pt x="5646" y="2966"/>
                      </a:lnTo>
                      <a:lnTo>
                        <a:pt x="5646" y="2894"/>
                      </a:lnTo>
                      <a:lnTo>
                        <a:pt x="5643" y="2820"/>
                      </a:lnTo>
                      <a:lnTo>
                        <a:pt x="5643" y="2820"/>
                      </a:lnTo>
                      <a:lnTo>
                        <a:pt x="5640" y="2748"/>
                      </a:lnTo>
                      <a:lnTo>
                        <a:pt x="5634" y="2676"/>
                      </a:lnTo>
                      <a:lnTo>
                        <a:pt x="5627" y="2604"/>
                      </a:lnTo>
                      <a:lnTo>
                        <a:pt x="5617" y="2533"/>
                      </a:lnTo>
                      <a:lnTo>
                        <a:pt x="5606" y="2462"/>
                      </a:lnTo>
                      <a:lnTo>
                        <a:pt x="5593" y="2391"/>
                      </a:lnTo>
                      <a:lnTo>
                        <a:pt x="5578" y="2322"/>
                      </a:lnTo>
                      <a:lnTo>
                        <a:pt x="5562" y="2253"/>
                      </a:lnTo>
                      <a:lnTo>
                        <a:pt x="5545" y="2183"/>
                      </a:lnTo>
                      <a:lnTo>
                        <a:pt x="5525" y="2115"/>
                      </a:lnTo>
                      <a:lnTo>
                        <a:pt x="5505" y="2049"/>
                      </a:lnTo>
                      <a:lnTo>
                        <a:pt x="5481" y="1983"/>
                      </a:lnTo>
                      <a:lnTo>
                        <a:pt x="5458" y="1916"/>
                      </a:lnTo>
                      <a:lnTo>
                        <a:pt x="5431" y="1852"/>
                      </a:lnTo>
                      <a:lnTo>
                        <a:pt x="5404" y="1787"/>
                      </a:lnTo>
                      <a:lnTo>
                        <a:pt x="5375" y="1723"/>
                      </a:lnTo>
                      <a:lnTo>
                        <a:pt x="5346" y="1660"/>
                      </a:lnTo>
                      <a:lnTo>
                        <a:pt x="5313" y="1598"/>
                      </a:lnTo>
                      <a:lnTo>
                        <a:pt x="5281" y="1536"/>
                      </a:lnTo>
                      <a:lnTo>
                        <a:pt x="5247" y="1476"/>
                      </a:lnTo>
                      <a:lnTo>
                        <a:pt x="5210" y="1417"/>
                      </a:lnTo>
                      <a:lnTo>
                        <a:pt x="5173" y="1358"/>
                      </a:lnTo>
                      <a:lnTo>
                        <a:pt x="5135" y="1300"/>
                      </a:lnTo>
                      <a:lnTo>
                        <a:pt x="5095" y="1244"/>
                      </a:lnTo>
                      <a:lnTo>
                        <a:pt x="5054" y="1188"/>
                      </a:lnTo>
                      <a:lnTo>
                        <a:pt x="5012" y="1134"/>
                      </a:lnTo>
                      <a:lnTo>
                        <a:pt x="4968" y="1079"/>
                      </a:lnTo>
                      <a:lnTo>
                        <a:pt x="4924" y="1026"/>
                      </a:lnTo>
                      <a:lnTo>
                        <a:pt x="4878" y="974"/>
                      </a:lnTo>
                      <a:lnTo>
                        <a:pt x="4831" y="924"/>
                      </a:lnTo>
                      <a:lnTo>
                        <a:pt x="4782" y="874"/>
                      </a:lnTo>
                      <a:lnTo>
                        <a:pt x="4732" y="827"/>
                      </a:lnTo>
                      <a:lnTo>
                        <a:pt x="4682" y="778"/>
                      </a:lnTo>
                      <a:lnTo>
                        <a:pt x="4631" y="732"/>
                      </a:lnTo>
                      <a:lnTo>
                        <a:pt x="4579" y="688"/>
                      </a:lnTo>
                      <a:lnTo>
                        <a:pt x="4524" y="644"/>
                      </a:lnTo>
                      <a:lnTo>
                        <a:pt x="4470" y="601"/>
                      </a:lnTo>
                      <a:lnTo>
                        <a:pt x="4415" y="560"/>
                      </a:lnTo>
                      <a:lnTo>
                        <a:pt x="4358" y="520"/>
                      </a:lnTo>
                      <a:lnTo>
                        <a:pt x="4300" y="482"/>
                      </a:lnTo>
                      <a:lnTo>
                        <a:pt x="4243" y="445"/>
                      </a:lnTo>
                      <a:lnTo>
                        <a:pt x="4184" y="408"/>
                      </a:lnTo>
                      <a:lnTo>
                        <a:pt x="4123" y="374"/>
                      </a:lnTo>
                      <a:lnTo>
                        <a:pt x="4061" y="340"/>
                      </a:lnTo>
                      <a:lnTo>
                        <a:pt x="4001" y="308"/>
                      </a:lnTo>
                      <a:lnTo>
                        <a:pt x="3938" y="278"/>
                      </a:lnTo>
                      <a:lnTo>
                        <a:pt x="3874" y="249"/>
                      </a:lnTo>
                      <a:lnTo>
                        <a:pt x="3811" y="222"/>
                      </a:lnTo>
                      <a:lnTo>
                        <a:pt x="3746" y="196"/>
                      </a:lnTo>
                      <a:lnTo>
                        <a:pt x="3680" y="171"/>
                      </a:lnTo>
                      <a:lnTo>
                        <a:pt x="3615" y="149"/>
                      </a:lnTo>
                      <a:lnTo>
                        <a:pt x="3547" y="127"/>
                      </a:lnTo>
                      <a:lnTo>
                        <a:pt x="3481" y="107"/>
                      </a:lnTo>
                      <a:lnTo>
                        <a:pt x="3411" y="88"/>
                      </a:lnTo>
                      <a:lnTo>
                        <a:pt x="3344" y="72"/>
                      </a:lnTo>
                      <a:lnTo>
                        <a:pt x="3274" y="57"/>
                      </a:lnTo>
                      <a:lnTo>
                        <a:pt x="3205" y="44"/>
                      </a:lnTo>
                      <a:lnTo>
                        <a:pt x="3134" y="32"/>
                      </a:lnTo>
                      <a:lnTo>
                        <a:pt x="3063" y="23"/>
                      </a:lnTo>
                      <a:lnTo>
                        <a:pt x="2993" y="14"/>
                      </a:lnTo>
                      <a:lnTo>
                        <a:pt x="2920" y="9"/>
                      </a:lnTo>
                      <a:lnTo>
                        <a:pt x="2848" y="4"/>
                      </a:lnTo>
                      <a:lnTo>
                        <a:pt x="2776" y="1"/>
                      </a:lnTo>
                      <a:lnTo>
                        <a:pt x="2704" y="0"/>
                      </a:lnTo>
                      <a:lnTo>
                        <a:pt x="270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1314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81" name="Freeform 16">
                  <a:extLst>
                    <a:ext uri="{FF2B5EF4-FFF2-40B4-BE49-F238E27FC236}">
                      <a16:creationId xmlns:a16="http://schemas.microsoft.com/office/drawing/2014/main" xmlns="" id="{6426E4A2-D1AE-AE4A-B255-1959046298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13750" y="404813"/>
                  <a:ext cx="2928938" cy="2925763"/>
                </a:xfrm>
                <a:custGeom>
                  <a:avLst/>
                  <a:gdLst/>
                  <a:ahLst/>
                  <a:cxnLst>
                    <a:cxn ang="0">
                      <a:pos x="3124" y="135"/>
                    </a:cxn>
                    <a:cxn ang="0">
                      <a:pos x="3699" y="303"/>
                    </a:cxn>
                    <a:cxn ang="0">
                      <a:pos x="4218" y="588"/>
                    </a:cxn>
                    <a:cxn ang="0">
                      <a:pos x="4666" y="971"/>
                    </a:cxn>
                    <a:cxn ang="0">
                      <a:pos x="5027" y="1439"/>
                    </a:cxn>
                    <a:cxn ang="0">
                      <a:pos x="5285" y="1974"/>
                    </a:cxn>
                    <a:cxn ang="0">
                      <a:pos x="5422" y="2564"/>
                    </a:cxn>
                    <a:cxn ang="0">
                      <a:pos x="5433" y="3100"/>
                    </a:cxn>
                    <a:cxn ang="0">
                      <a:pos x="5322" y="3670"/>
                    </a:cxn>
                    <a:cxn ang="0">
                      <a:pos x="5088" y="4194"/>
                    </a:cxn>
                    <a:cxn ang="0">
                      <a:pos x="4737" y="4656"/>
                    </a:cxn>
                    <a:cxn ang="0">
                      <a:pos x="4345" y="4991"/>
                    </a:cxn>
                    <a:cxn ang="0">
                      <a:pos x="3839" y="5259"/>
                    </a:cxn>
                    <a:cxn ang="0">
                      <a:pos x="3279" y="5408"/>
                    </a:cxn>
                    <a:cxn ang="0">
                      <a:pos x="2748" y="5433"/>
                    </a:cxn>
                    <a:cxn ang="0">
                      <a:pos x="2149" y="5336"/>
                    </a:cxn>
                    <a:cxn ang="0">
                      <a:pos x="1597" y="5113"/>
                    </a:cxn>
                    <a:cxn ang="0">
                      <a:pos x="1107" y="4784"/>
                    </a:cxn>
                    <a:cxn ang="0">
                      <a:pos x="696" y="4361"/>
                    </a:cxn>
                    <a:cxn ang="0">
                      <a:pos x="379" y="3861"/>
                    </a:cxn>
                    <a:cxn ang="0">
                      <a:pos x="173" y="3299"/>
                    </a:cxn>
                    <a:cxn ang="0">
                      <a:pos x="96" y="2761"/>
                    </a:cxn>
                    <a:cxn ang="0">
                      <a:pos x="136" y="2172"/>
                    </a:cxn>
                    <a:cxn ang="0">
                      <a:pos x="302" y="1620"/>
                    </a:cxn>
                    <a:cxn ang="0">
                      <a:pos x="588" y="1122"/>
                    </a:cxn>
                    <a:cxn ang="0">
                      <a:pos x="938" y="738"/>
                    </a:cxn>
                    <a:cxn ang="0">
                      <a:pos x="1408" y="405"/>
                    </a:cxn>
                    <a:cxn ang="0">
                      <a:pos x="1939" y="190"/>
                    </a:cxn>
                    <a:cxn ang="0">
                      <a:pos x="2517" y="96"/>
                    </a:cxn>
                    <a:cxn ang="0">
                      <a:pos x="2298" y="22"/>
                    </a:cxn>
                    <a:cxn ang="0">
                      <a:pos x="1706" y="168"/>
                    </a:cxn>
                    <a:cxn ang="0">
                      <a:pos x="1178" y="436"/>
                    </a:cxn>
                    <a:cxn ang="0">
                      <a:pos x="730" y="811"/>
                    </a:cxn>
                    <a:cxn ang="0">
                      <a:pos x="374" y="1275"/>
                    </a:cxn>
                    <a:cxn ang="0">
                      <a:pos x="130" y="1815"/>
                    </a:cxn>
                    <a:cxn ang="0">
                      <a:pos x="10" y="2413"/>
                    </a:cxn>
                    <a:cxn ang="0">
                      <a:pos x="21" y="2978"/>
                    </a:cxn>
                    <a:cxn ang="0">
                      <a:pos x="162" y="3587"/>
                    </a:cxn>
                    <a:cxn ang="0">
                      <a:pos x="428" y="4141"/>
                    </a:cxn>
                    <a:cxn ang="0">
                      <a:pos x="801" y="4623"/>
                    </a:cxn>
                    <a:cxn ang="0">
                      <a:pos x="1263" y="5020"/>
                    </a:cxn>
                    <a:cxn ang="0">
                      <a:pos x="1800" y="5312"/>
                    </a:cxn>
                    <a:cxn ang="0">
                      <a:pos x="2394" y="5486"/>
                    </a:cxn>
                    <a:cxn ang="0">
                      <a:pos x="2956" y="5529"/>
                    </a:cxn>
                    <a:cxn ang="0">
                      <a:pos x="3572" y="5443"/>
                    </a:cxn>
                    <a:cxn ang="0">
                      <a:pos x="4131" y="5228"/>
                    </a:cxn>
                    <a:cxn ang="0">
                      <a:pos x="4616" y="4898"/>
                    </a:cxn>
                    <a:cxn ang="0">
                      <a:pos x="5015" y="4472"/>
                    </a:cxn>
                    <a:cxn ang="0">
                      <a:pos x="5310" y="3963"/>
                    </a:cxn>
                    <a:cxn ang="0">
                      <a:pos x="5487" y="3389"/>
                    </a:cxn>
                    <a:cxn ang="0">
                      <a:pos x="5531" y="2764"/>
                    </a:cxn>
                    <a:cxn ang="0">
                      <a:pos x="5452" y="2208"/>
                    </a:cxn>
                    <a:cxn ang="0">
                      <a:pos x="5239" y="1627"/>
                    </a:cxn>
                    <a:cxn ang="0">
                      <a:pos x="4912" y="1111"/>
                    </a:cxn>
                    <a:cxn ang="0">
                      <a:pos x="4488" y="675"/>
                    </a:cxn>
                    <a:cxn ang="0">
                      <a:pos x="3982" y="334"/>
                    </a:cxn>
                    <a:cxn ang="0">
                      <a:pos x="3411" y="104"/>
                    </a:cxn>
                    <a:cxn ang="0">
                      <a:pos x="2792" y="4"/>
                    </a:cxn>
                  </a:cxnLst>
                  <a:rect l="0" t="0" r="r" b="b"/>
                  <a:pathLst>
                    <a:path w="5534" h="5530">
                      <a:moveTo>
                        <a:pt x="2649" y="93"/>
                      </a:moveTo>
                      <a:lnTo>
                        <a:pt x="2649" y="93"/>
                      </a:lnTo>
                      <a:lnTo>
                        <a:pt x="2718" y="94"/>
                      </a:lnTo>
                      <a:lnTo>
                        <a:pt x="2788" y="97"/>
                      </a:lnTo>
                      <a:lnTo>
                        <a:pt x="2856" y="101"/>
                      </a:lnTo>
                      <a:lnTo>
                        <a:pt x="2923" y="107"/>
                      </a:lnTo>
                      <a:lnTo>
                        <a:pt x="2991" y="115"/>
                      </a:lnTo>
                      <a:lnTo>
                        <a:pt x="3058" y="124"/>
                      </a:lnTo>
                      <a:lnTo>
                        <a:pt x="3124" y="135"/>
                      </a:lnTo>
                      <a:lnTo>
                        <a:pt x="3190" y="147"/>
                      </a:lnTo>
                      <a:lnTo>
                        <a:pt x="3257" y="162"/>
                      </a:lnTo>
                      <a:lnTo>
                        <a:pt x="3321" y="178"/>
                      </a:lnTo>
                      <a:lnTo>
                        <a:pt x="3385" y="194"/>
                      </a:lnTo>
                      <a:lnTo>
                        <a:pt x="3450" y="214"/>
                      </a:lnTo>
                      <a:lnTo>
                        <a:pt x="3513" y="234"/>
                      </a:lnTo>
                      <a:lnTo>
                        <a:pt x="3575" y="256"/>
                      </a:lnTo>
                      <a:lnTo>
                        <a:pt x="3637" y="278"/>
                      </a:lnTo>
                      <a:lnTo>
                        <a:pt x="3699" y="303"/>
                      </a:lnTo>
                      <a:lnTo>
                        <a:pt x="3759" y="330"/>
                      </a:lnTo>
                      <a:lnTo>
                        <a:pt x="3820" y="358"/>
                      </a:lnTo>
                      <a:lnTo>
                        <a:pt x="3879" y="386"/>
                      </a:lnTo>
                      <a:lnTo>
                        <a:pt x="3938" y="417"/>
                      </a:lnTo>
                      <a:lnTo>
                        <a:pt x="3995" y="448"/>
                      </a:lnTo>
                      <a:lnTo>
                        <a:pt x="4053" y="480"/>
                      </a:lnTo>
                      <a:lnTo>
                        <a:pt x="4109" y="516"/>
                      </a:lnTo>
                      <a:lnTo>
                        <a:pt x="4163" y="551"/>
                      </a:lnTo>
                      <a:lnTo>
                        <a:pt x="4218" y="588"/>
                      </a:lnTo>
                      <a:lnTo>
                        <a:pt x="4272" y="625"/>
                      </a:lnTo>
                      <a:lnTo>
                        <a:pt x="4325" y="665"/>
                      </a:lnTo>
                      <a:lnTo>
                        <a:pt x="4377" y="705"/>
                      </a:lnTo>
                      <a:lnTo>
                        <a:pt x="4427" y="746"/>
                      </a:lnTo>
                      <a:lnTo>
                        <a:pt x="4477" y="789"/>
                      </a:lnTo>
                      <a:lnTo>
                        <a:pt x="4526" y="833"/>
                      </a:lnTo>
                      <a:lnTo>
                        <a:pt x="4575" y="877"/>
                      </a:lnTo>
                      <a:lnTo>
                        <a:pt x="4620" y="924"/>
                      </a:lnTo>
                      <a:lnTo>
                        <a:pt x="4666" y="971"/>
                      </a:lnTo>
                      <a:lnTo>
                        <a:pt x="4712" y="1019"/>
                      </a:lnTo>
                      <a:lnTo>
                        <a:pt x="4754" y="1067"/>
                      </a:lnTo>
                      <a:lnTo>
                        <a:pt x="4797" y="1117"/>
                      </a:lnTo>
                      <a:lnTo>
                        <a:pt x="4838" y="1169"/>
                      </a:lnTo>
                      <a:lnTo>
                        <a:pt x="4878" y="1221"/>
                      </a:lnTo>
                      <a:lnTo>
                        <a:pt x="4918" y="1274"/>
                      </a:lnTo>
                      <a:lnTo>
                        <a:pt x="4955" y="1328"/>
                      </a:lnTo>
                      <a:lnTo>
                        <a:pt x="4992" y="1383"/>
                      </a:lnTo>
                      <a:lnTo>
                        <a:pt x="5027" y="1439"/>
                      </a:lnTo>
                      <a:lnTo>
                        <a:pt x="5061" y="1495"/>
                      </a:lnTo>
                      <a:lnTo>
                        <a:pt x="5093" y="1552"/>
                      </a:lnTo>
                      <a:lnTo>
                        <a:pt x="5126" y="1610"/>
                      </a:lnTo>
                      <a:lnTo>
                        <a:pt x="5155" y="1669"/>
                      </a:lnTo>
                      <a:lnTo>
                        <a:pt x="5183" y="1728"/>
                      </a:lnTo>
                      <a:lnTo>
                        <a:pt x="5211" y="1788"/>
                      </a:lnTo>
                      <a:lnTo>
                        <a:pt x="5236" y="1850"/>
                      </a:lnTo>
                      <a:lnTo>
                        <a:pt x="5262" y="1912"/>
                      </a:lnTo>
                      <a:lnTo>
                        <a:pt x="5285" y="1974"/>
                      </a:lnTo>
                      <a:lnTo>
                        <a:pt x="5306" y="2037"/>
                      </a:lnTo>
                      <a:lnTo>
                        <a:pt x="5326" y="2101"/>
                      </a:lnTo>
                      <a:lnTo>
                        <a:pt x="5344" y="2166"/>
                      </a:lnTo>
                      <a:lnTo>
                        <a:pt x="5362" y="2231"/>
                      </a:lnTo>
                      <a:lnTo>
                        <a:pt x="5376" y="2295"/>
                      </a:lnTo>
                      <a:lnTo>
                        <a:pt x="5391" y="2362"/>
                      </a:lnTo>
                      <a:lnTo>
                        <a:pt x="5403" y="2428"/>
                      </a:lnTo>
                      <a:lnTo>
                        <a:pt x="5413" y="2496"/>
                      </a:lnTo>
                      <a:lnTo>
                        <a:pt x="5422" y="2564"/>
                      </a:lnTo>
                      <a:lnTo>
                        <a:pt x="5430" y="2632"/>
                      </a:lnTo>
                      <a:lnTo>
                        <a:pt x="5435" y="2699"/>
                      </a:lnTo>
                      <a:lnTo>
                        <a:pt x="5438" y="2769"/>
                      </a:lnTo>
                      <a:lnTo>
                        <a:pt x="5438" y="2769"/>
                      </a:lnTo>
                      <a:lnTo>
                        <a:pt x="5441" y="2835"/>
                      </a:lnTo>
                      <a:lnTo>
                        <a:pt x="5441" y="2903"/>
                      </a:lnTo>
                      <a:lnTo>
                        <a:pt x="5440" y="2968"/>
                      </a:lnTo>
                      <a:lnTo>
                        <a:pt x="5437" y="3034"/>
                      </a:lnTo>
                      <a:lnTo>
                        <a:pt x="5433" y="3100"/>
                      </a:lnTo>
                      <a:lnTo>
                        <a:pt x="5427" y="3165"/>
                      </a:lnTo>
                      <a:lnTo>
                        <a:pt x="5419" y="3230"/>
                      </a:lnTo>
                      <a:lnTo>
                        <a:pt x="5410" y="3294"/>
                      </a:lnTo>
                      <a:lnTo>
                        <a:pt x="5399" y="3358"/>
                      </a:lnTo>
                      <a:lnTo>
                        <a:pt x="5387" y="3422"/>
                      </a:lnTo>
                      <a:lnTo>
                        <a:pt x="5374" y="3484"/>
                      </a:lnTo>
                      <a:lnTo>
                        <a:pt x="5357" y="3547"/>
                      </a:lnTo>
                      <a:lnTo>
                        <a:pt x="5341" y="3609"/>
                      </a:lnTo>
                      <a:lnTo>
                        <a:pt x="5322" y="3670"/>
                      </a:lnTo>
                      <a:lnTo>
                        <a:pt x="5303" y="3731"/>
                      </a:lnTo>
                      <a:lnTo>
                        <a:pt x="5281" y="3792"/>
                      </a:lnTo>
                      <a:lnTo>
                        <a:pt x="5257" y="3851"/>
                      </a:lnTo>
                      <a:lnTo>
                        <a:pt x="5233" y="3910"/>
                      </a:lnTo>
                      <a:lnTo>
                        <a:pt x="5207" y="3969"/>
                      </a:lnTo>
                      <a:lnTo>
                        <a:pt x="5179" y="4026"/>
                      </a:lnTo>
                      <a:lnTo>
                        <a:pt x="5151" y="4082"/>
                      </a:lnTo>
                      <a:lnTo>
                        <a:pt x="5120" y="4140"/>
                      </a:lnTo>
                      <a:lnTo>
                        <a:pt x="5088" y="4194"/>
                      </a:lnTo>
                      <a:lnTo>
                        <a:pt x="5055" y="4249"/>
                      </a:lnTo>
                      <a:lnTo>
                        <a:pt x="5020" y="4304"/>
                      </a:lnTo>
                      <a:lnTo>
                        <a:pt x="4984" y="4357"/>
                      </a:lnTo>
                      <a:lnTo>
                        <a:pt x="4946" y="4408"/>
                      </a:lnTo>
                      <a:lnTo>
                        <a:pt x="4908" y="4460"/>
                      </a:lnTo>
                      <a:lnTo>
                        <a:pt x="4866" y="4510"/>
                      </a:lnTo>
                      <a:lnTo>
                        <a:pt x="4825" y="4560"/>
                      </a:lnTo>
                      <a:lnTo>
                        <a:pt x="4782" y="4609"/>
                      </a:lnTo>
                      <a:lnTo>
                        <a:pt x="4737" y="4656"/>
                      </a:lnTo>
                      <a:lnTo>
                        <a:pt x="4737" y="4656"/>
                      </a:lnTo>
                      <a:lnTo>
                        <a:pt x="4691" y="4703"/>
                      </a:lnTo>
                      <a:lnTo>
                        <a:pt x="4645" y="4749"/>
                      </a:lnTo>
                      <a:lnTo>
                        <a:pt x="4597" y="4792"/>
                      </a:lnTo>
                      <a:lnTo>
                        <a:pt x="4548" y="4834"/>
                      </a:lnTo>
                      <a:lnTo>
                        <a:pt x="4499" y="4876"/>
                      </a:lnTo>
                      <a:lnTo>
                        <a:pt x="4448" y="4915"/>
                      </a:lnTo>
                      <a:lnTo>
                        <a:pt x="4398" y="4954"/>
                      </a:lnTo>
                      <a:lnTo>
                        <a:pt x="4345" y="4991"/>
                      </a:lnTo>
                      <a:lnTo>
                        <a:pt x="4291" y="5026"/>
                      </a:lnTo>
                      <a:lnTo>
                        <a:pt x="4237" y="5060"/>
                      </a:lnTo>
                      <a:lnTo>
                        <a:pt x="4182" y="5094"/>
                      </a:lnTo>
                      <a:lnTo>
                        <a:pt x="4128" y="5125"/>
                      </a:lnTo>
                      <a:lnTo>
                        <a:pt x="4070" y="5154"/>
                      </a:lnTo>
                      <a:lnTo>
                        <a:pt x="4014" y="5182"/>
                      </a:lnTo>
                      <a:lnTo>
                        <a:pt x="3955" y="5210"/>
                      </a:lnTo>
                      <a:lnTo>
                        <a:pt x="3898" y="5235"/>
                      </a:lnTo>
                      <a:lnTo>
                        <a:pt x="3839" y="5259"/>
                      </a:lnTo>
                      <a:lnTo>
                        <a:pt x="3778" y="5283"/>
                      </a:lnTo>
                      <a:lnTo>
                        <a:pt x="3718" y="5303"/>
                      </a:lnTo>
                      <a:lnTo>
                        <a:pt x="3658" y="5322"/>
                      </a:lnTo>
                      <a:lnTo>
                        <a:pt x="3596" y="5340"/>
                      </a:lnTo>
                      <a:lnTo>
                        <a:pt x="3534" y="5358"/>
                      </a:lnTo>
                      <a:lnTo>
                        <a:pt x="3470" y="5372"/>
                      </a:lnTo>
                      <a:lnTo>
                        <a:pt x="3407" y="5386"/>
                      </a:lnTo>
                      <a:lnTo>
                        <a:pt x="3344" y="5398"/>
                      </a:lnTo>
                      <a:lnTo>
                        <a:pt x="3279" y="5408"/>
                      </a:lnTo>
                      <a:lnTo>
                        <a:pt x="3214" y="5417"/>
                      </a:lnTo>
                      <a:lnTo>
                        <a:pt x="3149" y="5424"/>
                      </a:lnTo>
                      <a:lnTo>
                        <a:pt x="3084" y="5430"/>
                      </a:lnTo>
                      <a:lnTo>
                        <a:pt x="3018" y="5433"/>
                      </a:lnTo>
                      <a:lnTo>
                        <a:pt x="2951" y="5436"/>
                      </a:lnTo>
                      <a:lnTo>
                        <a:pt x="2885" y="5437"/>
                      </a:lnTo>
                      <a:lnTo>
                        <a:pt x="2885" y="5437"/>
                      </a:lnTo>
                      <a:lnTo>
                        <a:pt x="2816" y="5436"/>
                      </a:lnTo>
                      <a:lnTo>
                        <a:pt x="2748" y="5433"/>
                      </a:lnTo>
                      <a:lnTo>
                        <a:pt x="2679" y="5428"/>
                      </a:lnTo>
                      <a:lnTo>
                        <a:pt x="2611" y="5423"/>
                      </a:lnTo>
                      <a:lnTo>
                        <a:pt x="2543" y="5415"/>
                      </a:lnTo>
                      <a:lnTo>
                        <a:pt x="2477" y="5406"/>
                      </a:lnTo>
                      <a:lnTo>
                        <a:pt x="2410" y="5395"/>
                      </a:lnTo>
                      <a:lnTo>
                        <a:pt x="2344" y="5383"/>
                      </a:lnTo>
                      <a:lnTo>
                        <a:pt x="2279" y="5368"/>
                      </a:lnTo>
                      <a:lnTo>
                        <a:pt x="2213" y="5352"/>
                      </a:lnTo>
                      <a:lnTo>
                        <a:pt x="2149" y="5336"/>
                      </a:lnTo>
                      <a:lnTo>
                        <a:pt x="2085" y="5316"/>
                      </a:lnTo>
                      <a:lnTo>
                        <a:pt x="2021" y="5296"/>
                      </a:lnTo>
                      <a:lnTo>
                        <a:pt x="1959" y="5274"/>
                      </a:lnTo>
                      <a:lnTo>
                        <a:pt x="1897" y="5252"/>
                      </a:lnTo>
                      <a:lnTo>
                        <a:pt x="1835" y="5226"/>
                      </a:lnTo>
                      <a:lnTo>
                        <a:pt x="1775" y="5200"/>
                      </a:lnTo>
                      <a:lnTo>
                        <a:pt x="1715" y="5172"/>
                      </a:lnTo>
                      <a:lnTo>
                        <a:pt x="1656" y="5144"/>
                      </a:lnTo>
                      <a:lnTo>
                        <a:pt x="1597" y="5113"/>
                      </a:lnTo>
                      <a:lnTo>
                        <a:pt x="1539" y="5082"/>
                      </a:lnTo>
                      <a:lnTo>
                        <a:pt x="1482" y="5050"/>
                      </a:lnTo>
                      <a:lnTo>
                        <a:pt x="1426" y="5014"/>
                      </a:lnTo>
                      <a:lnTo>
                        <a:pt x="1371" y="4979"/>
                      </a:lnTo>
                      <a:lnTo>
                        <a:pt x="1317" y="4942"/>
                      </a:lnTo>
                      <a:lnTo>
                        <a:pt x="1262" y="4905"/>
                      </a:lnTo>
                      <a:lnTo>
                        <a:pt x="1210" y="4865"/>
                      </a:lnTo>
                      <a:lnTo>
                        <a:pt x="1159" y="4825"/>
                      </a:lnTo>
                      <a:lnTo>
                        <a:pt x="1107" y="4784"/>
                      </a:lnTo>
                      <a:lnTo>
                        <a:pt x="1057" y="4741"/>
                      </a:lnTo>
                      <a:lnTo>
                        <a:pt x="1008" y="4697"/>
                      </a:lnTo>
                      <a:lnTo>
                        <a:pt x="961" y="4651"/>
                      </a:lnTo>
                      <a:lnTo>
                        <a:pt x="914" y="4606"/>
                      </a:lnTo>
                      <a:lnTo>
                        <a:pt x="868" y="4559"/>
                      </a:lnTo>
                      <a:lnTo>
                        <a:pt x="823" y="4511"/>
                      </a:lnTo>
                      <a:lnTo>
                        <a:pt x="780" y="4463"/>
                      </a:lnTo>
                      <a:lnTo>
                        <a:pt x="737" y="4413"/>
                      </a:lnTo>
                      <a:lnTo>
                        <a:pt x="696" y="4361"/>
                      </a:lnTo>
                      <a:lnTo>
                        <a:pt x="656" y="4309"/>
                      </a:lnTo>
                      <a:lnTo>
                        <a:pt x="616" y="4256"/>
                      </a:lnTo>
                      <a:lnTo>
                        <a:pt x="579" y="4202"/>
                      </a:lnTo>
                      <a:lnTo>
                        <a:pt x="543" y="4147"/>
                      </a:lnTo>
                      <a:lnTo>
                        <a:pt x="507" y="4091"/>
                      </a:lnTo>
                      <a:lnTo>
                        <a:pt x="473" y="4035"/>
                      </a:lnTo>
                      <a:lnTo>
                        <a:pt x="441" y="3978"/>
                      </a:lnTo>
                      <a:lnTo>
                        <a:pt x="410" y="3920"/>
                      </a:lnTo>
                      <a:lnTo>
                        <a:pt x="379" y="3861"/>
                      </a:lnTo>
                      <a:lnTo>
                        <a:pt x="351" y="3802"/>
                      </a:lnTo>
                      <a:lnTo>
                        <a:pt x="323" y="3742"/>
                      </a:lnTo>
                      <a:lnTo>
                        <a:pt x="298" y="3680"/>
                      </a:lnTo>
                      <a:lnTo>
                        <a:pt x="273" y="3618"/>
                      </a:lnTo>
                      <a:lnTo>
                        <a:pt x="251" y="3556"/>
                      </a:lnTo>
                      <a:lnTo>
                        <a:pt x="229" y="3493"/>
                      </a:lnTo>
                      <a:lnTo>
                        <a:pt x="208" y="3429"/>
                      </a:lnTo>
                      <a:lnTo>
                        <a:pt x="190" y="3364"/>
                      </a:lnTo>
                      <a:lnTo>
                        <a:pt x="173" y="3299"/>
                      </a:lnTo>
                      <a:lnTo>
                        <a:pt x="158" y="3235"/>
                      </a:lnTo>
                      <a:lnTo>
                        <a:pt x="145" y="3168"/>
                      </a:lnTo>
                      <a:lnTo>
                        <a:pt x="131" y="3102"/>
                      </a:lnTo>
                      <a:lnTo>
                        <a:pt x="121" y="3034"/>
                      </a:lnTo>
                      <a:lnTo>
                        <a:pt x="112" y="2966"/>
                      </a:lnTo>
                      <a:lnTo>
                        <a:pt x="105" y="2898"/>
                      </a:lnTo>
                      <a:lnTo>
                        <a:pt x="99" y="2831"/>
                      </a:lnTo>
                      <a:lnTo>
                        <a:pt x="96" y="2761"/>
                      </a:lnTo>
                      <a:lnTo>
                        <a:pt x="96" y="2761"/>
                      </a:lnTo>
                      <a:lnTo>
                        <a:pt x="93" y="2695"/>
                      </a:lnTo>
                      <a:lnTo>
                        <a:pt x="93" y="2627"/>
                      </a:lnTo>
                      <a:lnTo>
                        <a:pt x="94" y="2562"/>
                      </a:lnTo>
                      <a:lnTo>
                        <a:pt x="97" y="2496"/>
                      </a:lnTo>
                      <a:lnTo>
                        <a:pt x="102" y="2430"/>
                      </a:lnTo>
                      <a:lnTo>
                        <a:pt x="108" y="2365"/>
                      </a:lnTo>
                      <a:lnTo>
                        <a:pt x="115" y="2300"/>
                      </a:lnTo>
                      <a:lnTo>
                        <a:pt x="124" y="2236"/>
                      </a:lnTo>
                      <a:lnTo>
                        <a:pt x="136" y="2172"/>
                      </a:lnTo>
                      <a:lnTo>
                        <a:pt x="147" y="2108"/>
                      </a:lnTo>
                      <a:lnTo>
                        <a:pt x="162" y="2046"/>
                      </a:lnTo>
                      <a:lnTo>
                        <a:pt x="177" y="1983"/>
                      </a:lnTo>
                      <a:lnTo>
                        <a:pt x="195" y="1921"/>
                      </a:lnTo>
                      <a:lnTo>
                        <a:pt x="212" y="1859"/>
                      </a:lnTo>
                      <a:lnTo>
                        <a:pt x="233" y="1799"/>
                      </a:lnTo>
                      <a:lnTo>
                        <a:pt x="254" y="1738"/>
                      </a:lnTo>
                      <a:lnTo>
                        <a:pt x="277" y="1679"/>
                      </a:lnTo>
                      <a:lnTo>
                        <a:pt x="302" y="1620"/>
                      </a:lnTo>
                      <a:lnTo>
                        <a:pt x="327" y="1561"/>
                      </a:lnTo>
                      <a:lnTo>
                        <a:pt x="355" y="1504"/>
                      </a:lnTo>
                      <a:lnTo>
                        <a:pt x="383" y="1448"/>
                      </a:lnTo>
                      <a:lnTo>
                        <a:pt x="414" y="1390"/>
                      </a:lnTo>
                      <a:lnTo>
                        <a:pt x="447" y="1336"/>
                      </a:lnTo>
                      <a:lnTo>
                        <a:pt x="479" y="1281"/>
                      </a:lnTo>
                      <a:lnTo>
                        <a:pt x="515" y="1226"/>
                      </a:lnTo>
                      <a:lnTo>
                        <a:pt x="550" y="1173"/>
                      </a:lnTo>
                      <a:lnTo>
                        <a:pt x="588" y="1122"/>
                      </a:lnTo>
                      <a:lnTo>
                        <a:pt x="627" y="1070"/>
                      </a:lnTo>
                      <a:lnTo>
                        <a:pt x="668" y="1020"/>
                      </a:lnTo>
                      <a:lnTo>
                        <a:pt x="709" y="970"/>
                      </a:lnTo>
                      <a:lnTo>
                        <a:pt x="753" y="921"/>
                      </a:lnTo>
                      <a:lnTo>
                        <a:pt x="798" y="874"/>
                      </a:lnTo>
                      <a:lnTo>
                        <a:pt x="798" y="874"/>
                      </a:lnTo>
                      <a:lnTo>
                        <a:pt x="843" y="827"/>
                      </a:lnTo>
                      <a:lnTo>
                        <a:pt x="889" y="781"/>
                      </a:lnTo>
                      <a:lnTo>
                        <a:pt x="938" y="738"/>
                      </a:lnTo>
                      <a:lnTo>
                        <a:pt x="986" y="696"/>
                      </a:lnTo>
                      <a:lnTo>
                        <a:pt x="1035" y="654"/>
                      </a:lnTo>
                      <a:lnTo>
                        <a:pt x="1087" y="615"/>
                      </a:lnTo>
                      <a:lnTo>
                        <a:pt x="1138" y="576"/>
                      </a:lnTo>
                      <a:lnTo>
                        <a:pt x="1190" y="539"/>
                      </a:lnTo>
                      <a:lnTo>
                        <a:pt x="1243" y="504"/>
                      </a:lnTo>
                      <a:lnTo>
                        <a:pt x="1297" y="470"/>
                      </a:lnTo>
                      <a:lnTo>
                        <a:pt x="1352" y="436"/>
                      </a:lnTo>
                      <a:lnTo>
                        <a:pt x="1408" y="405"/>
                      </a:lnTo>
                      <a:lnTo>
                        <a:pt x="1464" y="376"/>
                      </a:lnTo>
                      <a:lnTo>
                        <a:pt x="1521" y="348"/>
                      </a:lnTo>
                      <a:lnTo>
                        <a:pt x="1579" y="320"/>
                      </a:lnTo>
                      <a:lnTo>
                        <a:pt x="1636" y="295"/>
                      </a:lnTo>
                      <a:lnTo>
                        <a:pt x="1697" y="271"/>
                      </a:lnTo>
                      <a:lnTo>
                        <a:pt x="1756" y="247"/>
                      </a:lnTo>
                      <a:lnTo>
                        <a:pt x="1816" y="227"/>
                      </a:lnTo>
                      <a:lnTo>
                        <a:pt x="1878" y="208"/>
                      </a:lnTo>
                      <a:lnTo>
                        <a:pt x="1939" y="190"/>
                      </a:lnTo>
                      <a:lnTo>
                        <a:pt x="2002" y="172"/>
                      </a:lnTo>
                      <a:lnTo>
                        <a:pt x="2064" y="158"/>
                      </a:lnTo>
                      <a:lnTo>
                        <a:pt x="2127" y="144"/>
                      </a:lnTo>
                      <a:lnTo>
                        <a:pt x="2191" y="132"/>
                      </a:lnTo>
                      <a:lnTo>
                        <a:pt x="2256" y="122"/>
                      </a:lnTo>
                      <a:lnTo>
                        <a:pt x="2320" y="113"/>
                      </a:lnTo>
                      <a:lnTo>
                        <a:pt x="2385" y="106"/>
                      </a:lnTo>
                      <a:lnTo>
                        <a:pt x="2450" y="100"/>
                      </a:lnTo>
                      <a:lnTo>
                        <a:pt x="2517" y="96"/>
                      </a:lnTo>
                      <a:lnTo>
                        <a:pt x="2583" y="94"/>
                      </a:lnTo>
                      <a:lnTo>
                        <a:pt x="2649" y="93"/>
                      </a:lnTo>
                      <a:close/>
                      <a:moveTo>
                        <a:pt x="2649" y="0"/>
                      </a:moveTo>
                      <a:lnTo>
                        <a:pt x="2649" y="0"/>
                      </a:lnTo>
                      <a:lnTo>
                        <a:pt x="2578" y="1"/>
                      </a:lnTo>
                      <a:lnTo>
                        <a:pt x="2508" y="4"/>
                      </a:lnTo>
                      <a:lnTo>
                        <a:pt x="2437" y="9"/>
                      </a:lnTo>
                      <a:lnTo>
                        <a:pt x="2368" y="14"/>
                      </a:lnTo>
                      <a:lnTo>
                        <a:pt x="2298" y="22"/>
                      </a:lnTo>
                      <a:lnTo>
                        <a:pt x="2231" y="32"/>
                      </a:lnTo>
                      <a:lnTo>
                        <a:pt x="2163" y="44"/>
                      </a:lnTo>
                      <a:lnTo>
                        <a:pt x="2095" y="56"/>
                      </a:lnTo>
                      <a:lnTo>
                        <a:pt x="2029" y="71"/>
                      </a:lnTo>
                      <a:lnTo>
                        <a:pt x="1962" y="87"/>
                      </a:lnTo>
                      <a:lnTo>
                        <a:pt x="1897" y="104"/>
                      </a:lnTo>
                      <a:lnTo>
                        <a:pt x="1832" y="125"/>
                      </a:lnTo>
                      <a:lnTo>
                        <a:pt x="1769" y="146"/>
                      </a:lnTo>
                      <a:lnTo>
                        <a:pt x="1706" y="168"/>
                      </a:lnTo>
                      <a:lnTo>
                        <a:pt x="1644" y="191"/>
                      </a:lnTo>
                      <a:lnTo>
                        <a:pt x="1583" y="218"/>
                      </a:lnTo>
                      <a:lnTo>
                        <a:pt x="1523" y="244"/>
                      </a:lnTo>
                      <a:lnTo>
                        <a:pt x="1462" y="273"/>
                      </a:lnTo>
                      <a:lnTo>
                        <a:pt x="1403" y="302"/>
                      </a:lnTo>
                      <a:lnTo>
                        <a:pt x="1346" y="334"/>
                      </a:lnTo>
                      <a:lnTo>
                        <a:pt x="1289" y="367"/>
                      </a:lnTo>
                      <a:lnTo>
                        <a:pt x="1232" y="401"/>
                      </a:lnTo>
                      <a:lnTo>
                        <a:pt x="1178" y="436"/>
                      </a:lnTo>
                      <a:lnTo>
                        <a:pt x="1123" y="473"/>
                      </a:lnTo>
                      <a:lnTo>
                        <a:pt x="1070" y="510"/>
                      </a:lnTo>
                      <a:lnTo>
                        <a:pt x="1019" y="550"/>
                      </a:lnTo>
                      <a:lnTo>
                        <a:pt x="969" y="590"/>
                      </a:lnTo>
                      <a:lnTo>
                        <a:pt x="918" y="631"/>
                      </a:lnTo>
                      <a:lnTo>
                        <a:pt x="870" y="675"/>
                      </a:lnTo>
                      <a:lnTo>
                        <a:pt x="821" y="718"/>
                      </a:lnTo>
                      <a:lnTo>
                        <a:pt x="775" y="763"/>
                      </a:lnTo>
                      <a:lnTo>
                        <a:pt x="730" y="811"/>
                      </a:lnTo>
                      <a:lnTo>
                        <a:pt x="686" y="858"/>
                      </a:lnTo>
                      <a:lnTo>
                        <a:pt x="641" y="906"/>
                      </a:lnTo>
                      <a:lnTo>
                        <a:pt x="600" y="955"/>
                      </a:lnTo>
                      <a:lnTo>
                        <a:pt x="559" y="1007"/>
                      </a:lnTo>
                      <a:lnTo>
                        <a:pt x="520" y="1058"/>
                      </a:lnTo>
                      <a:lnTo>
                        <a:pt x="482" y="1111"/>
                      </a:lnTo>
                      <a:lnTo>
                        <a:pt x="445" y="1165"/>
                      </a:lnTo>
                      <a:lnTo>
                        <a:pt x="410" y="1219"/>
                      </a:lnTo>
                      <a:lnTo>
                        <a:pt x="374" y="1275"/>
                      </a:lnTo>
                      <a:lnTo>
                        <a:pt x="342" y="1331"/>
                      </a:lnTo>
                      <a:lnTo>
                        <a:pt x="311" y="1389"/>
                      </a:lnTo>
                      <a:lnTo>
                        <a:pt x="280" y="1448"/>
                      </a:lnTo>
                      <a:lnTo>
                        <a:pt x="252" y="1507"/>
                      </a:lnTo>
                      <a:lnTo>
                        <a:pt x="224" y="1567"/>
                      </a:lnTo>
                      <a:lnTo>
                        <a:pt x="199" y="1627"/>
                      </a:lnTo>
                      <a:lnTo>
                        <a:pt x="174" y="1689"/>
                      </a:lnTo>
                      <a:lnTo>
                        <a:pt x="152" y="1751"/>
                      </a:lnTo>
                      <a:lnTo>
                        <a:pt x="130" y="1815"/>
                      </a:lnTo>
                      <a:lnTo>
                        <a:pt x="111" y="1878"/>
                      </a:lnTo>
                      <a:lnTo>
                        <a:pt x="91" y="1943"/>
                      </a:lnTo>
                      <a:lnTo>
                        <a:pt x="75" y="2008"/>
                      </a:lnTo>
                      <a:lnTo>
                        <a:pt x="60" y="2074"/>
                      </a:lnTo>
                      <a:lnTo>
                        <a:pt x="47" y="2141"/>
                      </a:lnTo>
                      <a:lnTo>
                        <a:pt x="35" y="2208"/>
                      </a:lnTo>
                      <a:lnTo>
                        <a:pt x="25" y="2276"/>
                      </a:lnTo>
                      <a:lnTo>
                        <a:pt x="16" y="2344"/>
                      </a:lnTo>
                      <a:lnTo>
                        <a:pt x="10" y="2413"/>
                      </a:lnTo>
                      <a:lnTo>
                        <a:pt x="4" y="2483"/>
                      </a:lnTo>
                      <a:lnTo>
                        <a:pt x="2" y="2552"/>
                      </a:lnTo>
                      <a:lnTo>
                        <a:pt x="0" y="2623"/>
                      </a:lnTo>
                      <a:lnTo>
                        <a:pt x="0" y="2693"/>
                      </a:lnTo>
                      <a:lnTo>
                        <a:pt x="3" y="2764"/>
                      </a:lnTo>
                      <a:lnTo>
                        <a:pt x="3" y="2764"/>
                      </a:lnTo>
                      <a:lnTo>
                        <a:pt x="7" y="2836"/>
                      </a:lnTo>
                      <a:lnTo>
                        <a:pt x="12" y="2907"/>
                      </a:lnTo>
                      <a:lnTo>
                        <a:pt x="21" y="2978"/>
                      </a:lnTo>
                      <a:lnTo>
                        <a:pt x="30" y="3047"/>
                      </a:lnTo>
                      <a:lnTo>
                        <a:pt x="40" y="3117"/>
                      </a:lnTo>
                      <a:lnTo>
                        <a:pt x="53" y="3186"/>
                      </a:lnTo>
                      <a:lnTo>
                        <a:pt x="66" y="3254"/>
                      </a:lnTo>
                      <a:lnTo>
                        <a:pt x="83" y="3322"/>
                      </a:lnTo>
                      <a:lnTo>
                        <a:pt x="100" y="3389"/>
                      </a:lnTo>
                      <a:lnTo>
                        <a:pt x="119" y="3456"/>
                      </a:lnTo>
                      <a:lnTo>
                        <a:pt x="140" y="3522"/>
                      </a:lnTo>
                      <a:lnTo>
                        <a:pt x="162" y="3587"/>
                      </a:lnTo>
                      <a:lnTo>
                        <a:pt x="186" y="3652"/>
                      </a:lnTo>
                      <a:lnTo>
                        <a:pt x="211" y="3715"/>
                      </a:lnTo>
                      <a:lnTo>
                        <a:pt x="237" y="3779"/>
                      </a:lnTo>
                      <a:lnTo>
                        <a:pt x="265" y="3841"/>
                      </a:lnTo>
                      <a:lnTo>
                        <a:pt x="295" y="3902"/>
                      </a:lnTo>
                      <a:lnTo>
                        <a:pt x="326" y="3963"/>
                      </a:lnTo>
                      <a:lnTo>
                        <a:pt x="358" y="4023"/>
                      </a:lnTo>
                      <a:lnTo>
                        <a:pt x="392" y="4082"/>
                      </a:lnTo>
                      <a:lnTo>
                        <a:pt x="428" y="4141"/>
                      </a:lnTo>
                      <a:lnTo>
                        <a:pt x="464" y="4199"/>
                      </a:lnTo>
                      <a:lnTo>
                        <a:pt x="501" y="4255"/>
                      </a:lnTo>
                      <a:lnTo>
                        <a:pt x="541" y="4311"/>
                      </a:lnTo>
                      <a:lnTo>
                        <a:pt x="581" y="4365"/>
                      </a:lnTo>
                      <a:lnTo>
                        <a:pt x="622" y="4419"/>
                      </a:lnTo>
                      <a:lnTo>
                        <a:pt x="665" y="4472"/>
                      </a:lnTo>
                      <a:lnTo>
                        <a:pt x="709" y="4523"/>
                      </a:lnTo>
                      <a:lnTo>
                        <a:pt x="753" y="4575"/>
                      </a:lnTo>
                      <a:lnTo>
                        <a:pt x="801" y="4623"/>
                      </a:lnTo>
                      <a:lnTo>
                        <a:pt x="848" y="4672"/>
                      </a:lnTo>
                      <a:lnTo>
                        <a:pt x="896" y="4719"/>
                      </a:lnTo>
                      <a:lnTo>
                        <a:pt x="945" y="4766"/>
                      </a:lnTo>
                      <a:lnTo>
                        <a:pt x="995" y="4812"/>
                      </a:lnTo>
                      <a:lnTo>
                        <a:pt x="1047" y="4855"/>
                      </a:lnTo>
                      <a:lnTo>
                        <a:pt x="1100" y="4898"/>
                      </a:lnTo>
                      <a:lnTo>
                        <a:pt x="1153" y="4940"/>
                      </a:lnTo>
                      <a:lnTo>
                        <a:pt x="1207" y="4980"/>
                      </a:lnTo>
                      <a:lnTo>
                        <a:pt x="1263" y="5020"/>
                      </a:lnTo>
                      <a:lnTo>
                        <a:pt x="1319" y="5057"/>
                      </a:lnTo>
                      <a:lnTo>
                        <a:pt x="1377" y="5094"/>
                      </a:lnTo>
                      <a:lnTo>
                        <a:pt x="1434" y="5129"/>
                      </a:lnTo>
                      <a:lnTo>
                        <a:pt x="1493" y="5163"/>
                      </a:lnTo>
                      <a:lnTo>
                        <a:pt x="1552" y="5196"/>
                      </a:lnTo>
                      <a:lnTo>
                        <a:pt x="1613" y="5228"/>
                      </a:lnTo>
                      <a:lnTo>
                        <a:pt x="1675" y="5257"/>
                      </a:lnTo>
                      <a:lnTo>
                        <a:pt x="1737" y="5285"/>
                      </a:lnTo>
                      <a:lnTo>
                        <a:pt x="1800" y="5312"/>
                      </a:lnTo>
                      <a:lnTo>
                        <a:pt x="1863" y="5339"/>
                      </a:lnTo>
                      <a:lnTo>
                        <a:pt x="1927" y="5362"/>
                      </a:lnTo>
                      <a:lnTo>
                        <a:pt x="1992" y="5384"/>
                      </a:lnTo>
                      <a:lnTo>
                        <a:pt x="2058" y="5405"/>
                      </a:lnTo>
                      <a:lnTo>
                        <a:pt x="2123" y="5426"/>
                      </a:lnTo>
                      <a:lnTo>
                        <a:pt x="2191" y="5443"/>
                      </a:lnTo>
                      <a:lnTo>
                        <a:pt x="2257" y="5459"/>
                      </a:lnTo>
                      <a:lnTo>
                        <a:pt x="2325" y="5474"/>
                      </a:lnTo>
                      <a:lnTo>
                        <a:pt x="2394" y="5486"/>
                      </a:lnTo>
                      <a:lnTo>
                        <a:pt x="2462" y="5498"/>
                      </a:lnTo>
                      <a:lnTo>
                        <a:pt x="2531" y="5508"/>
                      </a:lnTo>
                      <a:lnTo>
                        <a:pt x="2602" y="5515"/>
                      </a:lnTo>
                      <a:lnTo>
                        <a:pt x="2671" y="5521"/>
                      </a:lnTo>
                      <a:lnTo>
                        <a:pt x="2742" y="5526"/>
                      </a:lnTo>
                      <a:lnTo>
                        <a:pt x="2813" y="5529"/>
                      </a:lnTo>
                      <a:lnTo>
                        <a:pt x="2885" y="5530"/>
                      </a:lnTo>
                      <a:lnTo>
                        <a:pt x="2885" y="5530"/>
                      </a:lnTo>
                      <a:lnTo>
                        <a:pt x="2956" y="5529"/>
                      </a:lnTo>
                      <a:lnTo>
                        <a:pt x="3027" y="5526"/>
                      </a:lnTo>
                      <a:lnTo>
                        <a:pt x="3097" y="5521"/>
                      </a:lnTo>
                      <a:lnTo>
                        <a:pt x="3167" y="5515"/>
                      </a:lnTo>
                      <a:lnTo>
                        <a:pt x="3236" y="5508"/>
                      </a:lnTo>
                      <a:lnTo>
                        <a:pt x="3305" y="5498"/>
                      </a:lnTo>
                      <a:lnTo>
                        <a:pt x="3373" y="5486"/>
                      </a:lnTo>
                      <a:lnTo>
                        <a:pt x="3439" y="5474"/>
                      </a:lnTo>
                      <a:lnTo>
                        <a:pt x="3506" y="5459"/>
                      </a:lnTo>
                      <a:lnTo>
                        <a:pt x="3572" y="5443"/>
                      </a:lnTo>
                      <a:lnTo>
                        <a:pt x="3637" y="5426"/>
                      </a:lnTo>
                      <a:lnTo>
                        <a:pt x="3702" y="5405"/>
                      </a:lnTo>
                      <a:lnTo>
                        <a:pt x="3765" y="5384"/>
                      </a:lnTo>
                      <a:lnTo>
                        <a:pt x="3829" y="5362"/>
                      </a:lnTo>
                      <a:lnTo>
                        <a:pt x="3890" y="5339"/>
                      </a:lnTo>
                      <a:lnTo>
                        <a:pt x="3952" y="5312"/>
                      </a:lnTo>
                      <a:lnTo>
                        <a:pt x="4013" y="5285"/>
                      </a:lnTo>
                      <a:lnTo>
                        <a:pt x="4072" y="5257"/>
                      </a:lnTo>
                      <a:lnTo>
                        <a:pt x="4131" y="5228"/>
                      </a:lnTo>
                      <a:lnTo>
                        <a:pt x="4188" y="5196"/>
                      </a:lnTo>
                      <a:lnTo>
                        <a:pt x="4246" y="5163"/>
                      </a:lnTo>
                      <a:lnTo>
                        <a:pt x="4302" y="5129"/>
                      </a:lnTo>
                      <a:lnTo>
                        <a:pt x="4356" y="5094"/>
                      </a:lnTo>
                      <a:lnTo>
                        <a:pt x="4411" y="5057"/>
                      </a:lnTo>
                      <a:lnTo>
                        <a:pt x="4464" y="5020"/>
                      </a:lnTo>
                      <a:lnTo>
                        <a:pt x="4516" y="4980"/>
                      </a:lnTo>
                      <a:lnTo>
                        <a:pt x="4567" y="4940"/>
                      </a:lnTo>
                      <a:lnTo>
                        <a:pt x="4616" y="4898"/>
                      </a:lnTo>
                      <a:lnTo>
                        <a:pt x="4666" y="4855"/>
                      </a:lnTo>
                      <a:lnTo>
                        <a:pt x="4713" y="4812"/>
                      </a:lnTo>
                      <a:lnTo>
                        <a:pt x="4760" y="4766"/>
                      </a:lnTo>
                      <a:lnTo>
                        <a:pt x="4805" y="4719"/>
                      </a:lnTo>
                      <a:lnTo>
                        <a:pt x="4850" y="4672"/>
                      </a:lnTo>
                      <a:lnTo>
                        <a:pt x="4893" y="4623"/>
                      </a:lnTo>
                      <a:lnTo>
                        <a:pt x="4934" y="4575"/>
                      </a:lnTo>
                      <a:lnTo>
                        <a:pt x="4976" y="4523"/>
                      </a:lnTo>
                      <a:lnTo>
                        <a:pt x="5015" y="4472"/>
                      </a:lnTo>
                      <a:lnTo>
                        <a:pt x="5052" y="4419"/>
                      </a:lnTo>
                      <a:lnTo>
                        <a:pt x="5089" y="4365"/>
                      </a:lnTo>
                      <a:lnTo>
                        <a:pt x="5126" y="4311"/>
                      </a:lnTo>
                      <a:lnTo>
                        <a:pt x="5160" y="4255"/>
                      </a:lnTo>
                      <a:lnTo>
                        <a:pt x="5192" y="4199"/>
                      </a:lnTo>
                      <a:lnTo>
                        <a:pt x="5225" y="4141"/>
                      </a:lnTo>
                      <a:lnTo>
                        <a:pt x="5254" y="4082"/>
                      </a:lnTo>
                      <a:lnTo>
                        <a:pt x="5282" y="4023"/>
                      </a:lnTo>
                      <a:lnTo>
                        <a:pt x="5310" y="3963"/>
                      </a:lnTo>
                      <a:lnTo>
                        <a:pt x="5335" y="3902"/>
                      </a:lnTo>
                      <a:lnTo>
                        <a:pt x="5360" y="3841"/>
                      </a:lnTo>
                      <a:lnTo>
                        <a:pt x="5382" y="3779"/>
                      </a:lnTo>
                      <a:lnTo>
                        <a:pt x="5405" y="3715"/>
                      </a:lnTo>
                      <a:lnTo>
                        <a:pt x="5424" y="3652"/>
                      </a:lnTo>
                      <a:lnTo>
                        <a:pt x="5443" y="3587"/>
                      </a:lnTo>
                      <a:lnTo>
                        <a:pt x="5459" y="3522"/>
                      </a:lnTo>
                      <a:lnTo>
                        <a:pt x="5474" y="3456"/>
                      </a:lnTo>
                      <a:lnTo>
                        <a:pt x="5487" y="3389"/>
                      </a:lnTo>
                      <a:lnTo>
                        <a:pt x="5499" y="3322"/>
                      </a:lnTo>
                      <a:lnTo>
                        <a:pt x="5509" y="3254"/>
                      </a:lnTo>
                      <a:lnTo>
                        <a:pt x="5518" y="3186"/>
                      </a:lnTo>
                      <a:lnTo>
                        <a:pt x="5524" y="3117"/>
                      </a:lnTo>
                      <a:lnTo>
                        <a:pt x="5530" y="3047"/>
                      </a:lnTo>
                      <a:lnTo>
                        <a:pt x="5533" y="2978"/>
                      </a:lnTo>
                      <a:lnTo>
                        <a:pt x="5534" y="2907"/>
                      </a:lnTo>
                      <a:lnTo>
                        <a:pt x="5534" y="2836"/>
                      </a:lnTo>
                      <a:lnTo>
                        <a:pt x="5531" y="2764"/>
                      </a:lnTo>
                      <a:lnTo>
                        <a:pt x="5531" y="2764"/>
                      </a:lnTo>
                      <a:lnTo>
                        <a:pt x="5528" y="2693"/>
                      </a:lnTo>
                      <a:lnTo>
                        <a:pt x="5522" y="2623"/>
                      </a:lnTo>
                      <a:lnTo>
                        <a:pt x="5515" y="2552"/>
                      </a:lnTo>
                      <a:lnTo>
                        <a:pt x="5505" y="2483"/>
                      </a:lnTo>
                      <a:lnTo>
                        <a:pt x="5494" y="2413"/>
                      </a:lnTo>
                      <a:lnTo>
                        <a:pt x="5483" y="2344"/>
                      </a:lnTo>
                      <a:lnTo>
                        <a:pt x="5468" y="2276"/>
                      </a:lnTo>
                      <a:lnTo>
                        <a:pt x="5452" y="2208"/>
                      </a:lnTo>
                      <a:lnTo>
                        <a:pt x="5434" y="2141"/>
                      </a:lnTo>
                      <a:lnTo>
                        <a:pt x="5415" y="2074"/>
                      </a:lnTo>
                      <a:lnTo>
                        <a:pt x="5394" y="2008"/>
                      </a:lnTo>
                      <a:lnTo>
                        <a:pt x="5372" y="1943"/>
                      </a:lnTo>
                      <a:lnTo>
                        <a:pt x="5348" y="1878"/>
                      </a:lnTo>
                      <a:lnTo>
                        <a:pt x="5323" y="1815"/>
                      </a:lnTo>
                      <a:lnTo>
                        <a:pt x="5297" y="1751"/>
                      </a:lnTo>
                      <a:lnTo>
                        <a:pt x="5269" y="1689"/>
                      </a:lnTo>
                      <a:lnTo>
                        <a:pt x="5239" y="1627"/>
                      </a:lnTo>
                      <a:lnTo>
                        <a:pt x="5208" y="1567"/>
                      </a:lnTo>
                      <a:lnTo>
                        <a:pt x="5176" y="1507"/>
                      </a:lnTo>
                      <a:lnTo>
                        <a:pt x="5142" y="1448"/>
                      </a:lnTo>
                      <a:lnTo>
                        <a:pt x="5107" y="1389"/>
                      </a:lnTo>
                      <a:lnTo>
                        <a:pt x="5070" y="1331"/>
                      </a:lnTo>
                      <a:lnTo>
                        <a:pt x="5033" y="1275"/>
                      </a:lnTo>
                      <a:lnTo>
                        <a:pt x="4993" y="1219"/>
                      </a:lnTo>
                      <a:lnTo>
                        <a:pt x="4953" y="1165"/>
                      </a:lnTo>
                      <a:lnTo>
                        <a:pt x="4912" y="1111"/>
                      </a:lnTo>
                      <a:lnTo>
                        <a:pt x="4869" y="1058"/>
                      </a:lnTo>
                      <a:lnTo>
                        <a:pt x="4825" y="1007"/>
                      </a:lnTo>
                      <a:lnTo>
                        <a:pt x="4781" y="955"/>
                      </a:lnTo>
                      <a:lnTo>
                        <a:pt x="4734" y="906"/>
                      </a:lnTo>
                      <a:lnTo>
                        <a:pt x="4687" y="858"/>
                      </a:lnTo>
                      <a:lnTo>
                        <a:pt x="4639" y="811"/>
                      </a:lnTo>
                      <a:lnTo>
                        <a:pt x="4589" y="763"/>
                      </a:lnTo>
                      <a:lnTo>
                        <a:pt x="4539" y="718"/>
                      </a:lnTo>
                      <a:lnTo>
                        <a:pt x="4488" y="675"/>
                      </a:lnTo>
                      <a:lnTo>
                        <a:pt x="4434" y="631"/>
                      </a:lnTo>
                      <a:lnTo>
                        <a:pt x="4381" y="590"/>
                      </a:lnTo>
                      <a:lnTo>
                        <a:pt x="4327" y="550"/>
                      </a:lnTo>
                      <a:lnTo>
                        <a:pt x="4272" y="510"/>
                      </a:lnTo>
                      <a:lnTo>
                        <a:pt x="4215" y="473"/>
                      </a:lnTo>
                      <a:lnTo>
                        <a:pt x="4159" y="436"/>
                      </a:lnTo>
                      <a:lnTo>
                        <a:pt x="4100" y="401"/>
                      </a:lnTo>
                      <a:lnTo>
                        <a:pt x="4041" y="367"/>
                      </a:lnTo>
                      <a:lnTo>
                        <a:pt x="3982" y="334"/>
                      </a:lnTo>
                      <a:lnTo>
                        <a:pt x="3921" y="302"/>
                      </a:lnTo>
                      <a:lnTo>
                        <a:pt x="3860" y="273"/>
                      </a:lnTo>
                      <a:lnTo>
                        <a:pt x="3798" y="244"/>
                      </a:lnTo>
                      <a:lnTo>
                        <a:pt x="3734" y="218"/>
                      </a:lnTo>
                      <a:lnTo>
                        <a:pt x="3671" y="191"/>
                      </a:lnTo>
                      <a:lnTo>
                        <a:pt x="3607" y="168"/>
                      </a:lnTo>
                      <a:lnTo>
                        <a:pt x="3543" y="146"/>
                      </a:lnTo>
                      <a:lnTo>
                        <a:pt x="3478" y="125"/>
                      </a:lnTo>
                      <a:lnTo>
                        <a:pt x="3411" y="104"/>
                      </a:lnTo>
                      <a:lnTo>
                        <a:pt x="3344" y="87"/>
                      </a:lnTo>
                      <a:lnTo>
                        <a:pt x="3277" y="71"/>
                      </a:lnTo>
                      <a:lnTo>
                        <a:pt x="3209" y="56"/>
                      </a:lnTo>
                      <a:lnTo>
                        <a:pt x="3140" y="44"/>
                      </a:lnTo>
                      <a:lnTo>
                        <a:pt x="3072" y="32"/>
                      </a:lnTo>
                      <a:lnTo>
                        <a:pt x="3003" y="22"/>
                      </a:lnTo>
                      <a:lnTo>
                        <a:pt x="2932" y="14"/>
                      </a:lnTo>
                      <a:lnTo>
                        <a:pt x="2863" y="9"/>
                      </a:lnTo>
                      <a:lnTo>
                        <a:pt x="2792" y="4"/>
                      </a:lnTo>
                      <a:lnTo>
                        <a:pt x="2721" y="1"/>
                      </a:lnTo>
                      <a:lnTo>
                        <a:pt x="2649" y="0"/>
                      </a:lnTo>
                      <a:lnTo>
                        <a:pt x="26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82" name="Freeform 19">
                  <a:extLst>
                    <a:ext uri="{FF2B5EF4-FFF2-40B4-BE49-F238E27FC236}">
                      <a16:creationId xmlns:a16="http://schemas.microsoft.com/office/drawing/2014/main" xmlns="" id="{A188D3EB-7F5B-4048-893D-8B5B252B721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96300" y="485775"/>
                  <a:ext cx="2763838" cy="2762250"/>
                </a:xfrm>
                <a:custGeom>
                  <a:avLst/>
                  <a:gdLst/>
                  <a:ahLst/>
                  <a:cxnLst>
                    <a:cxn ang="0">
                      <a:pos x="2956" y="87"/>
                    </a:cxn>
                    <a:cxn ang="0">
                      <a:pos x="3507" y="249"/>
                    </a:cxn>
                    <a:cxn ang="0">
                      <a:pos x="4005" y="520"/>
                    </a:cxn>
                    <a:cxn ang="0">
                      <a:pos x="4434" y="887"/>
                    </a:cxn>
                    <a:cxn ang="0">
                      <a:pos x="4781" y="1335"/>
                    </a:cxn>
                    <a:cxn ang="0">
                      <a:pos x="5027" y="1850"/>
                    </a:cxn>
                    <a:cxn ang="0">
                      <a:pos x="5160" y="2415"/>
                    </a:cxn>
                    <a:cxn ang="0">
                      <a:pos x="5170" y="2929"/>
                    </a:cxn>
                    <a:cxn ang="0">
                      <a:pos x="5064" y="3478"/>
                    </a:cxn>
                    <a:cxn ang="0">
                      <a:pos x="4838" y="3980"/>
                    </a:cxn>
                    <a:cxn ang="0">
                      <a:pos x="4502" y="4424"/>
                    </a:cxn>
                    <a:cxn ang="0">
                      <a:pos x="4125" y="4746"/>
                    </a:cxn>
                    <a:cxn ang="0">
                      <a:pos x="3638" y="5004"/>
                    </a:cxn>
                    <a:cxn ang="0">
                      <a:pos x="3102" y="5145"/>
                    </a:cxn>
                    <a:cxn ang="0">
                      <a:pos x="2592" y="5170"/>
                    </a:cxn>
                    <a:cxn ang="0">
                      <a:pos x="2018" y="5076"/>
                    </a:cxn>
                    <a:cxn ang="0">
                      <a:pos x="1489" y="4864"/>
                    </a:cxn>
                    <a:cxn ang="0">
                      <a:pos x="1019" y="4547"/>
                    </a:cxn>
                    <a:cxn ang="0">
                      <a:pos x="625" y="4143"/>
                    </a:cxn>
                    <a:cxn ang="0">
                      <a:pos x="321" y="3663"/>
                    </a:cxn>
                    <a:cxn ang="0">
                      <a:pos x="124" y="3124"/>
                    </a:cxn>
                    <a:cxn ang="0">
                      <a:pos x="48" y="2608"/>
                    </a:cxn>
                    <a:cxn ang="0">
                      <a:pos x="87" y="2043"/>
                    </a:cxn>
                    <a:cxn ang="0">
                      <a:pos x="248" y="1512"/>
                    </a:cxn>
                    <a:cxn ang="0">
                      <a:pos x="522" y="1033"/>
                    </a:cxn>
                    <a:cxn ang="0">
                      <a:pos x="858" y="666"/>
                    </a:cxn>
                    <a:cxn ang="0">
                      <a:pos x="1309" y="346"/>
                    </a:cxn>
                    <a:cxn ang="0">
                      <a:pos x="1819" y="138"/>
                    </a:cxn>
                    <a:cxn ang="0">
                      <a:pos x="2373" y="50"/>
                    </a:cxn>
                    <a:cxn ang="0">
                      <a:pos x="2170" y="20"/>
                    </a:cxn>
                    <a:cxn ang="0">
                      <a:pos x="1610" y="157"/>
                    </a:cxn>
                    <a:cxn ang="0">
                      <a:pos x="1111" y="411"/>
                    </a:cxn>
                    <a:cxn ang="0">
                      <a:pos x="688" y="763"/>
                    </a:cxn>
                    <a:cxn ang="0">
                      <a:pos x="354" y="1203"/>
                    </a:cxn>
                    <a:cxn ang="0">
                      <a:pos x="122" y="1713"/>
                    </a:cxn>
                    <a:cxn ang="0">
                      <a:pos x="9" y="2278"/>
                    </a:cxn>
                    <a:cxn ang="0">
                      <a:pos x="18" y="2811"/>
                    </a:cxn>
                    <a:cxn ang="0">
                      <a:pos x="152" y="3386"/>
                    </a:cxn>
                    <a:cxn ang="0">
                      <a:pos x="402" y="3910"/>
                    </a:cxn>
                    <a:cxn ang="0">
                      <a:pos x="755" y="4365"/>
                    </a:cxn>
                    <a:cxn ang="0">
                      <a:pos x="1191" y="4740"/>
                    </a:cxn>
                    <a:cxn ang="0">
                      <a:pos x="1698" y="5015"/>
                    </a:cxn>
                    <a:cxn ang="0">
                      <a:pos x="2260" y="5181"/>
                    </a:cxn>
                    <a:cxn ang="0">
                      <a:pos x="2791" y="5220"/>
                    </a:cxn>
                    <a:cxn ang="0">
                      <a:pos x="3373" y="5139"/>
                    </a:cxn>
                    <a:cxn ang="0">
                      <a:pos x="3899" y="4936"/>
                    </a:cxn>
                    <a:cxn ang="0">
                      <a:pos x="4359" y="4625"/>
                    </a:cxn>
                    <a:cxn ang="0">
                      <a:pos x="4735" y="4222"/>
                    </a:cxn>
                    <a:cxn ang="0">
                      <a:pos x="5014" y="3742"/>
                    </a:cxn>
                    <a:cxn ang="0">
                      <a:pos x="5182" y="3199"/>
                    </a:cxn>
                    <a:cxn ang="0">
                      <a:pos x="5223" y="2609"/>
                    </a:cxn>
                    <a:cxn ang="0">
                      <a:pos x="5148" y="2084"/>
                    </a:cxn>
                    <a:cxn ang="0">
                      <a:pos x="4946" y="1536"/>
                    </a:cxn>
                    <a:cxn ang="0">
                      <a:pos x="4638" y="1048"/>
                    </a:cxn>
                    <a:cxn ang="0">
                      <a:pos x="4237" y="635"/>
                    </a:cxn>
                    <a:cxn ang="0">
                      <a:pos x="3759" y="314"/>
                    </a:cxn>
                    <a:cxn ang="0">
                      <a:pos x="3220" y="98"/>
                    </a:cxn>
                    <a:cxn ang="0">
                      <a:pos x="2636" y="3"/>
                    </a:cxn>
                  </a:cxnLst>
                  <a:rect l="0" t="0" r="r" b="b"/>
                  <a:pathLst>
                    <a:path w="5224" h="5220">
                      <a:moveTo>
                        <a:pt x="2502" y="47"/>
                      </a:moveTo>
                      <a:lnTo>
                        <a:pt x="2502" y="47"/>
                      </a:lnTo>
                      <a:lnTo>
                        <a:pt x="2568" y="47"/>
                      </a:lnTo>
                      <a:lnTo>
                        <a:pt x="2633" y="50"/>
                      </a:lnTo>
                      <a:lnTo>
                        <a:pt x="2699" y="54"/>
                      </a:lnTo>
                      <a:lnTo>
                        <a:pt x="2764" y="60"/>
                      </a:lnTo>
                      <a:lnTo>
                        <a:pt x="2829" y="67"/>
                      </a:lnTo>
                      <a:lnTo>
                        <a:pt x="2892" y="76"/>
                      </a:lnTo>
                      <a:lnTo>
                        <a:pt x="2956" y="87"/>
                      </a:lnTo>
                      <a:lnTo>
                        <a:pt x="3019" y="98"/>
                      </a:lnTo>
                      <a:lnTo>
                        <a:pt x="3082" y="112"/>
                      </a:lnTo>
                      <a:lnTo>
                        <a:pt x="3144" y="128"/>
                      </a:lnTo>
                      <a:lnTo>
                        <a:pt x="3206" y="144"/>
                      </a:lnTo>
                      <a:lnTo>
                        <a:pt x="3268" y="162"/>
                      </a:lnTo>
                      <a:lnTo>
                        <a:pt x="3329" y="181"/>
                      </a:lnTo>
                      <a:lnTo>
                        <a:pt x="3389" y="203"/>
                      </a:lnTo>
                      <a:lnTo>
                        <a:pt x="3448" y="225"/>
                      </a:lnTo>
                      <a:lnTo>
                        <a:pt x="3507" y="249"/>
                      </a:lnTo>
                      <a:lnTo>
                        <a:pt x="3566" y="274"/>
                      </a:lnTo>
                      <a:lnTo>
                        <a:pt x="3623" y="300"/>
                      </a:lnTo>
                      <a:lnTo>
                        <a:pt x="3679" y="327"/>
                      </a:lnTo>
                      <a:lnTo>
                        <a:pt x="3735" y="356"/>
                      </a:lnTo>
                      <a:lnTo>
                        <a:pt x="3792" y="387"/>
                      </a:lnTo>
                      <a:lnTo>
                        <a:pt x="3846" y="418"/>
                      </a:lnTo>
                      <a:lnTo>
                        <a:pt x="3901" y="451"/>
                      </a:lnTo>
                      <a:lnTo>
                        <a:pt x="3954" y="485"/>
                      </a:lnTo>
                      <a:lnTo>
                        <a:pt x="4005" y="520"/>
                      </a:lnTo>
                      <a:lnTo>
                        <a:pt x="4057" y="557"/>
                      </a:lnTo>
                      <a:lnTo>
                        <a:pt x="4107" y="594"/>
                      </a:lnTo>
                      <a:lnTo>
                        <a:pt x="4157" y="634"/>
                      </a:lnTo>
                      <a:lnTo>
                        <a:pt x="4206" y="673"/>
                      </a:lnTo>
                      <a:lnTo>
                        <a:pt x="4253" y="713"/>
                      </a:lnTo>
                      <a:lnTo>
                        <a:pt x="4300" y="756"/>
                      </a:lnTo>
                      <a:lnTo>
                        <a:pt x="4346" y="799"/>
                      </a:lnTo>
                      <a:lnTo>
                        <a:pt x="4392" y="843"/>
                      </a:lnTo>
                      <a:lnTo>
                        <a:pt x="4434" y="887"/>
                      </a:lnTo>
                      <a:lnTo>
                        <a:pt x="4478" y="934"/>
                      </a:lnTo>
                      <a:lnTo>
                        <a:pt x="4520" y="982"/>
                      </a:lnTo>
                      <a:lnTo>
                        <a:pt x="4561" y="1029"/>
                      </a:lnTo>
                      <a:lnTo>
                        <a:pt x="4599" y="1077"/>
                      </a:lnTo>
                      <a:lnTo>
                        <a:pt x="4639" y="1127"/>
                      </a:lnTo>
                      <a:lnTo>
                        <a:pt x="4676" y="1179"/>
                      </a:lnTo>
                      <a:lnTo>
                        <a:pt x="4711" y="1231"/>
                      </a:lnTo>
                      <a:lnTo>
                        <a:pt x="4747" y="1282"/>
                      </a:lnTo>
                      <a:lnTo>
                        <a:pt x="4781" y="1335"/>
                      </a:lnTo>
                      <a:lnTo>
                        <a:pt x="4813" y="1390"/>
                      </a:lnTo>
                      <a:lnTo>
                        <a:pt x="4844" y="1444"/>
                      </a:lnTo>
                      <a:lnTo>
                        <a:pt x="4875" y="1500"/>
                      </a:lnTo>
                      <a:lnTo>
                        <a:pt x="4903" y="1557"/>
                      </a:lnTo>
                      <a:lnTo>
                        <a:pt x="4931" y="1614"/>
                      </a:lnTo>
                      <a:lnTo>
                        <a:pt x="4958" y="1672"/>
                      </a:lnTo>
                      <a:lnTo>
                        <a:pt x="4983" y="1731"/>
                      </a:lnTo>
                      <a:lnTo>
                        <a:pt x="5005" y="1789"/>
                      </a:lnTo>
                      <a:lnTo>
                        <a:pt x="5027" y="1850"/>
                      </a:lnTo>
                      <a:lnTo>
                        <a:pt x="5048" y="1910"/>
                      </a:lnTo>
                      <a:lnTo>
                        <a:pt x="5067" y="1971"/>
                      </a:lnTo>
                      <a:lnTo>
                        <a:pt x="5084" y="2033"/>
                      </a:lnTo>
                      <a:lnTo>
                        <a:pt x="5101" y="2096"/>
                      </a:lnTo>
                      <a:lnTo>
                        <a:pt x="5115" y="2158"/>
                      </a:lnTo>
                      <a:lnTo>
                        <a:pt x="5129" y="2221"/>
                      </a:lnTo>
                      <a:lnTo>
                        <a:pt x="5140" y="2286"/>
                      </a:lnTo>
                      <a:lnTo>
                        <a:pt x="5151" y="2350"/>
                      </a:lnTo>
                      <a:lnTo>
                        <a:pt x="5160" y="2415"/>
                      </a:lnTo>
                      <a:lnTo>
                        <a:pt x="5167" y="2479"/>
                      </a:lnTo>
                      <a:lnTo>
                        <a:pt x="5171" y="2546"/>
                      </a:lnTo>
                      <a:lnTo>
                        <a:pt x="5176" y="2612"/>
                      </a:lnTo>
                      <a:lnTo>
                        <a:pt x="5176" y="2612"/>
                      </a:lnTo>
                      <a:lnTo>
                        <a:pt x="5177" y="2676"/>
                      </a:lnTo>
                      <a:lnTo>
                        <a:pt x="5177" y="2740"/>
                      </a:lnTo>
                      <a:lnTo>
                        <a:pt x="5177" y="2804"/>
                      </a:lnTo>
                      <a:lnTo>
                        <a:pt x="5174" y="2867"/>
                      </a:lnTo>
                      <a:lnTo>
                        <a:pt x="5170" y="2929"/>
                      </a:lnTo>
                      <a:lnTo>
                        <a:pt x="5164" y="2993"/>
                      </a:lnTo>
                      <a:lnTo>
                        <a:pt x="5157" y="3055"/>
                      </a:lnTo>
                      <a:lnTo>
                        <a:pt x="5148" y="3116"/>
                      </a:lnTo>
                      <a:lnTo>
                        <a:pt x="5137" y="3177"/>
                      </a:lnTo>
                      <a:lnTo>
                        <a:pt x="5126" y="3239"/>
                      </a:lnTo>
                      <a:lnTo>
                        <a:pt x="5112" y="3299"/>
                      </a:lnTo>
                      <a:lnTo>
                        <a:pt x="5098" y="3358"/>
                      </a:lnTo>
                      <a:lnTo>
                        <a:pt x="5081" y="3419"/>
                      </a:lnTo>
                      <a:lnTo>
                        <a:pt x="5064" y="3478"/>
                      </a:lnTo>
                      <a:lnTo>
                        <a:pt x="5045" y="3535"/>
                      </a:lnTo>
                      <a:lnTo>
                        <a:pt x="5024" y="3594"/>
                      </a:lnTo>
                      <a:lnTo>
                        <a:pt x="5002" y="3650"/>
                      </a:lnTo>
                      <a:lnTo>
                        <a:pt x="4978" y="3708"/>
                      </a:lnTo>
                      <a:lnTo>
                        <a:pt x="4953" y="3764"/>
                      </a:lnTo>
                      <a:lnTo>
                        <a:pt x="4927" y="3818"/>
                      </a:lnTo>
                      <a:lnTo>
                        <a:pt x="4899" y="3873"/>
                      </a:lnTo>
                      <a:lnTo>
                        <a:pt x="4869" y="3927"/>
                      </a:lnTo>
                      <a:lnTo>
                        <a:pt x="4838" y="3980"/>
                      </a:lnTo>
                      <a:lnTo>
                        <a:pt x="4807" y="4034"/>
                      </a:lnTo>
                      <a:lnTo>
                        <a:pt x="4773" y="4085"/>
                      </a:lnTo>
                      <a:lnTo>
                        <a:pt x="4738" y="4135"/>
                      </a:lnTo>
                      <a:lnTo>
                        <a:pt x="4703" y="4187"/>
                      </a:lnTo>
                      <a:lnTo>
                        <a:pt x="4666" y="4236"/>
                      </a:lnTo>
                      <a:lnTo>
                        <a:pt x="4626" y="4284"/>
                      </a:lnTo>
                      <a:lnTo>
                        <a:pt x="4586" y="4331"/>
                      </a:lnTo>
                      <a:lnTo>
                        <a:pt x="4545" y="4379"/>
                      </a:lnTo>
                      <a:lnTo>
                        <a:pt x="4502" y="4424"/>
                      </a:lnTo>
                      <a:lnTo>
                        <a:pt x="4502" y="4424"/>
                      </a:lnTo>
                      <a:lnTo>
                        <a:pt x="4458" y="4468"/>
                      </a:lnTo>
                      <a:lnTo>
                        <a:pt x="4414" y="4513"/>
                      </a:lnTo>
                      <a:lnTo>
                        <a:pt x="4368" y="4554"/>
                      </a:lnTo>
                      <a:lnTo>
                        <a:pt x="4321" y="4595"/>
                      </a:lnTo>
                      <a:lnTo>
                        <a:pt x="4272" y="4635"/>
                      </a:lnTo>
                      <a:lnTo>
                        <a:pt x="4225" y="4673"/>
                      </a:lnTo>
                      <a:lnTo>
                        <a:pt x="4175" y="4710"/>
                      </a:lnTo>
                      <a:lnTo>
                        <a:pt x="4125" y="4746"/>
                      </a:lnTo>
                      <a:lnTo>
                        <a:pt x="4073" y="4780"/>
                      </a:lnTo>
                      <a:lnTo>
                        <a:pt x="4021" y="4812"/>
                      </a:lnTo>
                      <a:lnTo>
                        <a:pt x="3970" y="4843"/>
                      </a:lnTo>
                      <a:lnTo>
                        <a:pt x="3915" y="4874"/>
                      </a:lnTo>
                      <a:lnTo>
                        <a:pt x="3862" y="4902"/>
                      </a:lnTo>
                      <a:lnTo>
                        <a:pt x="3808" y="4930"/>
                      </a:lnTo>
                      <a:lnTo>
                        <a:pt x="3752" y="4955"/>
                      </a:lnTo>
                      <a:lnTo>
                        <a:pt x="3696" y="4980"/>
                      </a:lnTo>
                      <a:lnTo>
                        <a:pt x="3638" y="5004"/>
                      </a:lnTo>
                      <a:lnTo>
                        <a:pt x="3581" y="5024"/>
                      </a:lnTo>
                      <a:lnTo>
                        <a:pt x="3523" y="5045"/>
                      </a:lnTo>
                      <a:lnTo>
                        <a:pt x="3464" y="5064"/>
                      </a:lnTo>
                      <a:lnTo>
                        <a:pt x="3405" y="5082"/>
                      </a:lnTo>
                      <a:lnTo>
                        <a:pt x="3346" y="5097"/>
                      </a:lnTo>
                      <a:lnTo>
                        <a:pt x="3286" y="5111"/>
                      </a:lnTo>
                      <a:lnTo>
                        <a:pt x="3224" y="5125"/>
                      </a:lnTo>
                      <a:lnTo>
                        <a:pt x="3163" y="5136"/>
                      </a:lnTo>
                      <a:lnTo>
                        <a:pt x="3102" y="5145"/>
                      </a:lnTo>
                      <a:lnTo>
                        <a:pt x="3040" y="5154"/>
                      </a:lnTo>
                      <a:lnTo>
                        <a:pt x="2978" y="5161"/>
                      </a:lnTo>
                      <a:lnTo>
                        <a:pt x="2914" y="5166"/>
                      </a:lnTo>
                      <a:lnTo>
                        <a:pt x="2851" y="5170"/>
                      </a:lnTo>
                      <a:lnTo>
                        <a:pt x="2788" y="5173"/>
                      </a:lnTo>
                      <a:lnTo>
                        <a:pt x="2723" y="5173"/>
                      </a:lnTo>
                      <a:lnTo>
                        <a:pt x="2723" y="5173"/>
                      </a:lnTo>
                      <a:lnTo>
                        <a:pt x="2658" y="5173"/>
                      </a:lnTo>
                      <a:lnTo>
                        <a:pt x="2592" y="5170"/>
                      </a:lnTo>
                      <a:lnTo>
                        <a:pt x="2527" y="5166"/>
                      </a:lnTo>
                      <a:lnTo>
                        <a:pt x="2460" y="5160"/>
                      </a:lnTo>
                      <a:lnTo>
                        <a:pt x="2397" y="5153"/>
                      </a:lnTo>
                      <a:lnTo>
                        <a:pt x="2332" y="5144"/>
                      </a:lnTo>
                      <a:lnTo>
                        <a:pt x="2269" y="5133"/>
                      </a:lnTo>
                      <a:lnTo>
                        <a:pt x="2205" y="5122"/>
                      </a:lnTo>
                      <a:lnTo>
                        <a:pt x="2142" y="5108"/>
                      </a:lnTo>
                      <a:lnTo>
                        <a:pt x="2080" y="5092"/>
                      </a:lnTo>
                      <a:lnTo>
                        <a:pt x="2018" y="5076"/>
                      </a:lnTo>
                      <a:lnTo>
                        <a:pt x="1956" y="5058"/>
                      </a:lnTo>
                      <a:lnTo>
                        <a:pt x="1896" y="5039"/>
                      </a:lnTo>
                      <a:lnTo>
                        <a:pt x="1835" y="5017"/>
                      </a:lnTo>
                      <a:lnTo>
                        <a:pt x="1776" y="4995"/>
                      </a:lnTo>
                      <a:lnTo>
                        <a:pt x="1717" y="4971"/>
                      </a:lnTo>
                      <a:lnTo>
                        <a:pt x="1658" y="4946"/>
                      </a:lnTo>
                      <a:lnTo>
                        <a:pt x="1601" y="4920"/>
                      </a:lnTo>
                      <a:lnTo>
                        <a:pt x="1545" y="4893"/>
                      </a:lnTo>
                      <a:lnTo>
                        <a:pt x="1489" y="4864"/>
                      </a:lnTo>
                      <a:lnTo>
                        <a:pt x="1433" y="4833"/>
                      </a:lnTo>
                      <a:lnTo>
                        <a:pt x="1378" y="4802"/>
                      </a:lnTo>
                      <a:lnTo>
                        <a:pt x="1325" y="4769"/>
                      </a:lnTo>
                      <a:lnTo>
                        <a:pt x="1272" y="4735"/>
                      </a:lnTo>
                      <a:lnTo>
                        <a:pt x="1219" y="4700"/>
                      </a:lnTo>
                      <a:lnTo>
                        <a:pt x="1167" y="4663"/>
                      </a:lnTo>
                      <a:lnTo>
                        <a:pt x="1117" y="4626"/>
                      </a:lnTo>
                      <a:lnTo>
                        <a:pt x="1067" y="4586"/>
                      </a:lnTo>
                      <a:lnTo>
                        <a:pt x="1019" y="4547"/>
                      </a:lnTo>
                      <a:lnTo>
                        <a:pt x="971" y="4507"/>
                      </a:lnTo>
                      <a:lnTo>
                        <a:pt x="924" y="4464"/>
                      </a:lnTo>
                      <a:lnTo>
                        <a:pt x="878" y="4421"/>
                      </a:lnTo>
                      <a:lnTo>
                        <a:pt x="833" y="4377"/>
                      </a:lnTo>
                      <a:lnTo>
                        <a:pt x="790" y="4331"/>
                      </a:lnTo>
                      <a:lnTo>
                        <a:pt x="747" y="4286"/>
                      </a:lnTo>
                      <a:lnTo>
                        <a:pt x="705" y="4238"/>
                      </a:lnTo>
                      <a:lnTo>
                        <a:pt x="665" y="4191"/>
                      </a:lnTo>
                      <a:lnTo>
                        <a:pt x="625" y="4143"/>
                      </a:lnTo>
                      <a:lnTo>
                        <a:pt x="587" y="4092"/>
                      </a:lnTo>
                      <a:lnTo>
                        <a:pt x="548" y="4041"/>
                      </a:lnTo>
                      <a:lnTo>
                        <a:pt x="513" y="3989"/>
                      </a:lnTo>
                      <a:lnTo>
                        <a:pt x="477" y="3938"/>
                      </a:lnTo>
                      <a:lnTo>
                        <a:pt x="444" y="3885"/>
                      </a:lnTo>
                      <a:lnTo>
                        <a:pt x="411" y="3830"/>
                      </a:lnTo>
                      <a:lnTo>
                        <a:pt x="380" y="3775"/>
                      </a:lnTo>
                      <a:lnTo>
                        <a:pt x="349" y="3719"/>
                      </a:lnTo>
                      <a:lnTo>
                        <a:pt x="321" y="3663"/>
                      </a:lnTo>
                      <a:lnTo>
                        <a:pt x="293" y="3606"/>
                      </a:lnTo>
                      <a:lnTo>
                        <a:pt x="267" y="3548"/>
                      </a:lnTo>
                      <a:lnTo>
                        <a:pt x="243" y="3489"/>
                      </a:lnTo>
                      <a:lnTo>
                        <a:pt x="219" y="3430"/>
                      </a:lnTo>
                      <a:lnTo>
                        <a:pt x="197" y="3370"/>
                      </a:lnTo>
                      <a:lnTo>
                        <a:pt x="177" y="3310"/>
                      </a:lnTo>
                      <a:lnTo>
                        <a:pt x="158" y="3248"/>
                      </a:lnTo>
                      <a:lnTo>
                        <a:pt x="140" y="3187"/>
                      </a:lnTo>
                      <a:lnTo>
                        <a:pt x="124" y="3124"/>
                      </a:lnTo>
                      <a:lnTo>
                        <a:pt x="109" y="3062"/>
                      </a:lnTo>
                      <a:lnTo>
                        <a:pt x="96" y="2998"/>
                      </a:lnTo>
                      <a:lnTo>
                        <a:pt x="84" y="2934"/>
                      </a:lnTo>
                      <a:lnTo>
                        <a:pt x="74" y="2870"/>
                      </a:lnTo>
                      <a:lnTo>
                        <a:pt x="65" y="2805"/>
                      </a:lnTo>
                      <a:lnTo>
                        <a:pt x="57" y="2740"/>
                      </a:lnTo>
                      <a:lnTo>
                        <a:pt x="53" y="2674"/>
                      </a:lnTo>
                      <a:lnTo>
                        <a:pt x="48" y="2608"/>
                      </a:lnTo>
                      <a:lnTo>
                        <a:pt x="48" y="2608"/>
                      </a:lnTo>
                      <a:lnTo>
                        <a:pt x="47" y="2544"/>
                      </a:lnTo>
                      <a:lnTo>
                        <a:pt x="47" y="2479"/>
                      </a:lnTo>
                      <a:lnTo>
                        <a:pt x="48" y="2416"/>
                      </a:lnTo>
                      <a:lnTo>
                        <a:pt x="50" y="2353"/>
                      </a:lnTo>
                      <a:lnTo>
                        <a:pt x="54" y="2291"/>
                      </a:lnTo>
                      <a:lnTo>
                        <a:pt x="60" y="2227"/>
                      </a:lnTo>
                      <a:lnTo>
                        <a:pt x="68" y="2165"/>
                      </a:lnTo>
                      <a:lnTo>
                        <a:pt x="76" y="2104"/>
                      </a:lnTo>
                      <a:lnTo>
                        <a:pt x="87" y="2043"/>
                      </a:lnTo>
                      <a:lnTo>
                        <a:pt x="99" y="1981"/>
                      </a:lnTo>
                      <a:lnTo>
                        <a:pt x="112" y="1921"/>
                      </a:lnTo>
                      <a:lnTo>
                        <a:pt x="127" y="1862"/>
                      </a:lnTo>
                      <a:lnTo>
                        <a:pt x="143" y="1801"/>
                      </a:lnTo>
                      <a:lnTo>
                        <a:pt x="161" y="1742"/>
                      </a:lnTo>
                      <a:lnTo>
                        <a:pt x="181" y="1685"/>
                      </a:lnTo>
                      <a:lnTo>
                        <a:pt x="202" y="1626"/>
                      </a:lnTo>
                      <a:lnTo>
                        <a:pt x="224" y="1570"/>
                      </a:lnTo>
                      <a:lnTo>
                        <a:pt x="248" y="1512"/>
                      </a:lnTo>
                      <a:lnTo>
                        <a:pt x="271" y="1456"/>
                      </a:lnTo>
                      <a:lnTo>
                        <a:pt x="298" y="1402"/>
                      </a:lnTo>
                      <a:lnTo>
                        <a:pt x="326" y="1347"/>
                      </a:lnTo>
                      <a:lnTo>
                        <a:pt x="355" y="1293"/>
                      </a:lnTo>
                      <a:lnTo>
                        <a:pt x="386" y="1240"/>
                      </a:lnTo>
                      <a:lnTo>
                        <a:pt x="419" y="1186"/>
                      </a:lnTo>
                      <a:lnTo>
                        <a:pt x="451" y="1135"/>
                      </a:lnTo>
                      <a:lnTo>
                        <a:pt x="486" y="1083"/>
                      </a:lnTo>
                      <a:lnTo>
                        <a:pt x="522" y="1033"/>
                      </a:lnTo>
                      <a:lnTo>
                        <a:pt x="560" y="984"/>
                      </a:lnTo>
                      <a:lnTo>
                        <a:pt x="598" y="936"/>
                      </a:lnTo>
                      <a:lnTo>
                        <a:pt x="638" y="889"/>
                      </a:lnTo>
                      <a:lnTo>
                        <a:pt x="679" y="841"/>
                      </a:lnTo>
                      <a:lnTo>
                        <a:pt x="722" y="796"/>
                      </a:lnTo>
                      <a:lnTo>
                        <a:pt x="722" y="796"/>
                      </a:lnTo>
                      <a:lnTo>
                        <a:pt x="766" y="751"/>
                      </a:lnTo>
                      <a:lnTo>
                        <a:pt x="812" y="707"/>
                      </a:lnTo>
                      <a:lnTo>
                        <a:pt x="858" y="666"/>
                      </a:lnTo>
                      <a:lnTo>
                        <a:pt x="904" y="625"/>
                      </a:lnTo>
                      <a:lnTo>
                        <a:pt x="952" y="585"/>
                      </a:lnTo>
                      <a:lnTo>
                        <a:pt x="1001" y="547"/>
                      </a:lnTo>
                      <a:lnTo>
                        <a:pt x="1049" y="510"/>
                      </a:lnTo>
                      <a:lnTo>
                        <a:pt x="1100" y="474"/>
                      </a:lnTo>
                      <a:lnTo>
                        <a:pt x="1151" y="440"/>
                      </a:lnTo>
                      <a:lnTo>
                        <a:pt x="1203" y="408"/>
                      </a:lnTo>
                      <a:lnTo>
                        <a:pt x="1256" y="377"/>
                      </a:lnTo>
                      <a:lnTo>
                        <a:pt x="1309" y="346"/>
                      </a:lnTo>
                      <a:lnTo>
                        <a:pt x="1362" y="318"/>
                      </a:lnTo>
                      <a:lnTo>
                        <a:pt x="1418" y="290"/>
                      </a:lnTo>
                      <a:lnTo>
                        <a:pt x="1473" y="265"/>
                      </a:lnTo>
                      <a:lnTo>
                        <a:pt x="1529" y="240"/>
                      </a:lnTo>
                      <a:lnTo>
                        <a:pt x="1586" y="216"/>
                      </a:lnTo>
                      <a:lnTo>
                        <a:pt x="1644" y="196"/>
                      </a:lnTo>
                      <a:lnTo>
                        <a:pt x="1701" y="175"/>
                      </a:lnTo>
                      <a:lnTo>
                        <a:pt x="1760" y="156"/>
                      </a:lnTo>
                      <a:lnTo>
                        <a:pt x="1819" y="138"/>
                      </a:lnTo>
                      <a:lnTo>
                        <a:pt x="1879" y="123"/>
                      </a:lnTo>
                      <a:lnTo>
                        <a:pt x="1940" y="109"/>
                      </a:lnTo>
                      <a:lnTo>
                        <a:pt x="2000" y="95"/>
                      </a:lnTo>
                      <a:lnTo>
                        <a:pt x="2061" y="84"/>
                      </a:lnTo>
                      <a:lnTo>
                        <a:pt x="2123" y="75"/>
                      </a:lnTo>
                      <a:lnTo>
                        <a:pt x="2185" y="66"/>
                      </a:lnTo>
                      <a:lnTo>
                        <a:pt x="2248" y="59"/>
                      </a:lnTo>
                      <a:lnTo>
                        <a:pt x="2310" y="54"/>
                      </a:lnTo>
                      <a:lnTo>
                        <a:pt x="2373" y="50"/>
                      </a:lnTo>
                      <a:lnTo>
                        <a:pt x="2437" y="47"/>
                      </a:lnTo>
                      <a:lnTo>
                        <a:pt x="2502" y="47"/>
                      </a:lnTo>
                      <a:close/>
                      <a:moveTo>
                        <a:pt x="2502" y="0"/>
                      </a:moveTo>
                      <a:lnTo>
                        <a:pt x="2502" y="0"/>
                      </a:lnTo>
                      <a:lnTo>
                        <a:pt x="2434" y="0"/>
                      </a:lnTo>
                      <a:lnTo>
                        <a:pt x="2367" y="3"/>
                      </a:lnTo>
                      <a:lnTo>
                        <a:pt x="2301" y="7"/>
                      </a:lnTo>
                      <a:lnTo>
                        <a:pt x="2235" y="13"/>
                      </a:lnTo>
                      <a:lnTo>
                        <a:pt x="2170" y="20"/>
                      </a:lnTo>
                      <a:lnTo>
                        <a:pt x="2105" y="29"/>
                      </a:lnTo>
                      <a:lnTo>
                        <a:pt x="2040" y="39"/>
                      </a:lnTo>
                      <a:lnTo>
                        <a:pt x="1977" y="53"/>
                      </a:lnTo>
                      <a:lnTo>
                        <a:pt x="1915" y="66"/>
                      </a:lnTo>
                      <a:lnTo>
                        <a:pt x="1853" y="81"/>
                      </a:lnTo>
                      <a:lnTo>
                        <a:pt x="1791" y="98"/>
                      </a:lnTo>
                      <a:lnTo>
                        <a:pt x="1731" y="116"/>
                      </a:lnTo>
                      <a:lnTo>
                        <a:pt x="1670" y="137"/>
                      </a:lnTo>
                      <a:lnTo>
                        <a:pt x="1610" y="157"/>
                      </a:lnTo>
                      <a:lnTo>
                        <a:pt x="1552" y="179"/>
                      </a:lnTo>
                      <a:lnTo>
                        <a:pt x="1493" y="204"/>
                      </a:lnTo>
                      <a:lnTo>
                        <a:pt x="1437" y="230"/>
                      </a:lnTo>
                      <a:lnTo>
                        <a:pt x="1380" y="256"/>
                      </a:lnTo>
                      <a:lnTo>
                        <a:pt x="1325" y="284"/>
                      </a:lnTo>
                      <a:lnTo>
                        <a:pt x="1271" y="314"/>
                      </a:lnTo>
                      <a:lnTo>
                        <a:pt x="1216" y="345"/>
                      </a:lnTo>
                      <a:lnTo>
                        <a:pt x="1163" y="377"/>
                      </a:lnTo>
                      <a:lnTo>
                        <a:pt x="1111" y="411"/>
                      </a:lnTo>
                      <a:lnTo>
                        <a:pt x="1061" y="445"/>
                      </a:lnTo>
                      <a:lnTo>
                        <a:pt x="1011" y="480"/>
                      </a:lnTo>
                      <a:lnTo>
                        <a:pt x="961" y="517"/>
                      </a:lnTo>
                      <a:lnTo>
                        <a:pt x="914" y="555"/>
                      </a:lnTo>
                      <a:lnTo>
                        <a:pt x="867" y="595"/>
                      </a:lnTo>
                      <a:lnTo>
                        <a:pt x="820" y="635"/>
                      </a:lnTo>
                      <a:lnTo>
                        <a:pt x="775" y="678"/>
                      </a:lnTo>
                      <a:lnTo>
                        <a:pt x="731" y="721"/>
                      </a:lnTo>
                      <a:lnTo>
                        <a:pt x="688" y="763"/>
                      </a:lnTo>
                      <a:lnTo>
                        <a:pt x="646" y="809"/>
                      </a:lnTo>
                      <a:lnTo>
                        <a:pt x="606" y="855"/>
                      </a:lnTo>
                      <a:lnTo>
                        <a:pt x="566" y="902"/>
                      </a:lnTo>
                      <a:lnTo>
                        <a:pt x="528" y="949"/>
                      </a:lnTo>
                      <a:lnTo>
                        <a:pt x="489" y="998"/>
                      </a:lnTo>
                      <a:lnTo>
                        <a:pt x="454" y="1048"/>
                      </a:lnTo>
                      <a:lnTo>
                        <a:pt x="419" y="1098"/>
                      </a:lnTo>
                      <a:lnTo>
                        <a:pt x="386" y="1150"/>
                      </a:lnTo>
                      <a:lnTo>
                        <a:pt x="354" y="1203"/>
                      </a:lnTo>
                      <a:lnTo>
                        <a:pt x="323" y="1256"/>
                      </a:lnTo>
                      <a:lnTo>
                        <a:pt x="292" y="1310"/>
                      </a:lnTo>
                      <a:lnTo>
                        <a:pt x="264" y="1365"/>
                      </a:lnTo>
                      <a:lnTo>
                        <a:pt x="237" y="1421"/>
                      </a:lnTo>
                      <a:lnTo>
                        <a:pt x="211" y="1478"/>
                      </a:lnTo>
                      <a:lnTo>
                        <a:pt x="187" y="1536"/>
                      </a:lnTo>
                      <a:lnTo>
                        <a:pt x="163" y="1593"/>
                      </a:lnTo>
                      <a:lnTo>
                        <a:pt x="141" y="1652"/>
                      </a:lnTo>
                      <a:lnTo>
                        <a:pt x="122" y="1713"/>
                      </a:lnTo>
                      <a:lnTo>
                        <a:pt x="103" y="1773"/>
                      </a:lnTo>
                      <a:lnTo>
                        <a:pt x="85" y="1834"/>
                      </a:lnTo>
                      <a:lnTo>
                        <a:pt x="71" y="1896"/>
                      </a:lnTo>
                      <a:lnTo>
                        <a:pt x="56" y="1958"/>
                      </a:lnTo>
                      <a:lnTo>
                        <a:pt x="44" y="2021"/>
                      </a:lnTo>
                      <a:lnTo>
                        <a:pt x="32" y="2084"/>
                      </a:lnTo>
                      <a:lnTo>
                        <a:pt x="23" y="2148"/>
                      </a:lnTo>
                      <a:lnTo>
                        <a:pt x="15" y="2213"/>
                      </a:lnTo>
                      <a:lnTo>
                        <a:pt x="9" y="2278"/>
                      </a:lnTo>
                      <a:lnTo>
                        <a:pt x="4" y="2342"/>
                      </a:lnTo>
                      <a:lnTo>
                        <a:pt x="1" y="2409"/>
                      </a:lnTo>
                      <a:lnTo>
                        <a:pt x="0" y="2475"/>
                      </a:lnTo>
                      <a:lnTo>
                        <a:pt x="0" y="2543"/>
                      </a:lnTo>
                      <a:lnTo>
                        <a:pt x="1" y="2609"/>
                      </a:lnTo>
                      <a:lnTo>
                        <a:pt x="1" y="2609"/>
                      </a:lnTo>
                      <a:lnTo>
                        <a:pt x="6" y="2677"/>
                      </a:lnTo>
                      <a:lnTo>
                        <a:pt x="10" y="2745"/>
                      </a:lnTo>
                      <a:lnTo>
                        <a:pt x="18" y="2811"/>
                      </a:lnTo>
                      <a:lnTo>
                        <a:pt x="26" y="2878"/>
                      </a:lnTo>
                      <a:lnTo>
                        <a:pt x="37" y="2942"/>
                      </a:lnTo>
                      <a:lnTo>
                        <a:pt x="48" y="3007"/>
                      </a:lnTo>
                      <a:lnTo>
                        <a:pt x="62" y="3072"/>
                      </a:lnTo>
                      <a:lnTo>
                        <a:pt x="76" y="3136"/>
                      </a:lnTo>
                      <a:lnTo>
                        <a:pt x="94" y="3199"/>
                      </a:lnTo>
                      <a:lnTo>
                        <a:pt x="112" y="3262"/>
                      </a:lnTo>
                      <a:lnTo>
                        <a:pt x="131" y="3324"/>
                      </a:lnTo>
                      <a:lnTo>
                        <a:pt x="152" y="3386"/>
                      </a:lnTo>
                      <a:lnTo>
                        <a:pt x="174" y="3447"/>
                      </a:lnTo>
                      <a:lnTo>
                        <a:pt x="199" y="3507"/>
                      </a:lnTo>
                      <a:lnTo>
                        <a:pt x="224" y="3568"/>
                      </a:lnTo>
                      <a:lnTo>
                        <a:pt x="250" y="3627"/>
                      </a:lnTo>
                      <a:lnTo>
                        <a:pt x="278" y="3684"/>
                      </a:lnTo>
                      <a:lnTo>
                        <a:pt x="308" y="3742"/>
                      </a:lnTo>
                      <a:lnTo>
                        <a:pt x="337" y="3799"/>
                      </a:lnTo>
                      <a:lnTo>
                        <a:pt x="370" y="3855"/>
                      </a:lnTo>
                      <a:lnTo>
                        <a:pt x="402" y="3910"/>
                      </a:lnTo>
                      <a:lnTo>
                        <a:pt x="438" y="3964"/>
                      </a:lnTo>
                      <a:lnTo>
                        <a:pt x="473" y="4017"/>
                      </a:lnTo>
                      <a:lnTo>
                        <a:pt x="510" y="4070"/>
                      </a:lnTo>
                      <a:lnTo>
                        <a:pt x="548" y="4122"/>
                      </a:lnTo>
                      <a:lnTo>
                        <a:pt x="587" y="4172"/>
                      </a:lnTo>
                      <a:lnTo>
                        <a:pt x="626" y="4222"/>
                      </a:lnTo>
                      <a:lnTo>
                        <a:pt x="669" y="4271"/>
                      </a:lnTo>
                      <a:lnTo>
                        <a:pt x="710" y="4318"/>
                      </a:lnTo>
                      <a:lnTo>
                        <a:pt x="755" y="4365"/>
                      </a:lnTo>
                      <a:lnTo>
                        <a:pt x="799" y="4411"/>
                      </a:lnTo>
                      <a:lnTo>
                        <a:pt x="845" y="4457"/>
                      </a:lnTo>
                      <a:lnTo>
                        <a:pt x="892" y="4499"/>
                      </a:lnTo>
                      <a:lnTo>
                        <a:pt x="939" y="4542"/>
                      </a:lnTo>
                      <a:lnTo>
                        <a:pt x="988" y="4583"/>
                      </a:lnTo>
                      <a:lnTo>
                        <a:pt x="1038" y="4625"/>
                      </a:lnTo>
                      <a:lnTo>
                        <a:pt x="1088" y="4665"/>
                      </a:lnTo>
                      <a:lnTo>
                        <a:pt x="1139" y="4701"/>
                      </a:lnTo>
                      <a:lnTo>
                        <a:pt x="1191" y="4740"/>
                      </a:lnTo>
                      <a:lnTo>
                        <a:pt x="1244" y="4775"/>
                      </a:lnTo>
                      <a:lnTo>
                        <a:pt x="1299" y="4809"/>
                      </a:lnTo>
                      <a:lnTo>
                        <a:pt x="1353" y="4843"/>
                      </a:lnTo>
                      <a:lnTo>
                        <a:pt x="1409" y="4875"/>
                      </a:lnTo>
                      <a:lnTo>
                        <a:pt x="1465" y="4906"/>
                      </a:lnTo>
                      <a:lnTo>
                        <a:pt x="1523" y="4936"/>
                      </a:lnTo>
                      <a:lnTo>
                        <a:pt x="1580" y="4964"/>
                      </a:lnTo>
                      <a:lnTo>
                        <a:pt x="1639" y="4990"/>
                      </a:lnTo>
                      <a:lnTo>
                        <a:pt x="1698" y="5015"/>
                      </a:lnTo>
                      <a:lnTo>
                        <a:pt x="1759" y="5039"/>
                      </a:lnTo>
                      <a:lnTo>
                        <a:pt x="1819" y="5063"/>
                      </a:lnTo>
                      <a:lnTo>
                        <a:pt x="1881" y="5083"/>
                      </a:lnTo>
                      <a:lnTo>
                        <a:pt x="1941" y="5104"/>
                      </a:lnTo>
                      <a:lnTo>
                        <a:pt x="2005" y="5122"/>
                      </a:lnTo>
                      <a:lnTo>
                        <a:pt x="2068" y="5139"/>
                      </a:lnTo>
                      <a:lnTo>
                        <a:pt x="2132" y="5154"/>
                      </a:lnTo>
                      <a:lnTo>
                        <a:pt x="2195" y="5167"/>
                      </a:lnTo>
                      <a:lnTo>
                        <a:pt x="2260" y="5181"/>
                      </a:lnTo>
                      <a:lnTo>
                        <a:pt x="2325" y="5191"/>
                      </a:lnTo>
                      <a:lnTo>
                        <a:pt x="2390" y="5200"/>
                      </a:lnTo>
                      <a:lnTo>
                        <a:pt x="2456" y="5207"/>
                      </a:lnTo>
                      <a:lnTo>
                        <a:pt x="2522" y="5213"/>
                      </a:lnTo>
                      <a:lnTo>
                        <a:pt x="2589" y="5217"/>
                      </a:lnTo>
                      <a:lnTo>
                        <a:pt x="2656" y="5220"/>
                      </a:lnTo>
                      <a:lnTo>
                        <a:pt x="2723" y="5220"/>
                      </a:lnTo>
                      <a:lnTo>
                        <a:pt x="2723" y="5220"/>
                      </a:lnTo>
                      <a:lnTo>
                        <a:pt x="2791" y="5220"/>
                      </a:lnTo>
                      <a:lnTo>
                        <a:pt x="2857" y="5217"/>
                      </a:lnTo>
                      <a:lnTo>
                        <a:pt x="2923" y="5213"/>
                      </a:lnTo>
                      <a:lnTo>
                        <a:pt x="2990" y="5207"/>
                      </a:lnTo>
                      <a:lnTo>
                        <a:pt x="3054" y="5200"/>
                      </a:lnTo>
                      <a:lnTo>
                        <a:pt x="3119" y="5191"/>
                      </a:lnTo>
                      <a:lnTo>
                        <a:pt x="3184" y="5181"/>
                      </a:lnTo>
                      <a:lnTo>
                        <a:pt x="3248" y="5167"/>
                      </a:lnTo>
                      <a:lnTo>
                        <a:pt x="3309" y="5154"/>
                      </a:lnTo>
                      <a:lnTo>
                        <a:pt x="3373" y="5139"/>
                      </a:lnTo>
                      <a:lnTo>
                        <a:pt x="3433" y="5122"/>
                      </a:lnTo>
                      <a:lnTo>
                        <a:pt x="3495" y="5104"/>
                      </a:lnTo>
                      <a:lnTo>
                        <a:pt x="3554" y="5083"/>
                      </a:lnTo>
                      <a:lnTo>
                        <a:pt x="3615" y="5063"/>
                      </a:lnTo>
                      <a:lnTo>
                        <a:pt x="3674" y="5039"/>
                      </a:lnTo>
                      <a:lnTo>
                        <a:pt x="3731" y="5015"/>
                      </a:lnTo>
                      <a:lnTo>
                        <a:pt x="3789" y="4990"/>
                      </a:lnTo>
                      <a:lnTo>
                        <a:pt x="3845" y="4964"/>
                      </a:lnTo>
                      <a:lnTo>
                        <a:pt x="3899" y="4936"/>
                      </a:lnTo>
                      <a:lnTo>
                        <a:pt x="3954" y="4906"/>
                      </a:lnTo>
                      <a:lnTo>
                        <a:pt x="4008" y="4875"/>
                      </a:lnTo>
                      <a:lnTo>
                        <a:pt x="4061" y="4843"/>
                      </a:lnTo>
                      <a:lnTo>
                        <a:pt x="4113" y="4809"/>
                      </a:lnTo>
                      <a:lnTo>
                        <a:pt x="4164" y="4775"/>
                      </a:lnTo>
                      <a:lnTo>
                        <a:pt x="4215" y="4740"/>
                      </a:lnTo>
                      <a:lnTo>
                        <a:pt x="4263" y="4701"/>
                      </a:lnTo>
                      <a:lnTo>
                        <a:pt x="4312" y="4665"/>
                      </a:lnTo>
                      <a:lnTo>
                        <a:pt x="4359" y="4625"/>
                      </a:lnTo>
                      <a:lnTo>
                        <a:pt x="4405" y="4583"/>
                      </a:lnTo>
                      <a:lnTo>
                        <a:pt x="4450" y="4542"/>
                      </a:lnTo>
                      <a:lnTo>
                        <a:pt x="4493" y="4499"/>
                      </a:lnTo>
                      <a:lnTo>
                        <a:pt x="4537" y="4457"/>
                      </a:lnTo>
                      <a:lnTo>
                        <a:pt x="4579" y="4411"/>
                      </a:lnTo>
                      <a:lnTo>
                        <a:pt x="4620" y="4365"/>
                      </a:lnTo>
                      <a:lnTo>
                        <a:pt x="4658" y="4318"/>
                      </a:lnTo>
                      <a:lnTo>
                        <a:pt x="4697" y="4271"/>
                      </a:lnTo>
                      <a:lnTo>
                        <a:pt x="4735" y="4222"/>
                      </a:lnTo>
                      <a:lnTo>
                        <a:pt x="4770" y="4172"/>
                      </a:lnTo>
                      <a:lnTo>
                        <a:pt x="4806" y="4122"/>
                      </a:lnTo>
                      <a:lnTo>
                        <a:pt x="4840" y="4070"/>
                      </a:lnTo>
                      <a:lnTo>
                        <a:pt x="4872" y="4017"/>
                      </a:lnTo>
                      <a:lnTo>
                        <a:pt x="4903" y="3964"/>
                      </a:lnTo>
                      <a:lnTo>
                        <a:pt x="4933" y="3910"/>
                      </a:lnTo>
                      <a:lnTo>
                        <a:pt x="4961" y="3855"/>
                      </a:lnTo>
                      <a:lnTo>
                        <a:pt x="4987" y="3799"/>
                      </a:lnTo>
                      <a:lnTo>
                        <a:pt x="5014" y="3742"/>
                      </a:lnTo>
                      <a:lnTo>
                        <a:pt x="5037" y="3684"/>
                      </a:lnTo>
                      <a:lnTo>
                        <a:pt x="5061" y="3627"/>
                      </a:lnTo>
                      <a:lnTo>
                        <a:pt x="5083" y="3568"/>
                      </a:lnTo>
                      <a:lnTo>
                        <a:pt x="5102" y="3507"/>
                      </a:lnTo>
                      <a:lnTo>
                        <a:pt x="5121" y="3447"/>
                      </a:lnTo>
                      <a:lnTo>
                        <a:pt x="5139" y="3386"/>
                      </a:lnTo>
                      <a:lnTo>
                        <a:pt x="5154" y="3324"/>
                      </a:lnTo>
                      <a:lnTo>
                        <a:pt x="5168" y="3262"/>
                      </a:lnTo>
                      <a:lnTo>
                        <a:pt x="5182" y="3199"/>
                      </a:lnTo>
                      <a:lnTo>
                        <a:pt x="5192" y="3136"/>
                      </a:lnTo>
                      <a:lnTo>
                        <a:pt x="5202" y="3072"/>
                      </a:lnTo>
                      <a:lnTo>
                        <a:pt x="5210" y="3007"/>
                      </a:lnTo>
                      <a:lnTo>
                        <a:pt x="5216" y="2942"/>
                      </a:lnTo>
                      <a:lnTo>
                        <a:pt x="5220" y="2878"/>
                      </a:lnTo>
                      <a:lnTo>
                        <a:pt x="5224" y="2811"/>
                      </a:lnTo>
                      <a:lnTo>
                        <a:pt x="5224" y="2745"/>
                      </a:lnTo>
                      <a:lnTo>
                        <a:pt x="5224" y="2677"/>
                      </a:lnTo>
                      <a:lnTo>
                        <a:pt x="5223" y="2609"/>
                      </a:lnTo>
                      <a:lnTo>
                        <a:pt x="5223" y="2609"/>
                      </a:lnTo>
                      <a:lnTo>
                        <a:pt x="5219" y="2543"/>
                      </a:lnTo>
                      <a:lnTo>
                        <a:pt x="5214" y="2475"/>
                      </a:lnTo>
                      <a:lnTo>
                        <a:pt x="5207" y="2409"/>
                      </a:lnTo>
                      <a:lnTo>
                        <a:pt x="5198" y="2342"/>
                      </a:lnTo>
                      <a:lnTo>
                        <a:pt x="5188" y="2278"/>
                      </a:lnTo>
                      <a:lnTo>
                        <a:pt x="5176" y="2213"/>
                      </a:lnTo>
                      <a:lnTo>
                        <a:pt x="5163" y="2148"/>
                      </a:lnTo>
                      <a:lnTo>
                        <a:pt x="5148" y="2084"/>
                      </a:lnTo>
                      <a:lnTo>
                        <a:pt x="5132" y="2021"/>
                      </a:lnTo>
                      <a:lnTo>
                        <a:pt x="5112" y="1958"/>
                      </a:lnTo>
                      <a:lnTo>
                        <a:pt x="5093" y="1896"/>
                      </a:lnTo>
                      <a:lnTo>
                        <a:pt x="5073" y="1834"/>
                      </a:lnTo>
                      <a:lnTo>
                        <a:pt x="5050" y="1773"/>
                      </a:lnTo>
                      <a:lnTo>
                        <a:pt x="5027" y="1713"/>
                      </a:lnTo>
                      <a:lnTo>
                        <a:pt x="5000" y="1652"/>
                      </a:lnTo>
                      <a:lnTo>
                        <a:pt x="4974" y="1593"/>
                      </a:lnTo>
                      <a:lnTo>
                        <a:pt x="4946" y="1536"/>
                      </a:lnTo>
                      <a:lnTo>
                        <a:pt x="4918" y="1478"/>
                      </a:lnTo>
                      <a:lnTo>
                        <a:pt x="4887" y="1421"/>
                      </a:lnTo>
                      <a:lnTo>
                        <a:pt x="4854" y="1365"/>
                      </a:lnTo>
                      <a:lnTo>
                        <a:pt x="4822" y="1310"/>
                      </a:lnTo>
                      <a:lnTo>
                        <a:pt x="4787" y="1256"/>
                      </a:lnTo>
                      <a:lnTo>
                        <a:pt x="4751" y="1203"/>
                      </a:lnTo>
                      <a:lnTo>
                        <a:pt x="4714" y="1150"/>
                      </a:lnTo>
                      <a:lnTo>
                        <a:pt x="4678" y="1098"/>
                      </a:lnTo>
                      <a:lnTo>
                        <a:pt x="4638" y="1048"/>
                      </a:lnTo>
                      <a:lnTo>
                        <a:pt x="4598" y="998"/>
                      </a:lnTo>
                      <a:lnTo>
                        <a:pt x="4557" y="949"/>
                      </a:lnTo>
                      <a:lnTo>
                        <a:pt x="4514" y="902"/>
                      </a:lnTo>
                      <a:lnTo>
                        <a:pt x="4470" y="855"/>
                      </a:lnTo>
                      <a:lnTo>
                        <a:pt x="4425" y="809"/>
                      </a:lnTo>
                      <a:lnTo>
                        <a:pt x="4380" y="763"/>
                      </a:lnTo>
                      <a:lnTo>
                        <a:pt x="4333" y="721"/>
                      </a:lnTo>
                      <a:lnTo>
                        <a:pt x="4285" y="678"/>
                      </a:lnTo>
                      <a:lnTo>
                        <a:pt x="4237" y="635"/>
                      </a:lnTo>
                      <a:lnTo>
                        <a:pt x="4187" y="595"/>
                      </a:lnTo>
                      <a:lnTo>
                        <a:pt x="4136" y="555"/>
                      </a:lnTo>
                      <a:lnTo>
                        <a:pt x="4085" y="517"/>
                      </a:lnTo>
                      <a:lnTo>
                        <a:pt x="4033" y="480"/>
                      </a:lnTo>
                      <a:lnTo>
                        <a:pt x="3980" y="445"/>
                      </a:lnTo>
                      <a:lnTo>
                        <a:pt x="3926" y="411"/>
                      </a:lnTo>
                      <a:lnTo>
                        <a:pt x="3871" y="377"/>
                      </a:lnTo>
                      <a:lnTo>
                        <a:pt x="3815" y="345"/>
                      </a:lnTo>
                      <a:lnTo>
                        <a:pt x="3759" y="314"/>
                      </a:lnTo>
                      <a:lnTo>
                        <a:pt x="3702" y="284"/>
                      </a:lnTo>
                      <a:lnTo>
                        <a:pt x="3644" y="256"/>
                      </a:lnTo>
                      <a:lnTo>
                        <a:pt x="3585" y="230"/>
                      </a:lnTo>
                      <a:lnTo>
                        <a:pt x="3526" y="204"/>
                      </a:lnTo>
                      <a:lnTo>
                        <a:pt x="3466" y="179"/>
                      </a:lnTo>
                      <a:lnTo>
                        <a:pt x="3405" y="157"/>
                      </a:lnTo>
                      <a:lnTo>
                        <a:pt x="3345" y="137"/>
                      </a:lnTo>
                      <a:lnTo>
                        <a:pt x="3283" y="116"/>
                      </a:lnTo>
                      <a:lnTo>
                        <a:pt x="3220" y="98"/>
                      </a:lnTo>
                      <a:lnTo>
                        <a:pt x="3158" y="81"/>
                      </a:lnTo>
                      <a:lnTo>
                        <a:pt x="3094" y="66"/>
                      </a:lnTo>
                      <a:lnTo>
                        <a:pt x="3029" y="53"/>
                      </a:lnTo>
                      <a:lnTo>
                        <a:pt x="2964" y="39"/>
                      </a:lnTo>
                      <a:lnTo>
                        <a:pt x="2900" y="29"/>
                      </a:lnTo>
                      <a:lnTo>
                        <a:pt x="2835" y="20"/>
                      </a:lnTo>
                      <a:lnTo>
                        <a:pt x="2768" y="13"/>
                      </a:lnTo>
                      <a:lnTo>
                        <a:pt x="2702" y="7"/>
                      </a:lnTo>
                      <a:lnTo>
                        <a:pt x="2636" y="3"/>
                      </a:lnTo>
                      <a:lnTo>
                        <a:pt x="2568" y="0"/>
                      </a:lnTo>
                      <a:lnTo>
                        <a:pt x="2502" y="0"/>
                      </a:lnTo>
                      <a:lnTo>
                        <a:pt x="250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20000">
                      <a:srgbClr val="414141"/>
                    </a:gs>
                    <a:gs pos="66000">
                      <a:srgbClr val="FFFFFF"/>
                    </a:gs>
                    <a:gs pos="80000">
                      <a:srgbClr val="CFCFCF"/>
                    </a:gs>
                    <a:gs pos="5000">
                      <a:srgbClr val="A6A6A6"/>
                    </a:gs>
                    <a:gs pos="45000">
                      <a:srgbClr val="A6A6A6"/>
                    </a:gs>
                    <a:gs pos="25000">
                      <a:srgbClr val="262626"/>
                    </a:gs>
                    <a:gs pos="54000">
                      <a:srgbClr val="454545"/>
                    </a:gs>
                    <a:gs pos="36000">
                      <a:srgbClr val="616161"/>
                    </a:gs>
                    <a:gs pos="82000">
                      <a:srgbClr val="A6A6A6"/>
                    </a:gs>
                  </a:gsLst>
                  <a:lin ang="24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83" name="Freeform 22">
                  <a:extLst>
                    <a:ext uri="{FF2B5EF4-FFF2-40B4-BE49-F238E27FC236}">
                      <a16:creationId xmlns:a16="http://schemas.microsoft.com/office/drawing/2014/main" xmlns="" id="{52D2F396-0E15-D348-91A7-EE2209DDE7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7200" y="2041525"/>
                  <a:ext cx="153988" cy="301625"/>
                </a:xfrm>
                <a:custGeom>
                  <a:avLst/>
                  <a:gdLst/>
                  <a:ahLst/>
                  <a:cxnLst>
                    <a:cxn ang="0">
                      <a:pos x="105" y="569"/>
                    </a:cxn>
                    <a:cxn ang="0">
                      <a:pos x="105" y="569"/>
                    </a:cxn>
                    <a:cxn ang="0">
                      <a:pos x="112" y="570"/>
                    </a:cxn>
                    <a:cxn ang="0">
                      <a:pos x="121" y="567"/>
                    </a:cxn>
                    <a:cxn ang="0">
                      <a:pos x="130" y="563"/>
                    </a:cxn>
                    <a:cxn ang="0">
                      <a:pos x="139" y="555"/>
                    </a:cxn>
                    <a:cxn ang="0">
                      <a:pos x="149" y="547"/>
                    </a:cxn>
                    <a:cxn ang="0">
                      <a:pos x="159" y="535"/>
                    </a:cxn>
                    <a:cxn ang="0">
                      <a:pos x="170" y="520"/>
                    </a:cxn>
                    <a:cxn ang="0">
                      <a:pos x="180" y="505"/>
                    </a:cxn>
                    <a:cxn ang="0">
                      <a:pos x="190" y="488"/>
                    </a:cxn>
                    <a:cxn ang="0">
                      <a:pos x="201" y="467"/>
                    </a:cxn>
                    <a:cxn ang="0">
                      <a:pos x="220" y="424"/>
                    </a:cxn>
                    <a:cxn ang="0">
                      <a:pos x="239" y="374"/>
                    </a:cxn>
                    <a:cxn ang="0">
                      <a:pos x="257" y="321"/>
                    </a:cxn>
                    <a:cxn ang="0">
                      <a:pos x="257" y="321"/>
                    </a:cxn>
                    <a:cxn ang="0">
                      <a:pos x="271" y="265"/>
                    </a:cxn>
                    <a:cxn ang="0">
                      <a:pos x="282" y="213"/>
                    </a:cxn>
                    <a:cxn ang="0">
                      <a:pos x="288" y="166"/>
                    </a:cxn>
                    <a:cxn ang="0">
                      <a:pos x="289" y="144"/>
                    </a:cxn>
                    <a:cxn ang="0">
                      <a:pos x="291" y="123"/>
                    </a:cxn>
                    <a:cxn ang="0">
                      <a:pos x="289" y="104"/>
                    </a:cxn>
                    <a:cxn ang="0">
                      <a:pos x="288" y="87"/>
                    </a:cxn>
                    <a:cxn ang="0">
                      <a:pos x="286" y="72"/>
                    </a:cxn>
                    <a:cxn ang="0">
                      <a:pos x="283" y="58"/>
                    </a:cxn>
                    <a:cxn ang="0">
                      <a:pos x="279" y="48"/>
                    </a:cxn>
                    <a:cxn ang="0">
                      <a:pos x="273" y="39"/>
                    </a:cxn>
                    <a:cxn ang="0">
                      <a:pos x="267" y="32"/>
                    </a:cxn>
                    <a:cxn ang="0">
                      <a:pos x="260" y="29"/>
                    </a:cxn>
                    <a:cxn ang="0">
                      <a:pos x="156" y="0"/>
                    </a:cxn>
                    <a:cxn ang="0">
                      <a:pos x="156" y="0"/>
                    </a:cxn>
                    <a:cxn ang="0">
                      <a:pos x="164" y="2"/>
                    </a:cxn>
                    <a:cxn ang="0">
                      <a:pos x="170" y="8"/>
                    </a:cxn>
                    <a:cxn ang="0">
                      <a:pos x="176" y="17"/>
                    </a:cxn>
                    <a:cxn ang="0">
                      <a:pos x="180" y="29"/>
                    </a:cxn>
                    <a:cxn ang="0">
                      <a:pos x="183" y="42"/>
                    </a:cxn>
                    <a:cxn ang="0">
                      <a:pos x="184" y="57"/>
                    </a:cxn>
                    <a:cxn ang="0">
                      <a:pos x="186" y="75"/>
                    </a:cxn>
                    <a:cxn ang="0">
                      <a:pos x="186" y="94"/>
                    </a:cxn>
                    <a:cxn ang="0">
                      <a:pos x="186" y="115"/>
                    </a:cxn>
                    <a:cxn ang="0">
                      <a:pos x="184" y="135"/>
                    </a:cxn>
                    <a:cxn ang="0">
                      <a:pos x="177" y="184"/>
                    </a:cxn>
                    <a:cxn ang="0">
                      <a:pos x="167" y="235"/>
                    </a:cxn>
                    <a:cxn ang="0">
                      <a:pos x="154" y="290"/>
                    </a:cxn>
                    <a:cxn ang="0">
                      <a:pos x="154" y="290"/>
                    </a:cxn>
                    <a:cxn ang="0">
                      <a:pos x="136" y="345"/>
                    </a:cxn>
                    <a:cxn ang="0">
                      <a:pos x="117" y="393"/>
                    </a:cxn>
                    <a:cxn ang="0">
                      <a:pos x="97" y="437"/>
                    </a:cxn>
                    <a:cxn ang="0">
                      <a:pos x="87" y="457"/>
                    </a:cxn>
                    <a:cxn ang="0">
                      <a:pos x="77" y="474"/>
                    </a:cxn>
                    <a:cxn ang="0">
                      <a:pos x="67" y="490"/>
                    </a:cxn>
                    <a:cxn ang="0">
                      <a:pos x="56" y="505"/>
                    </a:cxn>
                    <a:cxn ang="0">
                      <a:pos x="46" y="517"/>
                    </a:cxn>
                    <a:cxn ang="0">
                      <a:pos x="36" y="526"/>
                    </a:cxn>
                    <a:cxn ang="0">
                      <a:pos x="27" y="533"/>
                    </a:cxn>
                    <a:cxn ang="0">
                      <a:pos x="18" y="538"/>
                    </a:cxn>
                    <a:cxn ang="0">
                      <a:pos x="9" y="539"/>
                    </a:cxn>
                    <a:cxn ang="0">
                      <a:pos x="0" y="539"/>
                    </a:cxn>
                    <a:cxn ang="0">
                      <a:pos x="105" y="569"/>
                    </a:cxn>
                  </a:cxnLst>
                  <a:rect l="0" t="0" r="r" b="b"/>
                  <a:pathLst>
                    <a:path w="291" h="570">
                      <a:moveTo>
                        <a:pt x="105" y="569"/>
                      </a:moveTo>
                      <a:lnTo>
                        <a:pt x="105" y="569"/>
                      </a:lnTo>
                      <a:lnTo>
                        <a:pt x="112" y="570"/>
                      </a:lnTo>
                      <a:lnTo>
                        <a:pt x="121" y="567"/>
                      </a:lnTo>
                      <a:lnTo>
                        <a:pt x="130" y="563"/>
                      </a:lnTo>
                      <a:lnTo>
                        <a:pt x="139" y="555"/>
                      </a:lnTo>
                      <a:lnTo>
                        <a:pt x="149" y="547"/>
                      </a:lnTo>
                      <a:lnTo>
                        <a:pt x="159" y="535"/>
                      </a:lnTo>
                      <a:lnTo>
                        <a:pt x="170" y="520"/>
                      </a:lnTo>
                      <a:lnTo>
                        <a:pt x="180" y="505"/>
                      </a:lnTo>
                      <a:lnTo>
                        <a:pt x="190" y="488"/>
                      </a:lnTo>
                      <a:lnTo>
                        <a:pt x="201" y="467"/>
                      </a:lnTo>
                      <a:lnTo>
                        <a:pt x="220" y="424"/>
                      </a:lnTo>
                      <a:lnTo>
                        <a:pt x="239" y="374"/>
                      </a:lnTo>
                      <a:lnTo>
                        <a:pt x="257" y="321"/>
                      </a:lnTo>
                      <a:lnTo>
                        <a:pt x="257" y="321"/>
                      </a:lnTo>
                      <a:lnTo>
                        <a:pt x="271" y="265"/>
                      </a:lnTo>
                      <a:lnTo>
                        <a:pt x="282" y="213"/>
                      </a:lnTo>
                      <a:lnTo>
                        <a:pt x="288" y="166"/>
                      </a:lnTo>
                      <a:lnTo>
                        <a:pt x="289" y="144"/>
                      </a:lnTo>
                      <a:lnTo>
                        <a:pt x="291" y="123"/>
                      </a:lnTo>
                      <a:lnTo>
                        <a:pt x="289" y="104"/>
                      </a:lnTo>
                      <a:lnTo>
                        <a:pt x="288" y="87"/>
                      </a:lnTo>
                      <a:lnTo>
                        <a:pt x="286" y="72"/>
                      </a:lnTo>
                      <a:lnTo>
                        <a:pt x="283" y="58"/>
                      </a:lnTo>
                      <a:lnTo>
                        <a:pt x="279" y="48"/>
                      </a:lnTo>
                      <a:lnTo>
                        <a:pt x="273" y="39"/>
                      </a:lnTo>
                      <a:lnTo>
                        <a:pt x="267" y="32"/>
                      </a:lnTo>
                      <a:lnTo>
                        <a:pt x="260" y="29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64" y="2"/>
                      </a:lnTo>
                      <a:lnTo>
                        <a:pt x="170" y="8"/>
                      </a:lnTo>
                      <a:lnTo>
                        <a:pt x="176" y="17"/>
                      </a:lnTo>
                      <a:lnTo>
                        <a:pt x="180" y="29"/>
                      </a:lnTo>
                      <a:lnTo>
                        <a:pt x="183" y="42"/>
                      </a:lnTo>
                      <a:lnTo>
                        <a:pt x="184" y="57"/>
                      </a:lnTo>
                      <a:lnTo>
                        <a:pt x="186" y="75"/>
                      </a:lnTo>
                      <a:lnTo>
                        <a:pt x="186" y="94"/>
                      </a:lnTo>
                      <a:lnTo>
                        <a:pt x="186" y="115"/>
                      </a:lnTo>
                      <a:lnTo>
                        <a:pt x="184" y="135"/>
                      </a:lnTo>
                      <a:lnTo>
                        <a:pt x="177" y="184"/>
                      </a:lnTo>
                      <a:lnTo>
                        <a:pt x="167" y="235"/>
                      </a:lnTo>
                      <a:lnTo>
                        <a:pt x="154" y="290"/>
                      </a:lnTo>
                      <a:lnTo>
                        <a:pt x="154" y="290"/>
                      </a:lnTo>
                      <a:lnTo>
                        <a:pt x="136" y="345"/>
                      </a:lnTo>
                      <a:lnTo>
                        <a:pt x="117" y="393"/>
                      </a:lnTo>
                      <a:lnTo>
                        <a:pt x="97" y="437"/>
                      </a:lnTo>
                      <a:lnTo>
                        <a:pt x="87" y="457"/>
                      </a:lnTo>
                      <a:lnTo>
                        <a:pt x="77" y="474"/>
                      </a:lnTo>
                      <a:lnTo>
                        <a:pt x="67" y="490"/>
                      </a:lnTo>
                      <a:lnTo>
                        <a:pt x="56" y="505"/>
                      </a:lnTo>
                      <a:lnTo>
                        <a:pt x="46" y="517"/>
                      </a:lnTo>
                      <a:lnTo>
                        <a:pt x="36" y="526"/>
                      </a:lnTo>
                      <a:lnTo>
                        <a:pt x="27" y="533"/>
                      </a:lnTo>
                      <a:lnTo>
                        <a:pt x="18" y="538"/>
                      </a:lnTo>
                      <a:lnTo>
                        <a:pt x="9" y="539"/>
                      </a:lnTo>
                      <a:lnTo>
                        <a:pt x="0" y="539"/>
                      </a:lnTo>
                      <a:lnTo>
                        <a:pt x="105" y="569"/>
                      </a:lnTo>
                      <a:close/>
                    </a:path>
                  </a:pathLst>
                </a:custGeom>
                <a:gradFill flip="none" rotWithShape="1">
                  <a:gsLst>
                    <a:gs pos="15000">
                      <a:srgbClr val="414141"/>
                    </a:gs>
                    <a:gs pos="67000">
                      <a:srgbClr val="FFFFFF"/>
                    </a:gs>
                    <a:gs pos="100000">
                      <a:srgbClr val="CFCFCF"/>
                    </a:gs>
                    <a:gs pos="0">
                      <a:srgbClr val="A6A6A6"/>
                    </a:gs>
                    <a:gs pos="86000">
                      <a:srgbClr val="A6A6A6"/>
                    </a:gs>
                    <a:gs pos="16000">
                      <a:srgbClr val="262626"/>
                    </a:gs>
                  </a:gsLst>
                  <a:lin ang="1728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84" name="Freeform 23">
                  <a:extLst>
                    <a:ext uri="{FF2B5EF4-FFF2-40B4-BE49-F238E27FC236}">
                      <a16:creationId xmlns:a16="http://schemas.microsoft.com/office/drawing/2014/main" xmlns="" id="{EE15C07A-39FA-4E45-93D8-667CFC14B5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2912" y="2041525"/>
                  <a:ext cx="112713" cy="285750"/>
                </a:xfrm>
                <a:custGeom>
                  <a:avLst/>
                  <a:gdLst/>
                  <a:ahLst/>
                  <a:cxnLst>
                    <a:cxn ang="0">
                      <a:pos x="182" y="292"/>
                    </a:cxn>
                    <a:cxn ang="0">
                      <a:pos x="182" y="292"/>
                    </a:cxn>
                    <a:cxn ang="0">
                      <a:pos x="165" y="347"/>
                    </a:cxn>
                    <a:cxn ang="0">
                      <a:pos x="146" y="397"/>
                    </a:cxn>
                    <a:cxn ang="0">
                      <a:pos x="125" y="439"/>
                    </a:cxn>
                    <a:cxn ang="0">
                      <a:pos x="115" y="460"/>
                    </a:cxn>
                    <a:cxn ang="0">
                      <a:pos x="105" y="478"/>
                    </a:cxn>
                    <a:cxn ang="0">
                      <a:pos x="95" y="492"/>
                    </a:cxn>
                    <a:cxn ang="0">
                      <a:pos x="84" y="507"/>
                    </a:cxn>
                    <a:cxn ang="0">
                      <a:pos x="74" y="519"/>
                    </a:cxn>
                    <a:cxn ang="0">
                      <a:pos x="65" y="528"/>
                    </a:cxn>
                    <a:cxn ang="0">
                      <a:pos x="55" y="535"/>
                    </a:cxn>
                    <a:cxn ang="0">
                      <a:pos x="46" y="540"/>
                    </a:cxn>
                    <a:cxn ang="0">
                      <a:pos x="37" y="541"/>
                    </a:cxn>
                    <a:cxn ang="0">
                      <a:pos x="30" y="541"/>
                    </a:cxn>
                    <a:cxn ang="0">
                      <a:pos x="30" y="541"/>
                    </a:cxn>
                    <a:cxn ang="0">
                      <a:pos x="22" y="537"/>
                    </a:cxn>
                    <a:cxn ang="0">
                      <a:pos x="16" y="531"/>
                    </a:cxn>
                    <a:cxn ang="0">
                      <a:pos x="10" y="522"/>
                    </a:cxn>
                    <a:cxn ang="0">
                      <a:pos x="6" y="512"/>
                    </a:cxn>
                    <a:cxn ang="0">
                      <a:pos x="3" y="498"/>
                    </a:cxn>
                    <a:cxn ang="0">
                      <a:pos x="2" y="482"/>
                    </a:cxn>
                    <a:cxn ang="0">
                      <a:pos x="0" y="466"/>
                    </a:cxn>
                    <a:cxn ang="0">
                      <a:pos x="0" y="447"/>
                    </a:cxn>
                    <a:cxn ang="0">
                      <a:pos x="0" y="426"/>
                    </a:cxn>
                    <a:cxn ang="0">
                      <a:pos x="2" y="404"/>
                    </a:cxn>
                    <a:cxn ang="0">
                      <a:pos x="9" y="357"/>
                    </a:cxn>
                    <a:cxn ang="0">
                      <a:pos x="19" y="30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50" y="196"/>
                    </a:cxn>
                    <a:cxn ang="0">
                      <a:pos x="69" y="146"/>
                    </a:cxn>
                    <a:cxn ang="0">
                      <a:pos x="89" y="102"/>
                    </a:cxn>
                    <a:cxn ang="0">
                      <a:pos x="99" y="83"/>
                    </a:cxn>
                    <a:cxn ang="0">
                      <a:pos x="109" y="65"/>
                    </a:cxn>
                    <a:cxn ang="0">
                      <a:pos x="120" y="49"/>
                    </a:cxn>
                    <a:cxn ang="0">
                      <a:pos x="130" y="35"/>
                    </a:cxn>
                    <a:cxn ang="0">
                      <a:pos x="140" y="24"/>
                    </a:cxn>
                    <a:cxn ang="0">
                      <a:pos x="151" y="15"/>
                    </a:cxn>
                    <a:cxn ang="0">
                      <a:pos x="159" y="7"/>
                    </a:cxn>
                    <a:cxn ang="0">
                      <a:pos x="168" y="3"/>
                    </a:cxn>
                    <a:cxn ang="0">
                      <a:pos x="177" y="0"/>
                    </a:cxn>
                    <a:cxn ang="0">
                      <a:pos x="186" y="2"/>
                    </a:cxn>
                    <a:cxn ang="0">
                      <a:pos x="186" y="2"/>
                    </a:cxn>
                    <a:cxn ang="0">
                      <a:pos x="193" y="4"/>
                    </a:cxn>
                    <a:cxn ang="0">
                      <a:pos x="199" y="10"/>
                    </a:cxn>
                    <a:cxn ang="0">
                      <a:pos x="204" y="19"/>
                    </a:cxn>
                    <a:cxn ang="0">
                      <a:pos x="208" y="31"/>
                    </a:cxn>
                    <a:cxn ang="0">
                      <a:pos x="211" y="44"/>
                    </a:cxn>
                    <a:cxn ang="0">
                      <a:pos x="214" y="59"/>
                    </a:cxn>
                    <a:cxn ang="0">
                      <a:pos x="215" y="77"/>
                    </a:cxn>
                    <a:cxn ang="0">
                      <a:pos x="215" y="96"/>
                    </a:cxn>
                    <a:cxn ang="0">
                      <a:pos x="214" y="117"/>
                    </a:cxn>
                    <a:cxn ang="0">
                      <a:pos x="212" y="139"/>
                    </a:cxn>
                    <a:cxn ang="0">
                      <a:pos x="207" y="186"/>
                    </a:cxn>
                    <a:cxn ang="0">
                      <a:pos x="196" y="237"/>
                    </a:cxn>
                    <a:cxn ang="0">
                      <a:pos x="182" y="292"/>
                    </a:cxn>
                    <a:cxn ang="0">
                      <a:pos x="182" y="292"/>
                    </a:cxn>
                  </a:cxnLst>
                  <a:rect l="0" t="0" r="r" b="b"/>
                  <a:pathLst>
                    <a:path w="215" h="541">
                      <a:moveTo>
                        <a:pt x="182" y="292"/>
                      </a:moveTo>
                      <a:lnTo>
                        <a:pt x="182" y="292"/>
                      </a:lnTo>
                      <a:lnTo>
                        <a:pt x="165" y="347"/>
                      </a:lnTo>
                      <a:lnTo>
                        <a:pt x="146" y="397"/>
                      </a:lnTo>
                      <a:lnTo>
                        <a:pt x="125" y="439"/>
                      </a:lnTo>
                      <a:lnTo>
                        <a:pt x="115" y="460"/>
                      </a:lnTo>
                      <a:lnTo>
                        <a:pt x="105" y="478"/>
                      </a:lnTo>
                      <a:lnTo>
                        <a:pt x="95" y="492"/>
                      </a:lnTo>
                      <a:lnTo>
                        <a:pt x="84" y="507"/>
                      </a:lnTo>
                      <a:lnTo>
                        <a:pt x="74" y="519"/>
                      </a:lnTo>
                      <a:lnTo>
                        <a:pt x="65" y="528"/>
                      </a:lnTo>
                      <a:lnTo>
                        <a:pt x="55" y="535"/>
                      </a:lnTo>
                      <a:lnTo>
                        <a:pt x="46" y="540"/>
                      </a:lnTo>
                      <a:lnTo>
                        <a:pt x="37" y="541"/>
                      </a:lnTo>
                      <a:lnTo>
                        <a:pt x="30" y="541"/>
                      </a:lnTo>
                      <a:lnTo>
                        <a:pt x="30" y="541"/>
                      </a:lnTo>
                      <a:lnTo>
                        <a:pt x="22" y="537"/>
                      </a:lnTo>
                      <a:lnTo>
                        <a:pt x="16" y="531"/>
                      </a:lnTo>
                      <a:lnTo>
                        <a:pt x="10" y="522"/>
                      </a:lnTo>
                      <a:lnTo>
                        <a:pt x="6" y="512"/>
                      </a:lnTo>
                      <a:lnTo>
                        <a:pt x="3" y="498"/>
                      </a:lnTo>
                      <a:lnTo>
                        <a:pt x="2" y="482"/>
                      </a:lnTo>
                      <a:lnTo>
                        <a:pt x="0" y="466"/>
                      </a:lnTo>
                      <a:lnTo>
                        <a:pt x="0" y="447"/>
                      </a:lnTo>
                      <a:lnTo>
                        <a:pt x="0" y="426"/>
                      </a:lnTo>
                      <a:lnTo>
                        <a:pt x="2" y="404"/>
                      </a:lnTo>
                      <a:lnTo>
                        <a:pt x="9" y="357"/>
                      </a:lnTo>
                      <a:lnTo>
                        <a:pt x="19" y="304"/>
                      </a:lnTo>
                      <a:lnTo>
                        <a:pt x="33" y="249"/>
                      </a:lnTo>
                      <a:lnTo>
                        <a:pt x="33" y="249"/>
                      </a:lnTo>
                      <a:lnTo>
                        <a:pt x="50" y="196"/>
                      </a:lnTo>
                      <a:lnTo>
                        <a:pt x="69" y="146"/>
                      </a:lnTo>
                      <a:lnTo>
                        <a:pt x="89" y="102"/>
                      </a:lnTo>
                      <a:lnTo>
                        <a:pt x="99" y="83"/>
                      </a:lnTo>
                      <a:lnTo>
                        <a:pt x="109" y="65"/>
                      </a:lnTo>
                      <a:lnTo>
                        <a:pt x="120" y="49"/>
                      </a:lnTo>
                      <a:lnTo>
                        <a:pt x="130" y="35"/>
                      </a:lnTo>
                      <a:lnTo>
                        <a:pt x="140" y="24"/>
                      </a:lnTo>
                      <a:lnTo>
                        <a:pt x="151" y="15"/>
                      </a:lnTo>
                      <a:lnTo>
                        <a:pt x="159" y="7"/>
                      </a:lnTo>
                      <a:lnTo>
                        <a:pt x="168" y="3"/>
                      </a:lnTo>
                      <a:lnTo>
                        <a:pt x="177" y="0"/>
                      </a:lnTo>
                      <a:lnTo>
                        <a:pt x="186" y="2"/>
                      </a:lnTo>
                      <a:lnTo>
                        <a:pt x="186" y="2"/>
                      </a:lnTo>
                      <a:lnTo>
                        <a:pt x="193" y="4"/>
                      </a:lnTo>
                      <a:lnTo>
                        <a:pt x="199" y="10"/>
                      </a:lnTo>
                      <a:lnTo>
                        <a:pt x="204" y="19"/>
                      </a:lnTo>
                      <a:lnTo>
                        <a:pt x="208" y="31"/>
                      </a:lnTo>
                      <a:lnTo>
                        <a:pt x="211" y="44"/>
                      </a:lnTo>
                      <a:lnTo>
                        <a:pt x="214" y="59"/>
                      </a:lnTo>
                      <a:lnTo>
                        <a:pt x="215" y="77"/>
                      </a:lnTo>
                      <a:lnTo>
                        <a:pt x="215" y="96"/>
                      </a:lnTo>
                      <a:lnTo>
                        <a:pt x="214" y="117"/>
                      </a:lnTo>
                      <a:lnTo>
                        <a:pt x="212" y="139"/>
                      </a:lnTo>
                      <a:lnTo>
                        <a:pt x="207" y="186"/>
                      </a:lnTo>
                      <a:lnTo>
                        <a:pt x="196" y="237"/>
                      </a:lnTo>
                      <a:lnTo>
                        <a:pt x="182" y="292"/>
                      </a:lnTo>
                      <a:lnTo>
                        <a:pt x="182" y="292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FDFDF"/>
                    </a:gs>
                    <a:gs pos="100000">
                      <a:srgbClr val="858585"/>
                    </a:gs>
                  </a:gsLst>
                  <a:lin ang="10800000" scaled="0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24">
                  <a:extLst>
                    <a:ext uri="{FF2B5EF4-FFF2-40B4-BE49-F238E27FC236}">
                      <a16:creationId xmlns:a16="http://schemas.microsoft.com/office/drawing/2014/main" xmlns="" id="{48BC25E5-93E5-3940-8E8D-2742F0BC15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5762" y="0"/>
                  <a:ext cx="2743200" cy="2217738"/>
                </a:xfrm>
                <a:custGeom>
                  <a:avLst/>
                  <a:gdLst/>
                  <a:ahLst/>
                  <a:cxnLst>
                    <a:cxn ang="0">
                      <a:pos x="219" y="4047"/>
                    </a:cxn>
                    <a:cxn ang="0">
                      <a:pos x="148" y="3985"/>
                    </a:cxn>
                    <a:cxn ang="0">
                      <a:pos x="138" y="3856"/>
                    </a:cxn>
                    <a:cxn ang="0">
                      <a:pos x="162" y="3490"/>
                    </a:cxn>
                    <a:cxn ang="0">
                      <a:pos x="227" y="3055"/>
                    </a:cxn>
                    <a:cxn ang="0">
                      <a:pos x="346" y="2546"/>
                    </a:cxn>
                    <a:cxn ang="0">
                      <a:pos x="539" y="2001"/>
                    </a:cxn>
                    <a:cxn ang="0">
                      <a:pos x="697" y="1673"/>
                    </a:cxn>
                    <a:cxn ang="0">
                      <a:pos x="855" y="1410"/>
                    </a:cxn>
                    <a:cxn ang="0">
                      <a:pos x="1005" y="1197"/>
                    </a:cxn>
                    <a:cxn ang="0">
                      <a:pos x="1242" y="927"/>
                    </a:cxn>
                    <a:cxn ang="0">
                      <a:pos x="1505" y="696"/>
                    </a:cxn>
                    <a:cxn ang="0">
                      <a:pos x="1792" y="504"/>
                    </a:cxn>
                    <a:cxn ang="0">
                      <a:pos x="2103" y="351"/>
                    </a:cxn>
                    <a:cxn ang="0">
                      <a:pos x="2436" y="237"/>
                    </a:cxn>
                    <a:cxn ang="0">
                      <a:pos x="2795" y="164"/>
                    </a:cxn>
                    <a:cxn ang="0">
                      <a:pos x="3039" y="143"/>
                    </a:cxn>
                    <a:cxn ang="0">
                      <a:pos x="3336" y="155"/>
                    </a:cxn>
                    <a:cxn ang="0">
                      <a:pos x="3653" y="202"/>
                    </a:cxn>
                    <a:cxn ang="0">
                      <a:pos x="4002" y="307"/>
                    </a:cxn>
                    <a:cxn ang="0">
                      <a:pos x="4320" y="464"/>
                    </a:cxn>
                    <a:cxn ang="0">
                      <a:pos x="4490" y="585"/>
                    </a:cxn>
                    <a:cxn ang="0">
                      <a:pos x="4615" y="694"/>
                    </a:cxn>
                    <a:cxn ang="0">
                      <a:pos x="4752" y="843"/>
                    </a:cxn>
                    <a:cxn ang="0">
                      <a:pos x="4873" y="1007"/>
                    </a:cxn>
                    <a:cxn ang="0">
                      <a:pos x="4956" y="1152"/>
                    </a:cxn>
                    <a:cxn ang="0">
                      <a:pos x="5184" y="1309"/>
                    </a:cxn>
                    <a:cxn ang="0">
                      <a:pos x="5053" y="1032"/>
                    </a:cxn>
                    <a:cxn ang="0">
                      <a:pos x="4890" y="787"/>
                    </a:cxn>
                    <a:cxn ang="0">
                      <a:pos x="4693" y="572"/>
                    </a:cxn>
                    <a:cxn ang="0">
                      <a:pos x="4545" y="447"/>
                    </a:cxn>
                    <a:cxn ang="0">
                      <a:pos x="4362" y="323"/>
                    </a:cxn>
                    <a:cxn ang="0">
                      <a:pos x="4062" y="177"/>
                    </a:cxn>
                    <a:cxn ang="0">
                      <a:pos x="3695" y="63"/>
                    </a:cxn>
                    <a:cxn ang="0">
                      <a:pos x="3361" y="12"/>
                    </a:cxn>
                    <a:cxn ang="0">
                      <a:pos x="3045" y="0"/>
                    </a:cxn>
                    <a:cxn ang="0">
                      <a:pos x="2851" y="13"/>
                    </a:cxn>
                    <a:cxn ang="0">
                      <a:pos x="2405" y="99"/>
                    </a:cxn>
                    <a:cxn ang="0">
                      <a:pos x="1994" y="242"/>
                    </a:cxn>
                    <a:cxn ang="0">
                      <a:pos x="1617" y="442"/>
                    </a:cxn>
                    <a:cxn ang="0">
                      <a:pos x="1276" y="699"/>
                    </a:cxn>
                    <a:cxn ang="0">
                      <a:pos x="971" y="1011"/>
                    </a:cxn>
                    <a:cxn ang="0">
                      <a:pos x="703" y="1382"/>
                    </a:cxn>
                    <a:cxn ang="0">
                      <a:pos x="549" y="1648"/>
                    </a:cxn>
                    <a:cxn ang="0">
                      <a:pos x="319" y="2173"/>
                    </a:cxn>
                    <a:cxn ang="0">
                      <a:pos x="162" y="2691"/>
                    </a:cxn>
                    <a:cxn ang="0">
                      <a:pos x="64" y="3168"/>
                    </a:cxn>
                    <a:cxn ang="0">
                      <a:pos x="14" y="3571"/>
                    </a:cxn>
                    <a:cxn ang="0">
                      <a:pos x="0" y="3864"/>
                    </a:cxn>
                    <a:cxn ang="0">
                      <a:pos x="5" y="4018"/>
                    </a:cxn>
                    <a:cxn ang="0">
                      <a:pos x="39" y="4077"/>
                    </a:cxn>
                    <a:cxn ang="0">
                      <a:pos x="132" y="4161"/>
                    </a:cxn>
                    <a:cxn ang="0">
                      <a:pos x="182" y="4190"/>
                    </a:cxn>
                    <a:cxn ang="0">
                      <a:pos x="202" y="4174"/>
                    </a:cxn>
                    <a:cxn ang="0">
                      <a:pos x="228" y="4099"/>
                    </a:cxn>
                    <a:cxn ang="0">
                      <a:pos x="227" y="4053"/>
                    </a:cxn>
                  </a:cxnLst>
                  <a:rect l="0" t="0" r="r" b="b"/>
                  <a:pathLst>
                    <a:path w="5184" h="4192">
                      <a:moveTo>
                        <a:pt x="222" y="4050"/>
                      </a:move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lnTo>
                        <a:pt x="219" y="4047"/>
                      </a:lnTo>
                      <a:lnTo>
                        <a:pt x="219" y="4047"/>
                      </a:lnTo>
                      <a:lnTo>
                        <a:pt x="197" y="4032"/>
                      </a:lnTo>
                      <a:lnTo>
                        <a:pt x="175" y="4015"/>
                      </a:lnTo>
                      <a:lnTo>
                        <a:pt x="156" y="3994"/>
                      </a:lnTo>
                      <a:lnTo>
                        <a:pt x="148" y="3985"/>
                      </a:lnTo>
                      <a:lnTo>
                        <a:pt x="141" y="3975"/>
                      </a:lnTo>
                      <a:lnTo>
                        <a:pt x="141" y="3975"/>
                      </a:lnTo>
                      <a:lnTo>
                        <a:pt x="140" y="3956"/>
                      </a:lnTo>
                      <a:lnTo>
                        <a:pt x="138" y="3929"/>
                      </a:lnTo>
                      <a:lnTo>
                        <a:pt x="138" y="3856"/>
                      </a:lnTo>
                      <a:lnTo>
                        <a:pt x="141" y="3757"/>
                      </a:lnTo>
                      <a:lnTo>
                        <a:pt x="144" y="3698"/>
                      </a:lnTo>
                      <a:lnTo>
                        <a:pt x="148" y="3633"/>
                      </a:lnTo>
                      <a:lnTo>
                        <a:pt x="154" y="3564"/>
                      </a:lnTo>
                      <a:lnTo>
                        <a:pt x="162" y="3490"/>
                      </a:lnTo>
                      <a:lnTo>
                        <a:pt x="171" y="3410"/>
                      </a:lnTo>
                      <a:lnTo>
                        <a:pt x="182" y="3328"/>
                      </a:lnTo>
                      <a:lnTo>
                        <a:pt x="194" y="3241"/>
                      </a:lnTo>
                      <a:lnTo>
                        <a:pt x="209" y="3149"/>
                      </a:lnTo>
                      <a:lnTo>
                        <a:pt x="227" y="3055"/>
                      </a:lnTo>
                      <a:lnTo>
                        <a:pt x="246" y="2958"/>
                      </a:lnTo>
                      <a:lnTo>
                        <a:pt x="266" y="2857"/>
                      </a:lnTo>
                      <a:lnTo>
                        <a:pt x="290" y="2756"/>
                      </a:lnTo>
                      <a:lnTo>
                        <a:pt x="317" y="2651"/>
                      </a:lnTo>
                      <a:lnTo>
                        <a:pt x="346" y="2546"/>
                      </a:lnTo>
                      <a:lnTo>
                        <a:pt x="378" y="2439"/>
                      </a:lnTo>
                      <a:lnTo>
                        <a:pt x="414" y="2330"/>
                      </a:lnTo>
                      <a:lnTo>
                        <a:pt x="452" y="2220"/>
                      </a:lnTo>
                      <a:lnTo>
                        <a:pt x="495" y="2111"/>
                      </a:lnTo>
                      <a:lnTo>
                        <a:pt x="539" y="2001"/>
                      </a:lnTo>
                      <a:lnTo>
                        <a:pt x="588" y="1892"/>
                      </a:lnTo>
                      <a:lnTo>
                        <a:pt x="614" y="1837"/>
                      </a:lnTo>
                      <a:lnTo>
                        <a:pt x="641" y="1783"/>
                      </a:lnTo>
                      <a:lnTo>
                        <a:pt x="667" y="1728"/>
                      </a:lnTo>
                      <a:lnTo>
                        <a:pt x="697" y="1673"/>
                      </a:lnTo>
                      <a:lnTo>
                        <a:pt x="726" y="1620"/>
                      </a:lnTo>
                      <a:lnTo>
                        <a:pt x="756" y="1567"/>
                      </a:lnTo>
                      <a:lnTo>
                        <a:pt x="788" y="1514"/>
                      </a:lnTo>
                      <a:lnTo>
                        <a:pt x="821" y="1461"/>
                      </a:lnTo>
                      <a:lnTo>
                        <a:pt x="855" y="1410"/>
                      </a:lnTo>
                      <a:lnTo>
                        <a:pt x="889" y="1358"/>
                      </a:lnTo>
                      <a:lnTo>
                        <a:pt x="924" y="1306"/>
                      </a:lnTo>
                      <a:lnTo>
                        <a:pt x="961" y="1256"/>
                      </a:lnTo>
                      <a:lnTo>
                        <a:pt x="961" y="1256"/>
                      </a:lnTo>
                      <a:lnTo>
                        <a:pt x="1005" y="1197"/>
                      </a:lnTo>
                      <a:lnTo>
                        <a:pt x="1051" y="1140"/>
                      </a:lnTo>
                      <a:lnTo>
                        <a:pt x="1098" y="1084"/>
                      </a:lnTo>
                      <a:lnTo>
                        <a:pt x="1145" y="1031"/>
                      </a:lnTo>
                      <a:lnTo>
                        <a:pt x="1194" y="978"/>
                      </a:lnTo>
                      <a:lnTo>
                        <a:pt x="1242" y="927"/>
                      </a:lnTo>
                      <a:lnTo>
                        <a:pt x="1294" y="877"/>
                      </a:lnTo>
                      <a:lnTo>
                        <a:pt x="1346" y="830"/>
                      </a:lnTo>
                      <a:lnTo>
                        <a:pt x="1397" y="784"/>
                      </a:lnTo>
                      <a:lnTo>
                        <a:pt x="1450" y="739"/>
                      </a:lnTo>
                      <a:lnTo>
                        <a:pt x="1505" y="696"/>
                      </a:lnTo>
                      <a:lnTo>
                        <a:pt x="1561" y="655"/>
                      </a:lnTo>
                      <a:lnTo>
                        <a:pt x="1617" y="615"/>
                      </a:lnTo>
                      <a:lnTo>
                        <a:pt x="1674" y="576"/>
                      </a:lnTo>
                      <a:lnTo>
                        <a:pt x="1733" y="540"/>
                      </a:lnTo>
                      <a:lnTo>
                        <a:pt x="1792" y="504"/>
                      </a:lnTo>
                      <a:lnTo>
                        <a:pt x="1853" y="470"/>
                      </a:lnTo>
                      <a:lnTo>
                        <a:pt x="1913" y="438"/>
                      </a:lnTo>
                      <a:lnTo>
                        <a:pt x="1975" y="407"/>
                      </a:lnTo>
                      <a:lnTo>
                        <a:pt x="2038" y="379"/>
                      </a:lnTo>
                      <a:lnTo>
                        <a:pt x="2103" y="351"/>
                      </a:lnTo>
                      <a:lnTo>
                        <a:pt x="2168" y="324"/>
                      </a:lnTo>
                      <a:lnTo>
                        <a:pt x="2233" y="301"/>
                      </a:lnTo>
                      <a:lnTo>
                        <a:pt x="2301" y="279"/>
                      </a:lnTo>
                      <a:lnTo>
                        <a:pt x="2369" y="257"/>
                      </a:lnTo>
                      <a:lnTo>
                        <a:pt x="2436" y="237"/>
                      </a:lnTo>
                      <a:lnTo>
                        <a:pt x="2507" y="220"/>
                      </a:lnTo>
                      <a:lnTo>
                        <a:pt x="2578" y="203"/>
                      </a:lnTo>
                      <a:lnTo>
                        <a:pt x="2649" y="189"/>
                      </a:lnTo>
                      <a:lnTo>
                        <a:pt x="2721" y="175"/>
                      </a:lnTo>
                      <a:lnTo>
                        <a:pt x="2795" y="164"/>
                      </a:lnTo>
                      <a:lnTo>
                        <a:pt x="2868" y="153"/>
                      </a:lnTo>
                      <a:lnTo>
                        <a:pt x="2868" y="153"/>
                      </a:lnTo>
                      <a:lnTo>
                        <a:pt x="2916" y="149"/>
                      </a:lnTo>
                      <a:lnTo>
                        <a:pt x="2969" y="146"/>
                      </a:lnTo>
                      <a:lnTo>
                        <a:pt x="3039" y="143"/>
                      </a:lnTo>
                      <a:lnTo>
                        <a:pt x="3125" y="143"/>
                      </a:lnTo>
                      <a:lnTo>
                        <a:pt x="3174" y="144"/>
                      </a:lnTo>
                      <a:lnTo>
                        <a:pt x="3225" y="146"/>
                      </a:lnTo>
                      <a:lnTo>
                        <a:pt x="3278" y="150"/>
                      </a:lnTo>
                      <a:lnTo>
                        <a:pt x="3336" y="155"/>
                      </a:lnTo>
                      <a:lnTo>
                        <a:pt x="3395" y="161"/>
                      </a:lnTo>
                      <a:lnTo>
                        <a:pt x="3457" y="168"/>
                      </a:lnTo>
                      <a:lnTo>
                        <a:pt x="3520" y="178"/>
                      </a:lnTo>
                      <a:lnTo>
                        <a:pt x="3586" y="189"/>
                      </a:lnTo>
                      <a:lnTo>
                        <a:pt x="3653" y="202"/>
                      </a:lnTo>
                      <a:lnTo>
                        <a:pt x="3720" y="218"/>
                      </a:lnTo>
                      <a:lnTo>
                        <a:pt x="3790" y="236"/>
                      </a:lnTo>
                      <a:lnTo>
                        <a:pt x="3861" y="257"/>
                      </a:lnTo>
                      <a:lnTo>
                        <a:pt x="3931" y="280"/>
                      </a:lnTo>
                      <a:lnTo>
                        <a:pt x="4002" y="307"/>
                      </a:lnTo>
                      <a:lnTo>
                        <a:pt x="4073" y="336"/>
                      </a:lnTo>
                      <a:lnTo>
                        <a:pt x="4145" y="369"/>
                      </a:lnTo>
                      <a:lnTo>
                        <a:pt x="4216" y="405"/>
                      </a:lnTo>
                      <a:lnTo>
                        <a:pt x="4285" y="444"/>
                      </a:lnTo>
                      <a:lnTo>
                        <a:pt x="4320" y="464"/>
                      </a:lnTo>
                      <a:lnTo>
                        <a:pt x="4354" y="487"/>
                      </a:lnTo>
                      <a:lnTo>
                        <a:pt x="4390" y="510"/>
                      </a:lnTo>
                      <a:lnTo>
                        <a:pt x="4424" y="534"/>
                      </a:lnTo>
                      <a:lnTo>
                        <a:pt x="4458" y="559"/>
                      </a:lnTo>
                      <a:lnTo>
                        <a:pt x="4490" y="585"/>
                      </a:lnTo>
                      <a:lnTo>
                        <a:pt x="4524" y="612"/>
                      </a:lnTo>
                      <a:lnTo>
                        <a:pt x="4556" y="640"/>
                      </a:lnTo>
                      <a:lnTo>
                        <a:pt x="4556" y="640"/>
                      </a:lnTo>
                      <a:lnTo>
                        <a:pt x="4586" y="666"/>
                      </a:lnTo>
                      <a:lnTo>
                        <a:pt x="4615" y="694"/>
                      </a:lnTo>
                      <a:lnTo>
                        <a:pt x="4645" y="722"/>
                      </a:lnTo>
                      <a:lnTo>
                        <a:pt x="4673" y="752"/>
                      </a:lnTo>
                      <a:lnTo>
                        <a:pt x="4699" y="781"/>
                      </a:lnTo>
                      <a:lnTo>
                        <a:pt x="4726" y="812"/>
                      </a:lnTo>
                      <a:lnTo>
                        <a:pt x="4752" y="843"/>
                      </a:lnTo>
                      <a:lnTo>
                        <a:pt x="4777" y="874"/>
                      </a:lnTo>
                      <a:lnTo>
                        <a:pt x="4803" y="907"/>
                      </a:lnTo>
                      <a:lnTo>
                        <a:pt x="4826" y="939"/>
                      </a:lnTo>
                      <a:lnTo>
                        <a:pt x="4850" y="973"/>
                      </a:lnTo>
                      <a:lnTo>
                        <a:pt x="4873" y="1007"/>
                      </a:lnTo>
                      <a:lnTo>
                        <a:pt x="4894" y="1042"/>
                      </a:lnTo>
                      <a:lnTo>
                        <a:pt x="4916" y="1078"/>
                      </a:lnTo>
                      <a:lnTo>
                        <a:pt x="4937" y="1115"/>
                      </a:lnTo>
                      <a:lnTo>
                        <a:pt x="4956" y="1152"/>
                      </a:lnTo>
                      <a:lnTo>
                        <a:pt x="4956" y="1152"/>
                      </a:lnTo>
                      <a:lnTo>
                        <a:pt x="5015" y="1188"/>
                      </a:lnTo>
                      <a:lnTo>
                        <a:pt x="5072" y="1227"/>
                      </a:lnTo>
                      <a:lnTo>
                        <a:pt x="5130" y="1268"/>
                      </a:lnTo>
                      <a:lnTo>
                        <a:pt x="5184" y="1309"/>
                      </a:lnTo>
                      <a:lnTo>
                        <a:pt x="5184" y="1309"/>
                      </a:lnTo>
                      <a:lnTo>
                        <a:pt x="5161" y="1250"/>
                      </a:lnTo>
                      <a:lnTo>
                        <a:pt x="5136" y="1194"/>
                      </a:lnTo>
                      <a:lnTo>
                        <a:pt x="5111" y="1140"/>
                      </a:lnTo>
                      <a:lnTo>
                        <a:pt x="5083" y="1085"/>
                      </a:lnTo>
                      <a:lnTo>
                        <a:pt x="5053" y="1032"/>
                      </a:lnTo>
                      <a:lnTo>
                        <a:pt x="5024" y="980"/>
                      </a:lnTo>
                      <a:lnTo>
                        <a:pt x="4993" y="930"/>
                      </a:lnTo>
                      <a:lnTo>
                        <a:pt x="4959" y="882"/>
                      </a:lnTo>
                      <a:lnTo>
                        <a:pt x="4925" y="833"/>
                      </a:lnTo>
                      <a:lnTo>
                        <a:pt x="4890" y="787"/>
                      </a:lnTo>
                      <a:lnTo>
                        <a:pt x="4853" y="742"/>
                      </a:lnTo>
                      <a:lnTo>
                        <a:pt x="4816" y="697"/>
                      </a:lnTo>
                      <a:lnTo>
                        <a:pt x="4776" y="655"/>
                      </a:lnTo>
                      <a:lnTo>
                        <a:pt x="4735" y="612"/>
                      </a:lnTo>
                      <a:lnTo>
                        <a:pt x="4693" y="572"/>
                      </a:lnTo>
                      <a:lnTo>
                        <a:pt x="4651" y="532"/>
                      </a:lnTo>
                      <a:lnTo>
                        <a:pt x="4651" y="532"/>
                      </a:lnTo>
                      <a:lnTo>
                        <a:pt x="4615" y="503"/>
                      </a:lnTo>
                      <a:lnTo>
                        <a:pt x="4580" y="475"/>
                      </a:lnTo>
                      <a:lnTo>
                        <a:pt x="4545" y="447"/>
                      </a:lnTo>
                      <a:lnTo>
                        <a:pt x="4509" y="420"/>
                      </a:lnTo>
                      <a:lnTo>
                        <a:pt x="4472" y="394"/>
                      </a:lnTo>
                      <a:lnTo>
                        <a:pt x="4435" y="370"/>
                      </a:lnTo>
                      <a:lnTo>
                        <a:pt x="4399" y="346"/>
                      </a:lnTo>
                      <a:lnTo>
                        <a:pt x="4362" y="323"/>
                      </a:lnTo>
                      <a:lnTo>
                        <a:pt x="4325" y="302"/>
                      </a:lnTo>
                      <a:lnTo>
                        <a:pt x="4288" y="282"/>
                      </a:lnTo>
                      <a:lnTo>
                        <a:pt x="4213" y="243"/>
                      </a:lnTo>
                      <a:lnTo>
                        <a:pt x="4138" y="208"/>
                      </a:lnTo>
                      <a:lnTo>
                        <a:pt x="4062" y="177"/>
                      </a:lnTo>
                      <a:lnTo>
                        <a:pt x="3987" y="149"/>
                      </a:lnTo>
                      <a:lnTo>
                        <a:pt x="3914" y="122"/>
                      </a:lnTo>
                      <a:lnTo>
                        <a:pt x="3840" y="100"/>
                      </a:lnTo>
                      <a:lnTo>
                        <a:pt x="3768" y="81"/>
                      </a:lnTo>
                      <a:lnTo>
                        <a:pt x="3695" y="63"/>
                      </a:lnTo>
                      <a:lnTo>
                        <a:pt x="3625" y="50"/>
                      </a:lnTo>
                      <a:lnTo>
                        <a:pt x="3555" y="37"/>
                      </a:lnTo>
                      <a:lnTo>
                        <a:pt x="3489" y="27"/>
                      </a:lnTo>
                      <a:lnTo>
                        <a:pt x="3424" y="19"/>
                      </a:lnTo>
                      <a:lnTo>
                        <a:pt x="3361" y="12"/>
                      </a:lnTo>
                      <a:lnTo>
                        <a:pt x="3302" y="7"/>
                      </a:lnTo>
                      <a:lnTo>
                        <a:pt x="3244" y="3"/>
                      </a:lnTo>
                      <a:lnTo>
                        <a:pt x="3190" y="1"/>
                      </a:lnTo>
                      <a:lnTo>
                        <a:pt x="3138" y="0"/>
                      </a:lnTo>
                      <a:lnTo>
                        <a:pt x="3045" y="0"/>
                      </a:lnTo>
                      <a:lnTo>
                        <a:pt x="2970" y="3"/>
                      </a:lnTo>
                      <a:lnTo>
                        <a:pt x="2910" y="7"/>
                      </a:lnTo>
                      <a:lnTo>
                        <a:pt x="2870" y="10"/>
                      </a:lnTo>
                      <a:lnTo>
                        <a:pt x="2851" y="13"/>
                      </a:lnTo>
                      <a:lnTo>
                        <a:pt x="2851" y="13"/>
                      </a:lnTo>
                      <a:lnTo>
                        <a:pt x="2759" y="25"/>
                      </a:lnTo>
                      <a:lnTo>
                        <a:pt x="2668" y="40"/>
                      </a:lnTo>
                      <a:lnTo>
                        <a:pt x="2579" y="58"/>
                      </a:lnTo>
                      <a:lnTo>
                        <a:pt x="2491" y="77"/>
                      </a:lnTo>
                      <a:lnTo>
                        <a:pt x="2405" y="99"/>
                      </a:lnTo>
                      <a:lnTo>
                        <a:pt x="2320" y="122"/>
                      </a:lnTo>
                      <a:lnTo>
                        <a:pt x="2236" y="149"/>
                      </a:lnTo>
                      <a:lnTo>
                        <a:pt x="2155" y="177"/>
                      </a:lnTo>
                      <a:lnTo>
                        <a:pt x="2074" y="208"/>
                      </a:lnTo>
                      <a:lnTo>
                        <a:pt x="1994" y="242"/>
                      </a:lnTo>
                      <a:lnTo>
                        <a:pt x="1916" y="277"/>
                      </a:lnTo>
                      <a:lnTo>
                        <a:pt x="1839" y="314"/>
                      </a:lnTo>
                      <a:lnTo>
                        <a:pt x="1764" y="355"/>
                      </a:lnTo>
                      <a:lnTo>
                        <a:pt x="1690" y="397"/>
                      </a:lnTo>
                      <a:lnTo>
                        <a:pt x="1617" y="442"/>
                      </a:lnTo>
                      <a:lnTo>
                        <a:pt x="1546" y="488"/>
                      </a:lnTo>
                      <a:lnTo>
                        <a:pt x="1477" y="538"/>
                      </a:lnTo>
                      <a:lnTo>
                        <a:pt x="1409" y="590"/>
                      </a:lnTo>
                      <a:lnTo>
                        <a:pt x="1341" y="643"/>
                      </a:lnTo>
                      <a:lnTo>
                        <a:pt x="1276" y="699"/>
                      </a:lnTo>
                      <a:lnTo>
                        <a:pt x="1213" y="756"/>
                      </a:lnTo>
                      <a:lnTo>
                        <a:pt x="1149" y="817"/>
                      </a:lnTo>
                      <a:lnTo>
                        <a:pt x="1089" y="880"/>
                      </a:lnTo>
                      <a:lnTo>
                        <a:pt x="1030" y="945"/>
                      </a:lnTo>
                      <a:lnTo>
                        <a:pt x="971" y="1011"/>
                      </a:lnTo>
                      <a:lnTo>
                        <a:pt x="915" y="1082"/>
                      </a:lnTo>
                      <a:lnTo>
                        <a:pt x="859" y="1153"/>
                      </a:lnTo>
                      <a:lnTo>
                        <a:pt x="806" y="1227"/>
                      </a:lnTo>
                      <a:lnTo>
                        <a:pt x="753" y="1303"/>
                      </a:lnTo>
                      <a:lnTo>
                        <a:pt x="703" y="1382"/>
                      </a:lnTo>
                      <a:lnTo>
                        <a:pt x="653" y="1463"/>
                      </a:lnTo>
                      <a:lnTo>
                        <a:pt x="605" y="1545"/>
                      </a:lnTo>
                      <a:lnTo>
                        <a:pt x="605" y="1545"/>
                      </a:lnTo>
                      <a:lnTo>
                        <a:pt x="577" y="1597"/>
                      </a:lnTo>
                      <a:lnTo>
                        <a:pt x="549" y="1648"/>
                      </a:lnTo>
                      <a:lnTo>
                        <a:pt x="498" y="1752"/>
                      </a:lnTo>
                      <a:lnTo>
                        <a:pt x="448" y="1856"/>
                      </a:lnTo>
                      <a:lnTo>
                        <a:pt x="402" y="1962"/>
                      </a:lnTo>
                      <a:lnTo>
                        <a:pt x="359" y="2067"/>
                      </a:lnTo>
                      <a:lnTo>
                        <a:pt x="319" y="2173"/>
                      </a:lnTo>
                      <a:lnTo>
                        <a:pt x="283" y="2278"/>
                      </a:lnTo>
                      <a:lnTo>
                        <a:pt x="249" y="2383"/>
                      </a:lnTo>
                      <a:lnTo>
                        <a:pt x="218" y="2487"/>
                      </a:lnTo>
                      <a:lnTo>
                        <a:pt x="188" y="2591"/>
                      </a:lnTo>
                      <a:lnTo>
                        <a:pt x="162" y="2691"/>
                      </a:lnTo>
                      <a:lnTo>
                        <a:pt x="138" y="2791"/>
                      </a:lnTo>
                      <a:lnTo>
                        <a:pt x="116" y="2888"/>
                      </a:lnTo>
                      <a:lnTo>
                        <a:pt x="97" y="2984"/>
                      </a:lnTo>
                      <a:lnTo>
                        <a:pt x="79" y="3077"/>
                      </a:lnTo>
                      <a:lnTo>
                        <a:pt x="64" y="3168"/>
                      </a:lnTo>
                      <a:lnTo>
                        <a:pt x="51" y="3255"/>
                      </a:lnTo>
                      <a:lnTo>
                        <a:pt x="39" y="3340"/>
                      </a:lnTo>
                      <a:lnTo>
                        <a:pt x="29" y="3421"/>
                      </a:lnTo>
                      <a:lnTo>
                        <a:pt x="22" y="3497"/>
                      </a:lnTo>
                      <a:lnTo>
                        <a:pt x="14" y="3571"/>
                      </a:lnTo>
                      <a:lnTo>
                        <a:pt x="8" y="3639"/>
                      </a:lnTo>
                      <a:lnTo>
                        <a:pt x="4" y="3702"/>
                      </a:lnTo>
                      <a:lnTo>
                        <a:pt x="1" y="3763"/>
                      </a:lnTo>
                      <a:lnTo>
                        <a:pt x="0" y="3816"/>
                      </a:lnTo>
                      <a:lnTo>
                        <a:pt x="0" y="3864"/>
                      </a:lnTo>
                      <a:lnTo>
                        <a:pt x="0" y="3907"/>
                      </a:lnTo>
                      <a:lnTo>
                        <a:pt x="0" y="3944"/>
                      </a:lnTo>
                      <a:lnTo>
                        <a:pt x="1" y="3975"/>
                      </a:lnTo>
                      <a:lnTo>
                        <a:pt x="4" y="4000"/>
                      </a:lnTo>
                      <a:lnTo>
                        <a:pt x="5" y="4018"/>
                      </a:lnTo>
                      <a:lnTo>
                        <a:pt x="8" y="4028"/>
                      </a:lnTo>
                      <a:lnTo>
                        <a:pt x="8" y="4028"/>
                      </a:lnTo>
                      <a:lnTo>
                        <a:pt x="17" y="4044"/>
                      </a:lnTo>
                      <a:lnTo>
                        <a:pt x="28" y="4061"/>
                      </a:lnTo>
                      <a:lnTo>
                        <a:pt x="39" y="4077"/>
                      </a:lnTo>
                      <a:lnTo>
                        <a:pt x="51" y="4091"/>
                      </a:lnTo>
                      <a:lnTo>
                        <a:pt x="64" y="4105"/>
                      </a:lnTo>
                      <a:lnTo>
                        <a:pt x="79" y="4118"/>
                      </a:lnTo>
                      <a:lnTo>
                        <a:pt x="106" y="4142"/>
                      </a:lnTo>
                      <a:lnTo>
                        <a:pt x="132" y="4161"/>
                      </a:lnTo>
                      <a:lnTo>
                        <a:pt x="154" y="4176"/>
                      </a:lnTo>
                      <a:lnTo>
                        <a:pt x="181" y="4192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2" y="4190"/>
                      </a:lnTo>
                      <a:lnTo>
                        <a:pt x="187" y="4190"/>
                      </a:lnTo>
                      <a:lnTo>
                        <a:pt x="191" y="4187"/>
                      </a:lnTo>
                      <a:lnTo>
                        <a:pt x="197" y="4181"/>
                      </a:lnTo>
                      <a:lnTo>
                        <a:pt x="202" y="4174"/>
                      </a:lnTo>
                      <a:lnTo>
                        <a:pt x="207" y="4164"/>
                      </a:lnTo>
                      <a:lnTo>
                        <a:pt x="212" y="4153"/>
                      </a:lnTo>
                      <a:lnTo>
                        <a:pt x="222" y="4127"/>
                      </a:lnTo>
                      <a:lnTo>
                        <a:pt x="222" y="4127"/>
                      </a:lnTo>
                      <a:lnTo>
                        <a:pt x="228" y="4099"/>
                      </a:lnTo>
                      <a:lnTo>
                        <a:pt x="230" y="4086"/>
                      </a:lnTo>
                      <a:lnTo>
                        <a:pt x="231" y="4075"/>
                      </a:lnTo>
                      <a:lnTo>
                        <a:pt x="230" y="4066"/>
                      </a:lnTo>
                      <a:lnTo>
                        <a:pt x="228" y="4059"/>
                      </a:lnTo>
                      <a:lnTo>
                        <a:pt x="227" y="4053"/>
                      </a:lnTo>
                      <a:lnTo>
                        <a:pt x="222" y="4050"/>
                      </a:lnTo>
                      <a:lnTo>
                        <a:pt x="222" y="4050"/>
                      </a:lnTo>
                      <a:close/>
                    </a:path>
                  </a:pathLst>
                </a:custGeom>
                <a:gradFill flip="none" rotWithShape="1">
                  <a:gsLst>
                    <a:gs pos="38000">
                      <a:srgbClr val="414141"/>
                    </a:gs>
                    <a:gs pos="0">
                      <a:srgbClr val="A6A6A6"/>
                    </a:gs>
                    <a:gs pos="100000">
                      <a:srgbClr val="A6A6A6"/>
                    </a:gs>
                    <a:gs pos="74000">
                      <a:srgbClr val="DFDFDF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>
                  <a:noFill/>
                  <a:round/>
                  <a:headEnd/>
                  <a:tailEnd/>
                </a:ln>
                <a:effectLst>
                  <a:innerShdw blurRad="66675" dist="50800" dir="13500000">
                    <a:srgbClr val="000000">
                      <a:alpha val="50000"/>
                    </a:srgb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85000"/>
                    </a:lnSpc>
                    <a:spcBef>
                      <a:spcPct val="20000"/>
                    </a:spcBef>
                    <a:defRPr/>
                  </a:pPr>
                  <a:endParaRPr lang="en-US" sz="1600"/>
                </a:p>
              </p:txBody>
            </p:sp>
            <p:sp>
              <p:nvSpPr>
                <p:cNvPr id="186" name="Line 28">
                  <a:extLst>
                    <a:ext uri="{FF2B5EF4-FFF2-40B4-BE49-F238E27FC236}">
                      <a16:creationId xmlns:a16="http://schemas.microsoft.com/office/drawing/2014/main" xmlns="" id="{73345DED-0D01-A944-ABAE-8F5E220ED62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Line 29">
                  <a:extLst>
                    <a:ext uri="{FF2B5EF4-FFF2-40B4-BE49-F238E27FC236}">
                      <a16:creationId xmlns:a16="http://schemas.microsoft.com/office/drawing/2014/main" xmlns="" id="{B9E50F67-B1B0-3E43-AE73-874FDCF21B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5475" y="2058988"/>
                  <a:ext cx="1588" cy="1588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66" name="Group 84">
                <a:extLst>
                  <a:ext uri="{FF2B5EF4-FFF2-40B4-BE49-F238E27FC236}">
                    <a16:creationId xmlns:a16="http://schemas.microsoft.com/office/drawing/2014/main" xmlns="" id="{BD682635-C72A-8C4C-8E4F-56ED2B5DA97C}"/>
                  </a:ext>
                </a:extLst>
              </p:cNvPr>
              <p:cNvGrpSpPr/>
              <p:nvPr/>
            </p:nvGrpSpPr>
            <p:grpSpPr>
              <a:xfrm>
                <a:off x="4858472" y="1509364"/>
                <a:ext cx="941843" cy="1552796"/>
                <a:chOff x="8843962" y="2613025"/>
                <a:chExt cx="2043113" cy="3368437"/>
              </a:xfrm>
            </p:grpSpPr>
            <p:grpSp>
              <p:nvGrpSpPr>
                <p:cNvPr id="167" name="Group 70">
                  <a:extLst>
                    <a:ext uri="{FF2B5EF4-FFF2-40B4-BE49-F238E27FC236}">
                      <a16:creationId xmlns:a16="http://schemas.microsoft.com/office/drawing/2014/main" xmlns="" id="{881093F1-0E58-B448-9F0C-BC08A39177EA}"/>
                    </a:ext>
                  </a:extLst>
                </p:cNvPr>
                <p:cNvGrpSpPr/>
                <p:nvPr/>
              </p:nvGrpSpPr>
              <p:grpSpPr>
                <a:xfrm>
                  <a:off x="8843962" y="2613025"/>
                  <a:ext cx="2043113" cy="3368437"/>
                  <a:chOff x="8843962" y="2613025"/>
                  <a:chExt cx="2043113" cy="3368437"/>
                </a:xfrm>
              </p:grpSpPr>
              <p:sp>
                <p:nvSpPr>
                  <p:cNvPr id="172" name="Freeform 27">
                    <a:extLst>
                      <a:ext uri="{FF2B5EF4-FFF2-40B4-BE49-F238E27FC236}">
                        <a16:creationId xmlns:a16="http://schemas.microsoft.com/office/drawing/2014/main" xmlns="" id="{B793F851-800A-7549-A482-B47A9978F7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843962" y="2613025"/>
                    <a:ext cx="2043113" cy="2081213"/>
                  </a:xfrm>
                  <a:custGeom>
                    <a:avLst/>
                    <a:gdLst/>
                    <a:ahLst/>
                    <a:cxnLst>
                      <a:cxn ang="0">
                        <a:pos x="0" y="22"/>
                      </a:cxn>
                      <a:cxn ang="0">
                        <a:pos x="12" y="12"/>
                      </a:cxn>
                      <a:cxn ang="0">
                        <a:pos x="40" y="3"/>
                      </a:cxn>
                      <a:cxn ang="0">
                        <a:pos x="95" y="0"/>
                      </a:cxn>
                      <a:cxn ang="0">
                        <a:pos x="183" y="8"/>
                      </a:cxn>
                      <a:cxn ang="0">
                        <a:pos x="248" y="18"/>
                      </a:cxn>
                      <a:cxn ang="0">
                        <a:pos x="443" y="70"/>
                      </a:cxn>
                      <a:cxn ang="0">
                        <a:pos x="925" y="214"/>
                      </a:cxn>
                      <a:cxn ang="0">
                        <a:pos x="1357" y="338"/>
                      </a:cxn>
                      <a:cxn ang="0">
                        <a:pos x="1722" y="428"/>
                      </a:cxn>
                      <a:cxn ang="0">
                        <a:pos x="1932" y="468"/>
                      </a:cxn>
                      <a:cxn ang="0">
                        <a:pos x="2123" y="494"/>
                      </a:cxn>
                      <a:cxn ang="0">
                        <a:pos x="2240" y="502"/>
                      </a:cxn>
                      <a:cxn ang="0">
                        <a:pos x="2409" y="503"/>
                      </a:cxn>
                      <a:cxn ang="0">
                        <a:pos x="2571" y="496"/>
                      </a:cxn>
                      <a:cxn ang="0">
                        <a:pos x="2823" y="468"/>
                      </a:cxn>
                      <a:cxn ang="0">
                        <a:pos x="3087" y="419"/>
                      </a:cxn>
                      <a:cxn ang="0">
                        <a:pos x="3292" y="367"/>
                      </a:cxn>
                      <a:cxn ang="0">
                        <a:pos x="3454" y="322"/>
                      </a:cxn>
                      <a:cxn ang="0">
                        <a:pos x="3624" y="285"/>
                      </a:cxn>
                      <a:cxn ang="0">
                        <a:pos x="3770" y="267"/>
                      </a:cxn>
                      <a:cxn ang="0">
                        <a:pos x="3836" y="272"/>
                      </a:cxn>
                      <a:cxn ang="0">
                        <a:pos x="3861" y="282"/>
                      </a:cxn>
                      <a:cxn ang="0">
                        <a:pos x="3841" y="325"/>
                      </a:cxn>
                      <a:cxn ang="0">
                        <a:pos x="3789" y="485"/>
                      </a:cxn>
                      <a:cxn ang="0">
                        <a:pos x="3729" y="764"/>
                      </a:cxn>
                      <a:cxn ang="0">
                        <a:pos x="3680" y="1087"/>
                      </a:cxn>
                      <a:cxn ang="0">
                        <a:pos x="3656" y="1320"/>
                      </a:cxn>
                      <a:cxn ang="0">
                        <a:pos x="3640" y="1584"/>
                      </a:cxn>
                      <a:cxn ang="0">
                        <a:pos x="3633" y="1877"/>
                      </a:cxn>
                      <a:cxn ang="0">
                        <a:pos x="3633" y="2089"/>
                      </a:cxn>
                      <a:cxn ang="0">
                        <a:pos x="3649" y="3807"/>
                      </a:cxn>
                      <a:cxn ang="0">
                        <a:pos x="2377" y="3931"/>
                      </a:cxn>
                      <a:cxn ang="0">
                        <a:pos x="2378" y="3763"/>
                      </a:cxn>
                      <a:cxn ang="0">
                        <a:pos x="2368" y="3502"/>
                      </a:cxn>
                      <a:cxn ang="0">
                        <a:pos x="2346" y="3251"/>
                      </a:cxn>
                      <a:cxn ang="0">
                        <a:pos x="2307" y="2968"/>
                      </a:cxn>
                      <a:cxn ang="0">
                        <a:pos x="2247" y="2670"/>
                      </a:cxn>
                      <a:cxn ang="0">
                        <a:pos x="2176" y="2418"/>
                      </a:cxn>
                      <a:cxn ang="0">
                        <a:pos x="2125" y="2269"/>
                      </a:cxn>
                      <a:cxn ang="0">
                        <a:pos x="2064" y="2126"/>
                      </a:cxn>
                      <a:cxn ang="0">
                        <a:pos x="1995" y="1988"/>
                      </a:cxn>
                      <a:cxn ang="0">
                        <a:pos x="1917" y="1857"/>
                      </a:cxn>
                      <a:cxn ang="0">
                        <a:pos x="1828" y="1736"/>
                      </a:cxn>
                      <a:cxn ang="0">
                        <a:pos x="1730" y="1627"/>
                      </a:cxn>
                      <a:cxn ang="0">
                        <a:pos x="1619" y="1529"/>
                      </a:cxn>
                      <a:cxn ang="0">
                        <a:pos x="1516" y="1454"/>
                      </a:cxn>
                      <a:cxn ang="0">
                        <a:pos x="1290" y="1308"/>
                      </a:cxn>
                      <a:cxn ang="0">
                        <a:pos x="931" y="1093"/>
                      </a:cxn>
                      <a:cxn ang="0">
                        <a:pos x="698" y="941"/>
                      </a:cxn>
                      <a:cxn ang="0">
                        <a:pos x="534" y="819"/>
                      </a:cxn>
                      <a:cxn ang="0">
                        <a:pos x="387" y="687"/>
                      </a:cxn>
                      <a:cxn ang="0">
                        <a:pos x="263" y="541"/>
                      </a:cxn>
                      <a:cxn ang="0">
                        <a:pos x="210" y="462"/>
                      </a:cxn>
                      <a:cxn ang="0">
                        <a:pos x="165" y="379"/>
                      </a:cxn>
                      <a:cxn ang="0">
                        <a:pos x="129" y="291"/>
                      </a:cxn>
                      <a:cxn ang="0">
                        <a:pos x="102" y="199"/>
                      </a:cxn>
                      <a:cxn ang="0">
                        <a:pos x="89" y="134"/>
                      </a:cxn>
                      <a:cxn ang="0">
                        <a:pos x="28" y="64"/>
                      </a:cxn>
                      <a:cxn ang="0">
                        <a:pos x="0" y="25"/>
                      </a:cxn>
                    </a:cxnLst>
                    <a:rect l="0" t="0" r="r" b="b"/>
                    <a:pathLst>
                      <a:path w="3861" h="3931">
                        <a:moveTo>
                          <a:pt x="0" y="25"/>
                        </a:moveTo>
                        <a:lnTo>
                          <a:pt x="0" y="25"/>
                        </a:lnTo>
                        <a:lnTo>
                          <a:pt x="0" y="22"/>
                        </a:lnTo>
                        <a:lnTo>
                          <a:pt x="5" y="18"/>
                        </a:lnTo>
                        <a:lnTo>
                          <a:pt x="8" y="15"/>
                        </a:lnTo>
                        <a:lnTo>
                          <a:pt x="12" y="12"/>
                        </a:lnTo>
                        <a:lnTo>
                          <a:pt x="20" y="9"/>
                        </a:lnTo>
                        <a:lnTo>
                          <a:pt x="28" y="6"/>
                        </a:lnTo>
                        <a:lnTo>
                          <a:pt x="40" y="3"/>
                        </a:lnTo>
                        <a:lnTo>
                          <a:pt x="55" y="2"/>
                        </a:lnTo>
                        <a:lnTo>
                          <a:pt x="74" y="0"/>
                        </a:lnTo>
                        <a:lnTo>
                          <a:pt x="95" y="0"/>
                        </a:lnTo>
                        <a:lnTo>
                          <a:pt x="120" y="2"/>
                        </a:lnTo>
                        <a:lnTo>
                          <a:pt x="149" y="3"/>
                        </a:lnTo>
                        <a:lnTo>
                          <a:pt x="183" y="8"/>
                        </a:lnTo>
                        <a:lnTo>
                          <a:pt x="221" y="14"/>
                        </a:lnTo>
                        <a:lnTo>
                          <a:pt x="221" y="14"/>
                        </a:lnTo>
                        <a:lnTo>
                          <a:pt x="248" y="18"/>
                        </a:lnTo>
                        <a:lnTo>
                          <a:pt x="277" y="25"/>
                        </a:lnTo>
                        <a:lnTo>
                          <a:pt x="353" y="43"/>
                        </a:lnTo>
                        <a:lnTo>
                          <a:pt x="443" y="70"/>
                        </a:lnTo>
                        <a:lnTo>
                          <a:pt x="547" y="101"/>
                        </a:lnTo>
                        <a:lnTo>
                          <a:pt x="791" y="174"/>
                        </a:lnTo>
                        <a:lnTo>
                          <a:pt x="925" y="214"/>
                        </a:lnTo>
                        <a:lnTo>
                          <a:pt x="1065" y="255"/>
                        </a:lnTo>
                        <a:lnTo>
                          <a:pt x="1209" y="298"/>
                        </a:lnTo>
                        <a:lnTo>
                          <a:pt x="1357" y="338"/>
                        </a:lnTo>
                        <a:lnTo>
                          <a:pt x="1506" y="376"/>
                        </a:lnTo>
                        <a:lnTo>
                          <a:pt x="1651" y="412"/>
                        </a:lnTo>
                        <a:lnTo>
                          <a:pt x="1722" y="428"/>
                        </a:lnTo>
                        <a:lnTo>
                          <a:pt x="1793" y="443"/>
                        </a:lnTo>
                        <a:lnTo>
                          <a:pt x="1864" y="456"/>
                        </a:lnTo>
                        <a:lnTo>
                          <a:pt x="1932" y="468"/>
                        </a:lnTo>
                        <a:lnTo>
                          <a:pt x="1996" y="478"/>
                        </a:lnTo>
                        <a:lnTo>
                          <a:pt x="2061" y="487"/>
                        </a:lnTo>
                        <a:lnTo>
                          <a:pt x="2123" y="494"/>
                        </a:lnTo>
                        <a:lnTo>
                          <a:pt x="2182" y="499"/>
                        </a:lnTo>
                        <a:lnTo>
                          <a:pt x="2182" y="499"/>
                        </a:lnTo>
                        <a:lnTo>
                          <a:pt x="2240" y="502"/>
                        </a:lnTo>
                        <a:lnTo>
                          <a:pt x="2296" y="503"/>
                        </a:lnTo>
                        <a:lnTo>
                          <a:pt x="2353" y="504"/>
                        </a:lnTo>
                        <a:lnTo>
                          <a:pt x="2409" y="503"/>
                        </a:lnTo>
                        <a:lnTo>
                          <a:pt x="2464" y="502"/>
                        </a:lnTo>
                        <a:lnTo>
                          <a:pt x="2518" y="500"/>
                        </a:lnTo>
                        <a:lnTo>
                          <a:pt x="2571" y="496"/>
                        </a:lnTo>
                        <a:lnTo>
                          <a:pt x="2624" y="493"/>
                        </a:lnTo>
                        <a:lnTo>
                          <a:pt x="2726" y="481"/>
                        </a:lnTo>
                        <a:lnTo>
                          <a:pt x="2823" y="468"/>
                        </a:lnTo>
                        <a:lnTo>
                          <a:pt x="2918" y="453"/>
                        </a:lnTo>
                        <a:lnTo>
                          <a:pt x="3005" y="437"/>
                        </a:lnTo>
                        <a:lnTo>
                          <a:pt x="3087" y="419"/>
                        </a:lnTo>
                        <a:lnTo>
                          <a:pt x="3163" y="401"/>
                        </a:lnTo>
                        <a:lnTo>
                          <a:pt x="3232" y="384"/>
                        </a:lnTo>
                        <a:lnTo>
                          <a:pt x="3292" y="367"/>
                        </a:lnTo>
                        <a:lnTo>
                          <a:pt x="3391" y="339"/>
                        </a:lnTo>
                        <a:lnTo>
                          <a:pt x="3454" y="322"/>
                        </a:lnTo>
                        <a:lnTo>
                          <a:pt x="3454" y="322"/>
                        </a:lnTo>
                        <a:lnTo>
                          <a:pt x="3505" y="308"/>
                        </a:lnTo>
                        <a:lnTo>
                          <a:pt x="3562" y="297"/>
                        </a:lnTo>
                        <a:lnTo>
                          <a:pt x="3624" y="285"/>
                        </a:lnTo>
                        <a:lnTo>
                          <a:pt x="3686" y="274"/>
                        </a:lnTo>
                        <a:lnTo>
                          <a:pt x="3743" y="269"/>
                        </a:lnTo>
                        <a:lnTo>
                          <a:pt x="3770" y="267"/>
                        </a:lnTo>
                        <a:lnTo>
                          <a:pt x="3795" y="267"/>
                        </a:lnTo>
                        <a:lnTo>
                          <a:pt x="3817" y="269"/>
                        </a:lnTo>
                        <a:lnTo>
                          <a:pt x="3836" y="272"/>
                        </a:lnTo>
                        <a:lnTo>
                          <a:pt x="3851" y="276"/>
                        </a:lnTo>
                        <a:lnTo>
                          <a:pt x="3857" y="279"/>
                        </a:lnTo>
                        <a:lnTo>
                          <a:pt x="3861" y="282"/>
                        </a:lnTo>
                        <a:lnTo>
                          <a:pt x="3861" y="282"/>
                        </a:lnTo>
                        <a:lnTo>
                          <a:pt x="3854" y="297"/>
                        </a:lnTo>
                        <a:lnTo>
                          <a:pt x="3841" y="325"/>
                        </a:lnTo>
                        <a:lnTo>
                          <a:pt x="3826" y="364"/>
                        </a:lnTo>
                        <a:lnTo>
                          <a:pt x="3808" y="418"/>
                        </a:lnTo>
                        <a:lnTo>
                          <a:pt x="3789" y="485"/>
                        </a:lnTo>
                        <a:lnTo>
                          <a:pt x="3770" y="565"/>
                        </a:lnTo>
                        <a:lnTo>
                          <a:pt x="3749" y="658"/>
                        </a:lnTo>
                        <a:lnTo>
                          <a:pt x="3729" y="764"/>
                        </a:lnTo>
                        <a:lnTo>
                          <a:pt x="3708" y="882"/>
                        </a:lnTo>
                        <a:lnTo>
                          <a:pt x="3689" y="1015"/>
                        </a:lnTo>
                        <a:lnTo>
                          <a:pt x="3680" y="1087"/>
                        </a:lnTo>
                        <a:lnTo>
                          <a:pt x="3671" y="1161"/>
                        </a:lnTo>
                        <a:lnTo>
                          <a:pt x="3664" y="1239"/>
                        </a:lnTo>
                        <a:lnTo>
                          <a:pt x="3656" y="1320"/>
                        </a:lnTo>
                        <a:lnTo>
                          <a:pt x="3650" y="1404"/>
                        </a:lnTo>
                        <a:lnTo>
                          <a:pt x="3645" y="1492"/>
                        </a:lnTo>
                        <a:lnTo>
                          <a:pt x="3640" y="1584"/>
                        </a:lnTo>
                        <a:lnTo>
                          <a:pt x="3637" y="1678"/>
                        </a:lnTo>
                        <a:lnTo>
                          <a:pt x="3634" y="1777"/>
                        </a:lnTo>
                        <a:lnTo>
                          <a:pt x="3633" y="1877"/>
                        </a:lnTo>
                        <a:lnTo>
                          <a:pt x="3631" y="1982"/>
                        </a:lnTo>
                        <a:lnTo>
                          <a:pt x="3633" y="2089"/>
                        </a:lnTo>
                        <a:lnTo>
                          <a:pt x="3633" y="2089"/>
                        </a:lnTo>
                        <a:lnTo>
                          <a:pt x="3642" y="2869"/>
                        </a:lnTo>
                        <a:lnTo>
                          <a:pt x="3646" y="3447"/>
                        </a:lnTo>
                        <a:lnTo>
                          <a:pt x="3649" y="3807"/>
                        </a:lnTo>
                        <a:lnTo>
                          <a:pt x="3649" y="3931"/>
                        </a:lnTo>
                        <a:lnTo>
                          <a:pt x="2377" y="3931"/>
                        </a:lnTo>
                        <a:lnTo>
                          <a:pt x="2377" y="3931"/>
                        </a:lnTo>
                        <a:lnTo>
                          <a:pt x="2378" y="3910"/>
                        </a:lnTo>
                        <a:lnTo>
                          <a:pt x="2378" y="3853"/>
                        </a:lnTo>
                        <a:lnTo>
                          <a:pt x="2378" y="3763"/>
                        </a:lnTo>
                        <a:lnTo>
                          <a:pt x="2375" y="3645"/>
                        </a:lnTo>
                        <a:lnTo>
                          <a:pt x="2371" y="3576"/>
                        </a:lnTo>
                        <a:lnTo>
                          <a:pt x="2368" y="3502"/>
                        </a:lnTo>
                        <a:lnTo>
                          <a:pt x="2362" y="3422"/>
                        </a:lnTo>
                        <a:lnTo>
                          <a:pt x="2355" y="3338"/>
                        </a:lnTo>
                        <a:lnTo>
                          <a:pt x="2346" y="3251"/>
                        </a:lnTo>
                        <a:lnTo>
                          <a:pt x="2335" y="3160"/>
                        </a:lnTo>
                        <a:lnTo>
                          <a:pt x="2322" y="3066"/>
                        </a:lnTo>
                        <a:lnTo>
                          <a:pt x="2307" y="2968"/>
                        </a:lnTo>
                        <a:lnTo>
                          <a:pt x="2290" y="2869"/>
                        </a:lnTo>
                        <a:lnTo>
                          <a:pt x="2269" y="2771"/>
                        </a:lnTo>
                        <a:lnTo>
                          <a:pt x="2247" y="2670"/>
                        </a:lnTo>
                        <a:lnTo>
                          <a:pt x="2220" y="2569"/>
                        </a:lnTo>
                        <a:lnTo>
                          <a:pt x="2192" y="2468"/>
                        </a:lnTo>
                        <a:lnTo>
                          <a:pt x="2176" y="2418"/>
                        </a:lnTo>
                        <a:lnTo>
                          <a:pt x="2160" y="2368"/>
                        </a:lnTo>
                        <a:lnTo>
                          <a:pt x="2142" y="2319"/>
                        </a:lnTo>
                        <a:lnTo>
                          <a:pt x="2125" y="2269"/>
                        </a:lnTo>
                        <a:lnTo>
                          <a:pt x="2106" y="2221"/>
                        </a:lnTo>
                        <a:lnTo>
                          <a:pt x="2085" y="2174"/>
                        </a:lnTo>
                        <a:lnTo>
                          <a:pt x="2064" y="2126"/>
                        </a:lnTo>
                        <a:lnTo>
                          <a:pt x="2042" y="2079"/>
                        </a:lnTo>
                        <a:lnTo>
                          <a:pt x="2019" y="2033"/>
                        </a:lnTo>
                        <a:lnTo>
                          <a:pt x="1995" y="1988"/>
                        </a:lnTo>
                        <a:lnTo>
                          <a:pt x="1970" y="1944"/>
                        </a:lnTo>
                        <a:lnTo>
                          <a:pt x="1943" y="1899"/>
                        </a:lnTo>
                        <a:lnTo>
                          <a:pt x="1917" y="1857"/>
                        </a:lnTo>
                        <a:lnTo>
                          <a:pt x="1889" y="1815"/>
                        </a:lnTo>
                        <a:lnTo>
                          <a:pt x="1859" y="1775"/>
                        </a:lnTo>
                        <a:lnTo>
                          <a:pt x="1828" y="1736"/>
                        </a:lnTo>
                        <a:lnTo>
                          <a:pt x="1796" y="1697"/>
                        </a:lnTo>
                        <a:lnTo>
                          <a:pt x="1763" y="1662"/>
                        </a:lnTo>
                        <a:lnTo>
                          <a:pt x="1730" y="1627"/>
                        </a:lnTo>
                        <a:lnTo>
                          <a:pt x="1694" y="1593"/>
                        </a:lnTo>
                        <a:lnTo>
                          <a:pt x="1657" y="1560"/>
                        </a:lnTo>
                        <a:lnTo>
                          <a:pt x="1619" y="1529"/>
                        </a:lnTo>
                        <a:lnTo>
                          <a:pt x="1619" y="1529"/>
                        </a:lnTo>
                        <a:lnTo>
                          <a:pt x="1569" y="1491"/>
                        </a:lnTo>
                        <a:lnTo>
                          <a:pt x="1516" y="1454"/>
                        </a:lnTo>
                        <a:lnTo>
                          <a:pt x="1461" y="1417"/>
                        </a:lnTo>
                        <a:lnTo>
                          <a:pt x="1405" y="1380"/>
                        </a:lnTo>
                        <a:lnTo>
                          <a:pt x="1290" y="1308"/>
                        </a:lnTo>
                        <a:lnTo>
                          <a:pt x="1172" y="1237"/>
                        </a:lnTo>
                        <a:lnTo>
                          <a:pt x="1051" y="1165"/>
                        </a:lnTo>
                        <a:lnTo>
                          <a:pt x="931" y="1093"/>
                        </a:lnTo>
                        <a:lnTo>
                          <a:pt x="813" y="1019"/>
                        </a:lnTo>
                        <a:lnTo>
                          <a:pt x="754" y="981"/>
                        </a:lnTo>
                        <a:lnTo>
                          <a:pt x="698" y="941"/>
                        </a:lnTo>
                        <a:lnTo>
                          <a:pt x="642" y="901"/>
                        </a:lnTo>
                        <a:lnTo>
                          <a:pt x="587" y="861"/>
                        </a:lnTo>
                        <a:lnTo>
                          <a:pt x="534" y="819"/>
                        </a:lnTo>
                        <a:lnTo>
                          <a:pt x="482" y="776"/>
                        </a:lnTo>
                        <a:lnTo>
                          <a:pt x="434" y="732"/>
                        </a:lnTo>
                        <a:lnTo>
                          <a:pt x="387" y="687"/>
                        </a:lnTo>
                        <a:lnTo>
                          <a:pt x="342" y="640"/>
                        </a:lnTo>
                        <a:lnTo>
                          <a:pt x="301" y="591"/>
                        </a:lnTo>
                        <a:lnTo>
                          <a:pt x="263" y="541"/>
                        </a:lnTo>
                        <a:lnTo>
                          <a:pt x="244" y="515"/>
                        </a:lnTo>
                        <a:lnTo>
                          <a:pt x="226" y="488"/>
                        </a:lnTo>
                        <a:lnTo>
                          <a:pt x="210" y="462"/>
                        </a:lnTo>
                        <a:lnTo>
                          <a:pt x="195" y="435"/>
                        </a:lnTo>
                        <a:lnTo>
                          <a:pt x="179" y="407"/>
                        </a:lnTo>
                        <a:lnTo>
                          <a:pt x="165" y="379"/>
                        </a:lnTo>
                        <a:lnTo>
                          <a:pt x="152" y="350"/>
                        </a:lnTo>
                        <a:lnTo>
                          <a:pt x="140" y="322"/>
                        </a:lnTo>
                        <a:lnTo>
                          <a:pt x="129" y="291"/>
                        </a:lnTo>
                        <a:lnTo>
                          <a:pt x="118" y="261"/>
                        </a:lnTo>
                        <a:lnTo>
                          <a:pt x="109" y="230"/>
                        </a:lnTo>
                        <a:lnTo>
                          <a:pt x="102" y="199"/>
                        </a:lnTo>
                        <a:lnTo>
                          <a:pt x="95" y="167"/>
                        </a:lnTo>
                        <a:lnTo>
                          <a:pt x="89" y="134"/>
                        </a:lnTo>
                        <a:lnTo>
                          <a:pt x="89" y="134"/>
                        </a:lnTo>
                        <a:lnTo>
                          <a:pt x="73" y="117"/>
                        </a:lnTo>
                        <a:lnTo>
                          <a:pt x="56" y="99"/>
                        </a:lnTo>
                        <a:lnTo>
                          <a:pt x="28" y="64"/>
                        </a:lnTo>
                        <a:lnTo>
                          <a:pt x="8" y="36"/>
                        </a:lnTo>
                        <a:lnTo>
                          <a:pt x="0" y="25"/>
                        </a:lnTo>
                        <a:lnTo>
                          <a:pt x="0" y="25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100000">
                        <a:schemeClr val="accent4">
                          <a:lumMod val="75000"/>
                        </a:schemeClr>
                      </a:gs>
                      <a:gs pos="3000">
                        <a:schemeClr val="accent4">
                          <a:lumMod val="50000"/>
                        </a:schemeClr>
                      </a:gs>
                    </a:gsLst>
                    <a:lin ang="5400000" scaled="0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3" name="Rectangle 30">
                    <a:extLst>
                      <a:ext uri="{FF2B5EF4-FFF2-40B4-BE49-F238E27FC236}">
                        <a16:creationId xmlns:a16="http://schemas.microsoft.com/office/drawing/2014/main" xmlns="" id="{0BA9E922-B35C-8349-B07C-F96D5407FD4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101263" y="4679950"/>
                    <a:ext cx="673101" cy="857548"/>
                  </a:xfrm>
                  <a:prstGeom prst="rect">
                    <a:avLst/>
                  </a:prstGeom>
                  <a:solidFill>
                    <a:schemeClr val="accent4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4" name="Freeform 31">
                    <a:extLst>
                      <a:ext uri="{FF2B5EF4-FFF2-40B4-BE49-F238E27FC236}">
                        <a16:creationId xmlns:a16="http://schemas.microsoft.com/office/drawing/2014/main" xmlns="" id="{D0564C14-377B-6A48-A7EC-45000D5EE6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101263" y="5530611"/>
                    <a:ext cx="673101" cy="450851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719"/>
                      </a:cxn>
                      <a:cxn ang="0">
                        <a:pos x="0" y="719"/>
                      </a:cxn>
                      <a:cxn ang="0">
                        <a:pos x="1" y="727"/>
                      </a:cxn>
                      <a:cxn ang="0">
                        <a:pos x="4" y="734"/>
                      </a:cxn>
                      <a:cxn ang="0">
                        <a:pos x="7" y="740"/>
                      </a:cxn>
                      <a:cxn ang="0">
                        <a:pos x="13" y="747"/>
                      </a:cxn>
                      <a:cxn ang="0">
                        <a:pos x="20" y="753"/>
                      </a:cxn>
                      <a:cxn ang="0">
                        <a:pos x="29" y="759"/>
                      </a:cxn>
                      <a:cxn ang="0">
                        <a:pos x="50" y="771"/>
                      </a:cxn>
                      <a:cxn ang="0">
                        <a:pos x="76" y="783"/>
                      </a:cxn>
                      <a:cxn ang="0">
                        <a:pos x="109" y="795"/>
                      </a:cxn>
                      <a:cxn ang="0">
                        <a:pos x="146" y="805"/>
                      </a:cxn>
                      <a:cxn ang="0">
                        <a:pos x="187" y="814"/>
                      </a:cxn>
                      <a:cxn ang="0">
                        <a:pos x="231" y="823"/>
                      </a:cxn>
                      <a:cxn ang="0">
                        <a:pos x="280" y="830"/>
                      </a:cxn>
                      <a:cxn ang="0">
                        <a:pos x="333" y="837"/>
                      </a:cxn>
                      <a:cxn ang="0">
                        <a:pos x="389" y="842"/>
                      </a:cxn>
                      <a:cxn ang="0">
                        <a:pos x="446" y="846"/>
                      </a:cxn>
                      <a:cxn ang="0">
                        <a:pos x="508" y="851"/>
                      </a:cxn>
                      <a:cxn ang="0">
                        <a:pos x="570" y="852"/>
                      </a:cxn>
                      <a:cxn ang="0">
                        <a:pos x="637" y="852"/>
                      </a:cxn>
                      <a:cxn ang="0">
                        <a:pos x="637" y="852"/>
                      </a:cxn>
                      <a:cxn ang="0">
                        <a:pos x="701" y="852"/>
                      </a:cxn>
                      <a:cxn ang="0">
                        <a:pos x="763" y="851"/>
                      </a:cxn>
                      <a:cxn ang="0">
                        <a:pos x="825" y="846"/>
                      </a:cxn>
                      <a:cxn ang="0">
                        <a:pos x="883" y="842"/>
                      </a:cxn>
                      <a:cxn ang="0">
                        <a:pos x="939" y="837"/>
                      </a:cxn>
                      <a:cxn ang="0">
                        <a:pos x="992" y="830"/>
                      </a:cxn>
                      <a:cxn ang="0">
                        <a:pos x="1041" y="823"/>
                      </a:cxn>
                      <a:cxn ang="0">
                        <a:pos x="1085" y="814"/>
                      </a:cxn>
                      <a:cxn ang="0">
                        <a:pos x="1126" y="805"/>
                      </a:cxn>
                      <a:cxn ang="0">
                        <a:pos x="1163" y="795"/>
                      </a:cxn>
                      <a:cxn ang="0">
                        <a:pos x="1195" y="783"/>
                      </a:cxn>
                      <a:cxn ang="0">
                        <a:pos x="1222" y="771"/>
                      </a:cxn>
                      <a:cxn ang="0">
                        <a:pos x="1243" y="759"/>
                      </a:cxn>
                      <a:cxn ang="0">
                        <a:pos x="1251" y="753"/>
                      </a:cxn>
                      <a:cxn ang="0">
                        <a:pos x="1259" y="747"/>
                      </a:cxn>
                      <a:cxn ang="0">
                        <a:pos x="1265" y="740"/>
                      </a:cxn>
                      <a:cxn ang="0">
                        <a:pos x="1268" y="734"/>
                      </a:cxn>
                      <a:cxn ang="0">
                        <a:pos x="1271" y="727"/>
                      </a:cxn>
                      <a:cxn ang="0">
                        <a:pos x="1272" y="719"/>
                      </a:cxn>
                      <a:cxn ang="0">
                        <a:pos x="1272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272" h="852">
                        <a:moveTo>
                          <a:pt x="0" y="0"/>
                        </a:moveTo>
                        <a:lnTo>
                          <a:pt x="0" y="719"/>
                        </a:lnTo>
                        <a:lnTo>
                          <a:pt x="0" y="719"/>
                        </a:lnTo>
                        <a:lnTo>
                          <a:pt x="1" y="727"/>
                        </a:lnTo>
                        <a:lnTo>
                          <a:pt x="4" y="734"/>
                        </a:lnTo>
                        <a:lnTo>
                          <a:pt x="7" y="740"/>
                        </a:lnTo>
                        <a:lnTo>
                          <a:pt x="13" y="747"/>
                        </a:lnTo>
                        <a:lnTo>
                          <a:pt x="20" y="753"/>
                        </a:lnTo>
                        <a:lnTo>
                          <a:pt x="29" y="759"/>
                        </a:lnTo>
                        <a:lnTo>
                          <a:pt x="50" y="771"/>
                        </a:lnTo>
                        <a:lnTo>
                          <a:pt x="76" y="783"/>
                        </a:lnTo>
                        <a:lnTo>
                          <a:pt x="109" y="795"/>
                        </a:lnTo>
                        <a:lnTo>
                          <a:pt x="146" y="805"/>
                        </a:lnTo>
                        <a:lnTo>
                          <a:pt x="187" y="814"/>
                        </a:lnTo>
                        <a:lnTo>
                          <a:pt x="231" y="823"/>
                        </a:lnTo>
                        <a:lnTo>
                          <a:pt x="280" y="830"/>
                        </a:lnTo>
                        <a:lnTo>
                          <a:pt x="333" y="837"/>
                        </a:lnTo>
                        <a:lnTo>
                          <a:pt x="389" y="842"/>
                        </a:lnTo>
                        <a:lnTo>
                          <a:pt x="446" y="846"/>
                        </a:lnTo>
                        <a:lnTo>
                          <a:pt x="508" y="851"/>
                        </a:lnTo>
                        <a:lnTo>
                          <a:pt x="570" y="852"/>
                        </a:lnTo>
                        <a:lnTo>
                          <a:pt x="637" y="852"/>
                        </a:lnTo>
                        <a:lnTo>
                          <a:pt x="637" y="852"/>
                        </a:lnTo>
                        <a:lnTo>
                          <a:pt x="701" y="852"/>
                        </a:lnTo>
                        <a:lnTo>
                          <a:pt x="763" y="851"/>
                        </a:lnTo>
                        <a:lnTo>
                          <a:pt x="825" y="846"/>
                        </a:lnTo>
                        <a:lnTo>
                          <a:pt x="883" y="842"/>
                        </a:lnTo>
                        <a:lnTo>
                          <a:pt x="939" y="837"/>
                        </a:lnTo>
                        <a:lnTo>
                          <a:pt x="992" y="830"/>
                        </a:lnTo>
                        <a:lnTo>
                          <a:pt x="1041" y="823"/>
                        </a:lnTo>
                        <a:lnTo>
                          <a:pt x="1085" y="814"/>
                        </a:lnTo>
                        <a:lnTo>
                          <a:pt x="1126" y="805"/>
                        </a:lnTo>
                        <a:lnTo>
                          <a:pt x="1163" y="795"/>
                        </a:lnTo>
                        <a:lnTo>
                          <a:pt x="1195" y="783"/>
                        </a:lnTo>
                        <a:lnTo>
                          <a:pt x="1222" y="771"/>
                        </a:lnTo>
                        <a:lnTo>
                          <a:pt x="1243" y="759"/>
                        </a:lnTo>
                        <a:lnTo>
                          <a:pt x="1251" y="753"/>
                        </a:lnTo>
                        <a:lnTo>
                          <a:pt x="1259" y="747"/>
                        </a:lnTo>
                        <a:lnTo>
                          <a:pt x="1265" y="740"/>
                        </a:lnTo>
                        <a:lnTo>
                          <a:pt x="1268" y="734"/>
                        </a:lnTo>
                        <a:lnTo>
                          <a:pt x="1271" y="727"/>
                        </a:lnTo>
                        <a:lnTo>
                          <a:pt x="1272" y="719"/>
                        </a:lnTo>
                        <a:lnTo>
                          <a:pt x="127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4">
                      <a:lumMod val="75000"/>
                    </a:schemeClr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68" name="Group 83">
                  <a:extLst>
                    <a:ext uri="{FF2B5EF4-FFF2-40B4-BE49-F238E27FC236}">
                      <a16:creationId xmlns:a16="http://schemas.microsoft.com/office/drawing/2014/main" xmlns="" id="{A433971E-3B8F-9B4B-B950-6ECCFC5E32CB}"/>
                    </a:ext>
                  </a:extLst>
                </p:cNvPr>
                <p:cNvGrpSpPr/>
                <p:nvPr/>
              </p:nvGrpSpPr>
              <p:grpSpPr>
                <a:xfrm>
                  <a:off x="8913812" y="2667000"/>
                  <a:ext cx="1672695" cy="3201098"/>
                  <a:chOff x="8913812" y="2667000"/>
                  <a:chExt cx="1672695" cy="3201098"/>
                </a:xfrm>
              </p:grpSpPr>
              <p:sp>
                <p:nvSpPr>
                  <p:cNvPr id="169" name="Freeform 168">
                    <a:extLst>
                      <a:ext uri="{FF2B5EF4-FFF2-40B4-BE49-F238E27FC236}">
                        <a16:creationId xmlns:a16="http://schemas.microsoft.com/office/drawing/2014/main" xmlns="" id="{087A0E06-ACB3-084E-9648-1AA768250C33}"/>
                      </a:ext>
                    </a:extLst>
                  </p:cNvPr>
                  <p:cNvSpPr/>
                  <p:nvPr/>
                </p:nvSpPr>
                <p:spPr>
                  <a:xfrm>
                    <a:off x="8913812" y="2667000"/>
                    <a:ext cx="1672695" cy="411700"/>
                  </a:xfrm>
                  <a:custGeom>
                    <a:avLst/>
                    <a:gdLst>
                      <a:gd name="connsiteX0" fmla="*/ 44450 w 1367367"/>
                      <a:gd name="connsiteY0" fmla="*/ 0 h 336550"/>
                      <a:gd name="connsiteX1" fmla="*/ 336550 w 1367367"/>
                      <a:gd name="connsiteY1" fmla="*/ 88900 h 336550"/>
                      <a:gd name="connsiteX2" fmla="*/ 734483 w 1367367"/>
                      <a:gd name="connsiteY2" fmla="*/ 186267 h 336550"/>
                      <a:gd name="connsiteX3" fmla="*/ 1123950 w 1367367"/>
                      <a:gd name="connsiteY3" fmla="*/ 232833 h 336550"/>
                      <a:gd name="connsiteX4" fmla="*/ 1339850 w 1367367"/>
                      <a:gd name="connsiteY4" fmla="*/ 198967 h 336550"/>
                      <a:gd name="connsiteX5" fmla="*/ 1289050 w 1367367"/>
                      <a:gd name="connsiteY5" fmla="*/ 266700 h 336550"/>
                      <a:gd name="connsiteX6" fmla="*/ 1077383 w 1367367"/>
                      <a:gd name="connsiteY6" fmla="*/ 313267 h 336550"/>
                      <a:gd name="connsiteX7" fmla="*/ 683683 w 1367367"/>
                      <a:gd name="connsiteY7" fmla="*/ 317500 h 336550"/>
                      <a:gd name="connsiteX8" fmla="*/ 209550 w 1367367"/>
                      <a:gd name="connsiteY8" fmla="*/ 198967 h 336550"/>
                      <a:gd name="connsiteX9" fmla="*/ 69850 w 1367367"/>
                      <a:gd name="connsiteY9" fmla="*/ 88900 h 336550"/>
                      <a:gd name="connsiteX10" fmla="*/ 44450 w 1367367"/>
                      <a:gd name="connsiteY10" fmla="*/ 0 h 336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367367" h="336550">
                        <a:moveTo>
                          <a:pt x="44450" y="0"/>
                        </a:moveTo>
                        <a:cubicBezTo>
                          <a:pt x="88900" y="0"/>
                          <a:pt x="221545" y="57856"/>
                          <a:pt x="336550" y="88900"/>
                        </a:cubicBezTo>
                        <a:cubicBezTo>
                          <a:pt x="451556" y="119945"/>
                          <a:pt x="603250" y="162278"/>
                          <a:pt x="734483" y="186267"/>
                        </a:cubicBezTo>
                        <a:cubicBezTo>
                          <a:pt x="865716" y="210256"/>
                          <a:pt x="1023056" y="230716"/>
                          <a:pt x="1123950" y="232833"/>
                        </a:cubicBezTo>
                        <a:cubicBezTo>
                          <a:pt x="1224844" y="234950"/>
                          <a:pt x="1312333" y="193323"/>
                          <a:pt x="1339850" y="198967"/>
                        </a:cubicBezTo>
                        <a:cubicBezTo>
                          <a:pt x="1367367" y="204611"/>
                          <a:pt x="1332794" y="247650"/>
                          <a:pt x="1289050" y="266700"/>
                        </a:cubicBezTo>
                        <a:cubicBezTo>
                          <a:pt x="1245306" y="285750"/>
                          <a:pt x="1178277" y="304800"/>
                          <a:pt x="1077383" y="313267"/>
                        </a:cubicBezTo>
                        <a:cubicBezTo>
                          <a:pt x="976489" y="321734"/>
                          <a:pt x="828322" y="336550"/>
                          <a:pt x="683683" y="317500"/>
                        </a:cubicBezTo>
                        <a:cubicBezTo>
                          <a:pt x="539044" y="298450"/>
                          <a:pt x="311855" y="237067"/>
                          <a:pt x="209550" y="198967"/>
                        </a:cubicBezTo>
                        <a:cubicBezTo>
                          <a:pt x="107245" y="160867"/>
                          <a:pt x="102305" y="122767"/>
                          <a:pt x="69850" y="88900"/>
                        </a:cubicBezTo>
                        <a:cubicBezTo>
                          <a:pt x="37395" y="55033"/>
                          <a:pt x="0" y="0"/>
                          <a:pt x="44450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11000">
                        <a:srgbClr val="FFFFFF"/>
                      </a:gs>
                      <a:gs pos="73000">
                        <a:srgbClr val="FFFFFF">
                          <a:alpha val="0"/>
                        </a:srgbClr>
                      </a:gs>
                    </a:gsLst>
                    <a:lin ang="564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70" name="Freeform 169">
                    <a:extLst>
                      <a:ext uri="{FF2B5EF4-FFF2-40B4-BE49-F238E27FC236}">
                        <a16:creationId xmlns:a16="http://schemas.microsoft.com/office/drawing/2014/main" xmlns="" id="{54B4F4F7-7272-D54A-9583-12EC4FAE5604}"/>
                      </a:ext>
                    </a:extLst>
                  </p:cNvPr>
                  <p:cNvSpPr/>
                  <p:nvPr/>
                </p:nvSpPr>
                <p:spPr>
                  <a:xfrm>
                    <a:off x="9070622" y="2808111"/>
                    <a:ext cx="1235428" cy="1897944"/>
                  </a:xfrm>
                  <a:custGeom>
                    <a:avLst/>
                    <a:gdLst>
                      <a:gd name="connsiteX0" fmla="*/ 1411 w 1235428"/>
                      <a:gd name="connsiteY0" fmla="*/ 11289 h 1897944"/>
                      <a:gd name="connsiteX1" fmla="*/ 200378 w 1235428"/>
                      <a:gd name="connsiteY1" fmla="*/ 222956 h 1897944"/>
                      <a:gd name="connsiteX2" fmla="*/ 450145 w 1235428"/>
                      <a:gd name="connsiteY2" fmla="*/ 349956 h 1897944"/>
                      <a:gd name="connsiteX3" fmla="*/ 797278 w 1235428"/>
                      <a:gd name="connsiteY3" fmla="*/ 608189 h 1897944"/>
                      <a:gd name="connsiteX4" fmla="*/ 1025878 w 1235428"/>
                      <a:gd name="connsiteY4" fmla="*/ 1124656 h 1897944"/>
                      <a:gd name="connsiteX5" fmla="*/ 1165578 w 1235428"/>
                      <a:gd name="connsiteY5" fmla="*/ 1353256 h 1897944"/>
                      <a:gd name="connsiteX6" fmla="*/ 1195211 w 1235428"/>
                      <a:gd name="connsiteY6" fmla="*/ 1882422 h 1897944"/>
                      <a:gd name="connsiteX7" fmla="*/ 1207911 w 1235428"/>
                      <a:gd name="connsiteY7" fmla="*/ 1260122 h 1897944"/>
                      <a:gd name="connsiteX8" fmla="*/ 1030111 w 1235428"/>
                      <a:gd name="connsiteY8" fmla="*/ 862189 h 1897944"/>
                      <a:gd name="connsiteX9" fmla="*/ 1008945 w 1235428"/>
                      <a:gd name="connsiteY9" fmla="*/ 468489 h 1897944"/>
                      <a:gd name="connsiteX10" fmla="*/ 509411 w 1235428"/>
                      <a:gd name="connsiteY10" fmla="*/ 273756 h 1897944"/>
                      <a:gd name="connsiteX11" fmla="*/ 191911 w 1235428"/>
                      <a:gd name="connsiteY11" fmla="*/ 155222 h 1897944"/>
                      <a:gd name="connsiteX12" fmla="*/ 1411 w 1235428"/>
                      <a:gd name="connsiteY12" fmla="*/ 11289 h 18979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235428" h="1897944">
                        <a:moveTo>
                          <a:pt x="1411" y="11289"/>
                        </a:moveTo>
                        <a:cubicBezTo>
                          <a:pt x="2822" y="22578"/>
                          <a:pt x="125589" y="166512"/>
                          <a:pt x="200378" y="222956"/>
                        </a:cubicBezTo>
                        <a:cubicBezTo>
                          <a:pt x="275167" y="279401"/>
                          <a:pt x="350662" y="285751"/>
                          <a:pt x="450145" y="349956"/>
                        </a:cubicBezTo>
                        <a:cubicBezTo>
                          <a:pt x="549628" y="414161"/>
                          <a:pt x="701323" y="479072"/>
                          <a:pt x="797278" y="608189"/>
                        </a:cubicBezTo>
                        <a:cubicBezTo>
                          <a:pt x="893234" y="737306"/>
                          <a:pt x="964495" y="1000478"/>
                          <a:pt x="1025878" y="1124656"/>
                        </a:cubicBezTo>
                        <a:cubicBezTo>
                          <a:pt x="1087261" y="1248834"/>
                          <a:pt x="1137356" y="1226962"/>
                          <a:pt x="1165578" y="1353256"/>
                        </a:cubicBezTo>
                        <a:cubicBezTo>
                          <a:pt x="1193800" y="1479550"/>
                          <a:pt x="1188156" y="1897944"/>
                          <a:pt x="1195211" y="1882422"/>
                        </a:cubicBezTo>
                        <a:cubicBezTo>
                          <a:pt x="1202266" y="1866900"/>
                          <a:pt x="1235428" y="1430161"/>
                          <a:pt x="1207911" y="1260122"/>
                        </a:cubicBezTo>
                        <a:cubicBezTo>
                          <a:pt x="1180394" y="1090083"/>
                          <a:pt x="1063272" y="994128"/>
                          <a:pt x="1030111" y="862189"/>
                        </a:cubicBezTo>
                        <a:cubicBezTo>
                          <a:pt x="996950" y="730250"/>
                          <a:pt x="1095728" y="566561"/>
                          <a:pt x="1008945" y="468489"/>
                        </a:cubicBezTo>
                        <a:cubicBezTo>
                          <a:pt x="922162" y="370417"/>
                          <a:pt x="645583" y="325967"/>
                          <a:pt x="509411" y="273756"/>
                        </a:cubicBezTo>
                        <a:cubicBezTo>
                          <a:pt x="373239" y="221545"/>
                          <a:pt x="275872" y="202494"/>
                          <a:pt x="191911" y="155222"/>
                        </a:cubicBezTo>
                        <a:cubicBezTo>
                          <a:pt x="107950" y="107950"/>
                          <a:pt x="0" y="0"/>
                          <a:pt x="1411" y="11289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1878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71" name="Freeform 170">
                    <a:extLst>
                      <a:ext uri="{FF2B5EF4-FFF2-40B4-BE49-F238E27FC236}">
                        <a16:creationId xmlns:a16="http://schemas.microsoft.com/office/drawing/2014/main" xmlns="" id="{ACE27CA0-2DBB-AC4B-90DB-672DD8476F92}"/>
                      </a:ext>
                    </a:extLst>
                  </p:cNvPr>
                  <p:cNvSpPr/>
                  <p:nvPr/>
                </p:nvSpPr>
                <p:spPr>
                  <a:xfrm>
                    <a:off x="10215562" y="4343403"/>
                    <a:ext cx="211137" cy="1524695"/>
                  </a:xfrm>
                  <a:custGeom>
                    <a:avLst/>
                    <a:gdLst>
                      <a:gd name="connsiteX0" fmla="*/ 37042 w 153459"/>
                      <a:gd name="connsiteY0" fmla="*/ 95250 h 2247900"/>
                      <a:gd name="connsiteX1" fmla="*/ 5292 w 153459"/>
                      <a:gd name="connsiteY1" fmla="*/ 520700 h 2247900"/>
                      <a:gd name="connsiteX2" fmla="*/ 68792 w 153459"/>
                      <a:gd name="connsiteY2" fmla="*/ 857250 h 2247900"/>
                      <a:gd name="connsiteX3" fmla="*/ 17992 w 153459"/>
                      <a:gd name="connsiteY3" fmla="*/ 1397000 h 2247900"/>
                      <a:gd name="connsiteX4" fmla="*/ 30692 w 153459"/>
                      <a:gd name="connsiteY4" fmla="*/ 2006600 h 2247900"/>
                      <a:gd name="connsiteX5" fmla="*/ 43392 w 153459"/>
                      <a:gd name="connsiteY5" fmla="*/ 2190750 h 2247900"/>
                      <a:gd name="connsiteX6" fmla="*/ 56092 w 153459"/>
                      <a:gd name="connsiteY6" fmla="*/ 1663700 h 2247900"/>
                      <a:gd name="connsiteX7" fmla="*/ 68792 w 153459"/>
                      <a:gd name="connsiteY7" fmla="*/ 1231900 h 2247900"/>
                      <a:gd name="connsiteX8" fmla="*/ 144992 w 153459"/>
                      <a:gd name="connsiteY8" fmla="*/ 1009650 h 2247900"/>
                      <a:gd name="connsiteX9" fmla="*/ 119592 w 153459"/>
                      <a:gd name="connsiteY9" fmla="*/ 768350 h 2247900"/>
                      <a:gd name="connsiteX10" fmla="*/ 62442 w 153459"/>
                      <a:gd name="connsiteY10" fmla="*/ 615950 h 2247900"/>
                      <a:gd name="connsiteX11" fmla="*/ 43392 w 153459"/>
                      <a:gd name="connsiteY11" fmla="*/ 215900 h 2247900"/>
                      <a:gd name="connsiteX12" fmla="*/ 43392 w 153459"/>
                      <a:gd name="connsiteY12" fmla="*/ 31750 h 2247900"/>
                      <a:gd name="connsiteX13" fmla="*/ 30692 w 153459"/>
                      <a:gd name="connsiteY13" fmla="*/ 25400 h 2247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53459" h="2247900">
                        <a:moveTo>
                          <a:pt x="37042" y="95250"/>
                        </a:moveTo>
                        <a:cubicBezTo>
                          <a:pt x="18521" y="244475"/>
                          <a:pt x="0" y="393700"/>
                          <a:pt x="5292" y="520700"/>
                        </a:cubicBezTo>
                        <a:cubicBezTo>
                          <a:pt x="10584" y="647700"/>
                          <a:pt x="66675" y="711200"/>
                          <a:pt x="68792" y="857250"/>
                        </a:cubicBezTo>
                        <a:cubicBezTo>
                          <a:pt x="70909" y="1003300"/>
                          <a:pt x="24342" y="1205442"/>
                          <a:pt x="17992" y="1397000"/>
                        </a:cubicBezTo>
                        <a:cubicBezTo>
                          <a:pt x="11642" y="1588558"/>
                          <a:pt x="26459" y="1874308"/>
                          <a:pt x="30692" y="2006600"/>
                        </a:cubicBezTo>
                        <a:cubicBezTo>
                          <a:pt x="34925" y="2138892"/>
                          <a:pt x="39159" y="2247900"/>
                          <a:pt x="43392" y="2190750"/>
                        </a:cubicBezTo>
                        <a:cubicBezTo>
                          <a:pt x="47625" y="2133600"/>
                          <a:pt x="51859" y="1823508"/>
                          <a:pt x="56092" y="1663700"/>
                        </a:cubicBezTo>
                        <a:cubicBezTo>
                          <a:pt x="60325" y="1503892"/>
                          <a:pt x="53975" y="1340908"/>
                          <a:pt x="68792" y="1231900"/>
                        </a:cubicBezTo>
                        <a:cubicBezTo>
                          <a:pt x="83609" y="1122892"/>
                          <a:pt x="136525" y="1086908"/>
                          <a:pt x="144992" y="1009650"/>
                        </a:cubicBezTo>
                        <a:cubicBezTo>
                          <a:pt x="153459" y="932392"/>
                          <a:pt x="133350" y="833967"/>
                          <a:pt x="119592" y="768350"/>
                        </a:cubicBezTo>
                        <a:cubicBezTo>
                          <a:pt x="105834" y="702733"/>
                          <a:pt x="75142" y="708025"/>
                          <a:pt x="62442" y="615950"/>
                        </a:cubicBezTo>
                        <a:cubicBezTo>
                          <a:pt x="49742" y="523875"/>
                          <a:pt x="46567" y="313267"/>
                          <a:pt x="43392" y="215900"/>
                        </a:cubicBezTo>
                        <a:cubicBezTo>
                          <a:pt x="40217" y="118533"/>
                          <a:pt x="45509" y="63500"/>
                          <a:pt x="43392" y="31750"/>
                        </a:cubicBezTo>
                        <a:cubicBezTo>
                          <a:pt x="41275" y="0"/>
                          <a:pt x="35983" y="12700"/>
                          <a:pt x="30692" y="25400"/>
                        </a:cubicBezTo>
                      </a:path>
                    </a:pathLst>
                  </a:custGeom>
                  <a:gradFill flip="none" rotWithShape="1">
                    <a:gsLst>
                      <a:gs pos="28000">
                        <a:srgbClr val="FFFFFF"/>
                      </a:gs>
                      <a:gs pos="80000">
                        <a:srgbClr val="FFFFFF">
                          <a:alpha val="0"/>
                        </a:srgbClr>
                      </a:gs>
                    </a:gsLst>
                    <a:lin ang="213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sp>
          <p:nvSpPr>
            <p:cNvPr id="4097" name="Rectangle 4096"/>
            <p:cNvSpPr/>
            <p:nvPr/>
          </p:nvSpPr>
          <p:spPr>
            <a:xfrm>
              <a:off x="3422408" y="4632959"/>
              <a:ext cx="5845544" cy="13743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2000" b="1" cap="small" dirty="0">
                  <a:solidFill>
                    <a:srgbClr val="EE7612"/>
                  </a:solidFill>
                </a:rPr>
                <a:t>Our team of trained graphic designers not only supports you in logo design, but also all other common tasks such as the creation of business cards, flyers and website.</a:t>
              </a:r>
              <a:endParaRPr lang="en-US" sz="2000" b="1" cap="small" dirty="0">
                <a:solidFill>
                  <a:srgbClr val="EE7612"/>
                </a:solidFill>
              </a:endParaRPr>
            </a:p>
          </p:txBody>
        </p:sp>
        <p:sp>
          <p:nvSpPr>
            <p:cNvPr id="194" name="TextBox 193"/>
            <p:cNvSpPr txBox="1"/>
            <p:nvPr/>
          </p:nvSpPr>
          <p:spPr>
            <a:xfrm>
              <a:off x="9147435" y="1723968"/>
              <a:ext cx="2088456" cy="9848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IN" altLang="ko-KR" sz="1800" b="1" cap="small" smtClean="0">
                  <a:latin typeface="+mn-lt"/>
                  <a:cs typeface="Arial" pitchFamily="34" charset="0"/>
                </a:rPr>
                <a:t>Illustrations</a:t>
              </a:r>
              <a:endParaRPr lang="en-IN" altLang="ko-KR" sz="1800" b="1" cap="small" dirty="0" smtClean="0">
                <a:latin typeface="+mn-lt"/>
                <a:cs typeface="Arial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IN" altLang="ko-KR" sz="1800" b="1" cap="small" dirty="0">
                  <a:latin typeface="+mn-lt"/>
                  <a:cs typeface="Arial" pitchFamily="34" charset="0"/>
                </a:rPr>
                <a:t>desktop </a:t>
              </a:r>
              <a:r>
                <a:rPr lang="en-IN" altLang="ko-KR" sz="1800" b="1" cap="small" dirty="0" smtClean="0">
                  <a:latin typeface="+mn-lt"/>
                  <a:cs typeface="Arial" pitchFamily="34" charset="0"/>
                </a:rPr>
                <a:t>publishing</a:t>
              </a:r>
            </a:p>
            <a:p>
              <a:pPr>
                <a:spcBef>
                  <a:spcPts val="600"/>
                </a:spcBef>
              </a:pPr>
              <a:r>
                <a:rPr lang="en-IN" altLang="ko-KR" sz="1800" b="1" cap="small" dirty="0" smtClean="0">
                  <a:latin typeface="+mn-lt"/>
                  <a:cs typeface="Arial" pitchFamily="34" charset="0"/>
                </a:rPr>
                <a:t>Cad drawings</a:t>
              </a:r>
              <a:endParaRPr lang="ko-KR" altLang="en-US" sz="1800" b="1" cap="small" dirty="0">
                <a:latin typeface="+mn-lt"/>
                <a:cs typeface="Arial" pitchFamily="34" charset="0"/>
              </a:endParaRPr>
            </a:p>
          </p:txBody>
        </p:sp>
        <p:cxnSp>
          <p:nvCxnSpPr>
            <p:cNvPr id="4101" name="Straight Connector 4100"/>
            <p:cNvCxnSpPr/>
            <p:nvPr/>
          </p:nvCxnSpPr>
          <p:spPr>
            <a:xfrm>
              <a:off x="9013103" y="1723968"/>
              <a:ext cx="0" cy="98488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/>
          </p:nvCxnSpPr>
          <p:spPr>
            <a:xfrm>
              <a:off x="8585055" y="2216412"/>
              <a:ext cx="428048" cy="0"/>
            </a:xfrm>
            <a:prstGeom prst="line">
              <a:avLst/>
            </a:prstGeom>
            <a:ln w="28575">
              <a:solidFill>
                <a:schemeClr val="tx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05" name="Group 4104"/>
            <p:cNvGrpSpPr/>
            <p:nvPr/>
          </p:nvGrpSpPr>
          <p:grpSpPr>
            <a:xfrm>
              <a:off x="825614" y="1723968"/>
              <a:ext cx="3248660" cy="1615827"/>
              <a:chOff x="825614" y="1723968"/>
              <a:chExt cx="3248660" cy="1615827"/>
            </a:xfrm>
          </p:grpSpPr>
          <p:sp>
            <p:nvSpPr>
              <p:cNvPr id="193" name="TextBox 192"/>
              <p:cNvSpPr txBox="1"/>
              <p:nvPr/>
            </p:nvSpPr>
            <p:spPr>
              <a:xfrm>
                <a:off x="825614" y="1723968"/>
                <a:ext cx="2739532" cy="161582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IN" altLang="ko-KR" sz="1800" b="1" cap="small" dirty="0">
                    <a:latin typeface="+mn-lt"/>
                    <a:cs typeface="Arial" pitchFamily="34" charset="0"/>
                  </a:rPr>
                  <a:t>corporate </a:t>
                </a:r>
                <a:r>
                  <a:rPr lang="en-IN" altLang="ko-KR" sz="1800" b="1" cap="small" dirty="0" smtClean="0">
                    <a:latin typeface="+mn-lt"/>
                    <a:cs typeface="Arial" pitchFamily="34" charset="0"/>
                  </a:rPr>
                  <a:t>templates</a:t>
                </a:r>
              </a:p>
              <a:p>
                <a:pPr algn="r">
                  <a:spcBef>
                    <a:spcPts val="600"/>
                  </a:spcBef>
                </a:pPr>
                <a:r>
                  <a:rPr lang="en-IN" altLang="ko-KR" sz="1800" b="1" cap="small" dirty="0" smtClean="0">
                    <a:latin typeface="+mn-lt"/>
                    <a:cs typeface="Arial" pitchFamily="34" charset="0"/>
                  </a:rPr>
                  <a:t>Graphics</a:t>
                </a:r>
              </a:p>
              <a:p>
                <a:pPr algn="r">
                  <a:spcBef>
                    <a:spcPts val="600"/>
                  </a:spcBef>
                </a:pPr>
                <a:r>
                  <a:rPr lang="en-IN" altLang="ko-KR" sz="1800" b="1" cap="small" dirty="0" smtClean="0">
                    <a:latin typeface="+mn-lt"/>
                    <a:cs typeface="Arial" pitchFamily="34" charset="0"/>
                  </a:rPr>
                  <a:t>Website</a:t>
                </a:r>
              </a:p>
              <a:p>
                <a:pPr algn="r">
                  <a:spcBef>
                    <a:spcPts val="600"/>
                  </a:spcBef>
                </a:pPr>
                <a:r>
                  <a:rPr lang="en-IN" altLang="ko-KR" sz="1800" b="1" cap="small" dirty="0">
                    <a:latin typeface="+mn-lt"/>
                    <a:cs typeface="Arial" pitchFamily="34" charset="0"/>
                  </a:rPr>
                  <a:t>posters, business cards</a:t>
                </a:r>
                <a:r>
                  <a:rPr lang="en-IN" altLang="ko-KR" sz="1800" b="1" cap="small" dirty="0" smtClean="0">
                    <a:latin typeface="+mn-lt"/>
                    <a:cs typeface="Arial" pitchFamily="34" charset="0"/>
                  </a:rPr>
                  <a:t>,</a:t>
                </a:r>
                <a:br>
                  <a:rPr lang="en-IN" altLang="ko-KR" sz="1800" b="1" cap="small" dirty="0" smtClean="0">
                    <a:latin typeface="+mn-lt"/>
                    <a:cs typeface="Arial" pitchFamily="34" charset="0"/>
                  </a:rPr>
                </a:br>
                <a:r>
                  <a:rPr lang="en-IN" altLang="ko-KR" sz="1800" b="1" cap="small" dirty="0" smtClean="0">
                    <a:latin typeface="+mn-lt"/>
                    <a:cs typeface="Arial" pitchFamily="34" charset="0"/>
                  </a:rPr>
                  <a:t>flyers </a:t>
                </a:r>
                <a:r>
                  <a:rPr lang="en-IN" altLang="ko-KR" sz="1800" b="1" cap="small" dirty="0">
                    <a:latin typeface="+mn-lt"/>
                    <a:cs typeface="Arial" pitchFamily="34" charset="0"/>
                  </a:rPr>
                  <a:t>and </a:t>
                </a:r>
                <a:r>
                  <a:rPr lang="en-IN" altLang="ko-KR" sz="1800" b="1" cap="small" dirty="0" smtClean="0">
                    <a:latin typeface="+mn-lt"/>
                    <a:cs typeface="Arial" pitchFamily="34" charset="0"/>
                  </a:rPr>
                  <a:t>brochures</a:t>
                </a:r>
              </a:p>
            </p:txBody>
          </p:sp>
          <p:cxnSp>
            <p:nvCxnSpPr>
              <p:cNvPr id="201" name="Straight Connector 200"/>
              <p:cNvCxnSpPr>
                <a:cxnSpLocks/>
              </p:cNvCxnSpPr>
              <p:nvPr/>
            </p:nvCxnSpPr>
            <p:spPr>
              <a:xfrm>
                <a:off x="3646226" y="1723968"/>
                <a:ext cx="0" cy="1615827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/>
            </p:nvCxnSpPr>
            <p:spPr>
              <a:xfrm flipH="1">
                <a:off x="3646226" y="2216412"/>
                <a:ext cx="428048" cy="0"/>
              </a:xfrm>
              <a:prstGeom prst="line">
                <a:avLst/>
              </a:prstGeom>
              <a:ln w="28575">
                <a:solidFill>
                  <a:schemeClr val="tx1"/>
                </a:solidFill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457021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6ylrzbV8Eb4Ss_0mE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a0i1W80eviAp0uYsIQ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a0i1W80eviAp0uYsIQ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PLDWi0P8ex4u5AFECl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sg40KOVx5xssHVgLki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pGovzBgtSmVWWc1Brs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1pp.aUmABzRnBddk3W7w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B8B11"/>
      </a:accent1>
      <a:accent2>
        <a:srgbClr val="EC7906"/>
      </a:accent2>
      <a:accent3>
        <a:srgbClr val="000000"/>
      </a:accent3>
      <a:accent4>
        <a:srgbClr val="595959"/>
      </a:accent4>
      <a:accent5>
        <a:srgbClr val="9BBB59"/>
      </a:accent5>
      <a:accent6>
        <a:srgbClr val="F79646"/>
      </a:accent6>
      <a:hlink>
        <a:srgbClr val="A5A5A5"/>
      </a:hlink>
      <a:folHlink>
        <a:srgbClr val="EEECE1"/>
      </a:folHlink>
    </a:clrScheme>
    <a:fontScheme name="Custom 2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5</TotalTime>
  <Words>105</Words>
  <Application>Microsoft Office PowerPoint</Application>
  <PresentationFormat>Custom</PresentationFormat>
  <Paragraphs>29</Paragraphs>
  <Slides>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Office Theme</vt:lpstr>
      <vt:lpstr>think-cell Slide</vt:lpstr>
      <vt:lpstr>DESIGNING OF POWERPOINT PRESENTATION</vt:lpstr>
      <vt:lpstr>WE CREATE YOUR PROFESSIONAL POWERPOINT PRESENTATION</vt:lpstr>
      <vt:lpstr>ADDITIONAL SERVICES</vt:lpstr>
      <vt:lpstr>GRAPHIC DESIGN SERVIC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004</dc:creator>
  <cp:lastModifiedBy>User003</cp:lastModifiedBy>
  <cp:revision>39</cp:revision>
  <dcterms:created xsi:type="dcterms:W3CDTF">2019-11-05T07:50:49Z</dcterms:created>
  <dcterms:modified xsi:type="dcterms:W3CDTF">2019-11-12T14:3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